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7"/>
  </p:notesMasterIdLst>
  <p:sldIdLst>
    <p:sldId id="256" r:id="rId2"/>
    <p:sldId id="286" r:id="rId3"/>
    <p:sldId id="287" r:id="rId4"/>
    <p:sldId id="271" r:id="rId5"/>
    <p:sldId id="285" r:id="rId6"/>
    <p:sldId id="257" r:id="rId7"/>
    <p:sldId id="273" r:id="rId8"/>
    <p:sldId id="279" r:id="rId9"/>
    <p:sldId id="282" r:id="rId10"/>
    <p:sldId id="283" r:id="rId11"/>
    <p:sldId id="284" r:id="rId12"/>
    <p:sldId id="290" r:id="rId13"/>
    <p:sldId id="288" r:id="rId14"/>
    <p:sldId id="272" r:id="rId15"/>
    <p:sldId id="266" r:id="rId16"/>
  </p:sldIdLst>
  <p:sldSz cx="12192000" cy="6858000"/>
  <p:notesSz cx="6858000" cy="9144000"/>
  <p:custDataLst>
    <p:tags r:id="rId1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pos="3840" userDrawn="1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risnawanugroho" initials="t" lastIdx="13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AD4D6"/>
    <a:srgbClr val="1F8492"/>
    <a:srgbClr val="99CCFF"/>
    <a:srgbClr val="A53975"/>
    <a:srgbClr val="101935"/>
    <a:srgbClr val="564787"/>
    <a:srgbClr val="652D74"/>
    <a:srgbClr val="DBCBD8"/>
    <a:srgbClr val="F2FD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0307" autoAdjust="0"/>
  </p:normalViewPr>
  <p:slideViewPr>
    <p:cSldViewPr snapToGrid="0">
      <p:cViewPr>
        <p:scale>
          <a:sx n="89" d="100"/>
          <a:sy n="89" d="100"/>
        </p:scale>
        <p:origin x="-1434" y="-45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5380334-13B4-4816-BC0B-C9543A5DB747}" type="datetimeFigureOut">
              <a:rPr lang="en-US" smtClean="0"/>
              <a:pPr/>
              <a:t>11/19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D225FB8-320C-4083-8A3A-856629D1AEA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24305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701246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4475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766773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creativeart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033663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61459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45083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pPr/>
              <a:t>5</a:t>
            </a:fld>
            <a:endParaRPr 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349542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912194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912194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912194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912194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91219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FC1A2541-C66C-4680-968E-4CFD21EFF5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00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9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DCC127CB-45BF-4D09-B501-F4C759F6445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0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CC5F3DBF-45AF-4497-B142-6B38DF4B36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738DDFBC-1843-4C12-9D5E-451430B7161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50ADFB6B-EF4D-40B0-B7EB-BB5B7BCA65D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4F285D75-D480-429C-B8A5-568CD5D6CE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51BA913B-0C70-402E-BF80-D38C98E022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84D2E29-67F4-44D8-B0E3-F54815B4F12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55724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Single Corner Rounded 3">
            <a:extLst>
              <a:ext uri="{FF2B5EF4-FFF2-40B4-BE49-F238E27FC236}">
                <a16:creationId xmlns:a16="http://schemas.microsoft.com/office/drawing/2014/main" xmlns="" id="{1A405EED-F690-4A11-92A7-2981DA55D4FE}"/>
              </a:ext>
            </a:extLst>
          </p:cNvPr>
          <p:cNvSpPr/>
          <p:nvPr userDrawn="1"/>
        </p:nvSpPr>
        <p:spPr>
          <a:xfrm flipH="1">
            <a:off x="11492632" y="6158632"/>
            <a:ext cx="699368" cy="699368"/>
          </a:xfrm>
          <a:prstGeom prst="round1Rect">
            <a:avLst>
              <a:gd name="adj" fmla="val 31194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DBA2064D-F3C3-4247-BB0E-3A8B9A2204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76033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9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F16F16FD-2C53-403B-BF33-81984B8570A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6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7634B0F8-76FB-42F2-8E67-4517D27F0A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775612"/>
          </a:xfrm>
        </p:spPr>
        <p:txBody>
          <a:bodyPr lIns="0" tIns="0" rIns="0" bIns="0"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9B9F3021-AB9D-4B2B-987A-B25B4025711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330859"/>
            <a:ext cx="10972800" cy="4846104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xmlns="" id="{BF14A7C7-1984-4854-9D29-7402A14F46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58612" y="6369817"/>
            <a:ext cx="367408" cy="276999"/>
          </a:xfrm>
          <a:prstGeom prst="rect">
            <a:avLst/>
          </a:prstGeom>
        </p:spPr>
        <p:txBody>
          <a:bodyPr wrap="none" anchor="ctr">
            <a:spAutoFit/>
          </a:bodyPr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fld id="{B84D2E29-67F4-44D8-B0E3-F54815B4F12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9993749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840" userDrawn="1">
          <p15:clr>
            <a:srgbClr val="FBAE40"/>
          </p15:clr>
        </p15:guide>
        <p15:guide id="2" pos="7296" userDrawn="1">
          <p15:clr>
            <a:srgbClr val="FBAE40"/>
          </p15:clr>
        </p15:guide>
        <p15:guide id="3" pos="3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EC59F4C5-B0B1-4297-BAA0-7E0E72AFC7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8019753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9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51C34D6F-D0F4-4534-8C4A-5CB0647CBE1B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C15189CC-BB19-4580-9BD1-E60E21E8F4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77561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9FBED655-EDEF-4F48-8965-AC9A79BA0C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330859"/>
            <a:ext cx="10972800" cy="484610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Rectangle: Single Corner Rounded 12">
            <a:extLst>
              <a:ext uri="{FF2B5EF4-FFF2-40B4-BE49-F238E27FC236}">
                <a16:creationId xmlns:a16="http://schemas.microsoft.com/office/drawing/2014/main" xmlns="" id="{D9201932-F016-4634-83E9-B726DBE3A173}"/>
              </a:ext>
            </a:extLst>
          </p:cNvPr>
          <p:cNvSpPr/>
          <p:nvPr userDrawn="1"/>
        </p:nvSpPr>
        <p:spPr>
          <a:xfrm flipH="1">
            <a:off x="11492632" y="6158632"/>
            <a:ext cx="699368" cy="699368"/>
          </a:xfrm>
          <a:prstGeom prst="round1Rect">
            <a:avLst>
              <a:gd name="adj" fmla="val 31194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xmlns="" id="{6AC4CF72-3B1D-42D0-A397-3629DD6ABDF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58612" y="6369817"/>
            <a:ext cx="367408" cy="276999"/>
          </a:xfrm>
          <a:prstGeom prst="rect">
            <a:avLst/>
          </a:prstGeom>
        </p:spPr>
        <p:txBody>
          <a:bodyPr wrap="none" anchor="ctr">
            <a:spAutoFit/>
          </a:bodyPr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fld id="{B84D2E29-67F4-44D8-B0E3-F54815B4F12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38954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orient="horz" pos="2160" userDrawn="1">
          <p15:clr>
            <a:srgbClr val="F26B43"/>
          </p15:clr>
        </p15:guide>
        <p15:guide id="2" pos="7296" userDrawn="1">
          <p15:clr>
            <a:srgbClr val="F26B43"/>
          </p15:clr>
        </p15:guide>
        <p15:guide id="3" pos="38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png"/><Relationship Id="rId12" Type="http://schemas.openxmlformats.org/officeDocument/2006/relationships/image" Target="../media/image3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11" Type="http://schemas.openxmlformats.org/officeDocument/2006/relationships/image" Target="../media/image10.svg"/><Relationship Id="rId5" Type="http://schemas.openxmlformats.org/officeDocument/2006/relationships/oleObject" Target="../embeddings/oleObject4.bin"/><Relationship Id="rId15" Type="http://schemas.openxmlformats.org/officeDocument/2006/relationships/image" Target="../media/image6.png"/><Relationship Id="rId4" Type="http://schemas.openxmlformats.org/officeDocument/2006/relationships/notesSlide" Target="../notesSlides/notesSlide1.xml"/><Relationship Id="rId1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jpeg"/><Relationship Id="rId3" Type="http://schemas.openxmlformats.org/officeDocument/2006/relationships/image" Target="../media/image2.png"/><Relationship Id="rId7" Type="http://schemas.openxmlformats.org/officeDocument/2006/relationships/image" Target="../media/image41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0.jpeg"/><Relationship Id="rId5" Type="http://schemas.openxmlformats.org/officeDocument/2006/relationships/image" Target="../media/image10.svg"/><Relationship Id="rId10" Type="http://schemas.openxmlformats.org/officeDocument/2006/relationships/image" Target="../media/image44.jpeg"/><Relationship Id="rId9" Type="http://schemas.openxmlformats.org/officeDocument/2006/relationships/image" Target="../media/image43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image" Target="../media/image2.png"/><Relationship Id="rId7" Type="http://schemas.openxmlformats.org/officeDocument/2006/relationships/image" Target="../media/image4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5.png"/><Relationship Id="rId11" Type="http://schemas.openxmlformats.org/officeDocument/2006/relationships/image" Target="../media/image50.png"/><Relationship Id="rId5" Type="http://schemas.openxmlformats.org/officeDocument/2006/relationships/image" Target="../media/image10.svg"/><Relationship Id="rId10" Type="http://schemas.openxmlformats.org/officeDocument/2006/relationships/image" Target="../media/image49.png"/><Relationship Id="rId9" Type="http://schemas.openxmlformats.org/officeDocument/2006/relationships/image" Target="../media/image48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image" Target="../media/image2.png"/><Relationship Id="rId7" Type="http://schemas.openxmlformats.org/officeDocument/2006/relationships/image" Target="../media/image5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1.jpeg"/><Relationship Id="rId11" Type="http://schemas.openxmlformats.org/officeDocument/2006/relationships/image" Target="../media/image56.png"/><Relationship Id="rId5" Type="http://schemas.openxmlformats.org/officeDocument/2006/relationships/image" Target="../media/image10.svg"/><Relationship Id="rId10" Type="http://schemas.openxmlformats.org/officeDocument/2006/relationships/image" Target="../media/image55.jpeg"/><Relationship Id="rId9" Type="http://schemas.openxmlformats.org/officeDocument/2006/relationships/image" Target="../media/image54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jpeg"/><Relationship Id="rId3" Type="http://schemas.openxmlformats.org/officeDocument/2006/relationships/image" Target="../media/image2.png"/><Relationship Id="rId7" Type="http://schemas.openxmlformats.org/officeDocument/2006/relationships/image" Target="../media/image58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7.jpeg"/><Relationship Id="rId5" Type="http://schemas.openxmlformats.org/officeDocument/2006/relationships/image" Target="../media/image10.svg"/><Relationship Id="rId10" Type="http://schemas.openxmlformats.org/officeDocument/2006/relationships/image" Target="../media/image61.png"/><Relationship Id="rId9" Type="http://schemas.openxmlformats.org/officeDocument/2006/relationships/image" Target="../media/image60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7" Type="http://schemas.openxmlformats.org/officeDocument/2006/relationships/image" Target="../media/image6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3.png"/><Relationship Id="rId5" Type="http://schemas.openxmlformats.org/officeDocument/2006/relationships/image" Target="../media/image10.svg"/><Relationship Id="rId4" Type="http://schemas.openxmlformats.org/officeDocument/2006/relationships/image" Target="../media/image2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2.xml"/><Relationship Id="rId7" Type="http://schemas.openxmlformats.org/officeDocument/2006/relationships/image" Target="../media/image1.emf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11" Type="http://schemas.microsoft.com/office/2007/relationships/hdphoto" Target="../media/hdphoto1.wdp"/><Relationship Id="rId5" Type="http://schemas.openxmlformats.org/officeDocument/2006/relationships/notesSlide" Target="../notesSlides/notesSlide13.xml"/><Relationship Id="rId10" Type="http://schemas.openxmlformats.org/officeDocument/2006/relationships/image" Target="../media/image65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0.sv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jpeg"/><Relationship Id="rId3" Type="http://schemas.openxmlformats.org/officeDocument/2006/relationships/hyperlink" Target="https://e.mail.ru/compose?To=slav-dou43@22edu.ru" TargetMode="External"/><Relationship Id="rId7" Type="http://schemas.openxmlformats.org/officeDocument/2006/relationships/image" Target="../media/image8.png"/><Relationship Id="rId12" Type="http://schemas.openxmlformats.org/officeDocument/2006/relationships/image" Target="../media/image13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svg"/><Relationship Id="rId11" Type="http://schemas.openxmlformats.org/officeDocument/2006/relationships/image" Target="../media/image12.jpeg"/><Relationship Id="rId5" Type="http://schemas.openxmlformats.org/officeDocument/2006/relationships/image" Target="../media/image2.png"/><Relationship Id="rId10" Type="http://schemas.openxmlformats.org/officeDocument/2006/relationships/image" Target="../media/image11.jpeg"/><Relationship Id="rId4" Type="http://schemas.openxmlformats.org/officeDocument/2006/relationships/hyperlink" Target="http://slavg-obr.ucoz.net/" TargetMode="External"/><Relationship Id="rId9" Type="http://schemas.openxmlformats.org/officeDocument/2006/relationships/image" Target="../media/image10.jpeg"/><Relationship Id="rId14" Type="http://schemas.openxmlformats.org/officeDocument/2006/relationships/image" Target="../media/image15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7" Type="http://schemas.openxmlformats.org/officeDocument/2006/relationships/image" Target="../media/image17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jpeg"/><Relationship Id="rId5" Type="http://schemas.openxmlformats.org/officeDocument/2006/relationships/image" Target="../media/image10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1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.png"/><Relationship Id="rId5" Type="http://schemas.openxmlformats.org/officeDocument/2006/relationships/image" Target="../media/image10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sv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eg"/><Relationship Id="rId3" Type="http://schemas.openxmlformats.org/officeDocument/2006/relationships/tags" Target="../tags/tag10.xml"/><Relationship Id="rId7" Type="http://schemas.openxmlformats.org/officeDocument/2006/relationships/image" Target="../media/image1.emf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4.xml"/><Relationship Id="rId10" Type="http://schemas.openxmlformats.org/officeDocument/2006/relationships/image" Target="../media/image10.sv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2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eg"/><Relationship Id="rId3" Type="http://schemas.openxmlformats.org/officeDocument/2006/relationships/image" Target="../media/image2.png"/><Relationship Id="rId7" Type="http://schemas.openxmlformats.org/officeDocument/2006/relationships/image" Target="../media/image22.jpeg"/><Relationship Id="rId12" Type="http://schemas.openxmlformats.org/officeDocument/2006/relationships/image" Target="../media/image27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jpeg"/><Relationship Id="rId11" Type="http://schemas.openxmlformats.org/officeDocument/2006/relationships/image" Target="../media/image26.jpeg"/><Relationship Id="rId5" Type="http://schemas.openxmlformats.org/officeDocument/2006/relationships/image" Target="../media/image10.svg"/><Relationship Id="rId10" Type="http://schemas.openxmlformats.org/officeDocument/2006/relationships/image" Target="../media/image25.jpeg"/><Relationship Id="rId9" Type="http://schemas.openxmlformats.org/officeDocument/2006/relationships/image" Target="../media/image24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jpeg"/><Relationship Id="rId3" Type="http://schemas.openxmlformats.org/officeDocument/2006/relationships/image" Target="../media/image2.png"/><Relationship Id="rId7" Type="http://schemas.openxmlformats.org/officeDocument/2006/relationships/image" Target="../media/image29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8.jpeg"/><Relationship Id="rId5" Type="http://schemas.openxmlformats.org/officeDocument/2006/relationships/image" Target="../media/image10.svg"/><Relationship Id="rId10" Type="http://schemas.openxmlformats.org/officeDocument/2006/relationships/image" Target="../media/image32.jpeg"/><Relationship Id="rId9" Type="http://schemas.openxmlformats.org/officeDocument/2006/relationships/image" Target="../media/image31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jpeg"/><Relationship Id="rId3" Type="http://schemas.openxmlformats.org/officeDocument/2006/relationships/image" Target="../media/image2.png"/><Relationship Id="rId7" Type="http://schemas.openxmlformats.org/officeDocument/2006/relationships/image" Target="../media/image34.jpeg"/><Relationship Id="rId12" Type="http://schemas.openxmlformats.org/officeDocument/2006/relationships/image" Target="../media/image39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3.jpeg"/><Relationship Id="rId11" Type="http://schemas.openxmlformats.org/officeDocument/2006/relationships/image" Target="../media/image38.jpeg"/><Relationship Id="rId5" Type="http://schemas.openxmlformats.org/officeDocument/2006/relationships/image" Target="../media/image10.svg"/><Relationship Id="rId10" Type="http://schemas.openxmlformats.org/officeDocument/2006/relationships/image" Target="../media/image37.jpeg"/><Relationship Id="rId9" Type="http://schemas.openxmlformats.org/officeDocument/2006/relationships/image" Target="../media/image36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6">
            <a:extLst>
              <a:ext uri="{FF2B5EF4-FFF2-40B4-BE49-F238E27FC236}">
                <a16:creationId xmlns:a16="http://schemas.microsoft.com/office/drawing/2014/main" xmlns="" id="{73F466E3-4A1C-4F3C-8D41-557D758E8F2B}"/>
              </a:ext>
            </a:extLst>
          </p:cNvPr>
          <p:cNvSpPr/>
          <p:nvPr/>
        </p:nvSpPr>
        <p:spPr>
          <a:xfrm>
            <a:off x="355600" y="0"/>
            <a:ext cx="6539571" cy="6858000"/>
          </a:xfrm>
          <a:custGeom>
            <a:avLst/>
            <a:gdLst>
              <a:gd name="connsiteX0" fmla="*/ 0 w 6270171"/>
              <a:gd name="connsiteY0" fmla="*/ 0 h 6858000"/>
              <a:gd name="connsiteX1" fmla="*/ 6270171 w 6270171"/>
              <a:gd name="connsiteY1" fmla="*/ 0 h 6858000"/>
              <a:gd name="connsiteX2" fmla="*/ 6270171 w 6270171"/>
              <a:gd name="connsiteY2" fmla="*/ 6858000 h 6858000"/>
              <a:gd name="connsiteX3" fmla="*/ 0 w 6270171"/>
              <a:gd name="connsiteY3" fmla="*/ 6858000 h 6858000"/>
              <a:gd name="connsiteX4" fmla="*/ 0 w 6270171"/>
              <a:gd name="connsiteY4" fmla="*/ 0 h 6858000"/>
              <a:gd name="connsiteX0" fmla="*/ 0 w 6270171"/>
              <a:gd name="connsiteY0" fmla="*/ 0 h 6858000"/>
              <a:gd name="connsiteX1" fmla="*/ 6270171 w 6270171"/>
              <a:gd name="connsiteY1" fmla="*/ 0 h 6858000"/>
              <a:gd name="connsiteX2" fmla="*/ 6255657 w 6270171"/>
              <a:gd name="connsiteY2" fmla="*/ 3352800 h 6858000"/>
              <a:gd name="connsiteX3" fmla="*/ 6270171 w 6270171"/>
              <a:gd name="connsiteY3" fmla="*/ 6858000 h 6858000"/>
              <a:gd name="connsiteX4" fmla="*/ 0 w 6270171"/>
              <a:gd name="connsiteY4" fmla="*/ 6858000 h 6858000"/>
              <a:gd name="connsiteX5" fmla="*/ 0 w 6270171"/>
              <a:gd name="connsiteY5" fmla="*/ 0 h 6858000"/>
              <a:gd name="connsiteX0" fmla="*/ 0 w 6729819"/>
              <a:gd name="connsiteY0" fmla="*/ 0 h 6858000"/>
              <a:gd name="connsiteX1" fmla="*/ 6270171 w 6729819"/>
              <a:gd name="connsiteY1" fmla="*/ 0 h 6858000"/>
              <a:gd name="connsiteX2" fmla="*/ 6255657 w 6729819"/>
              <a:gd name="connsiteY2" fmla="*/ 3352800 h 6858000"/>
              <a:gd name="connsiteX3" fmla="*/ 6270171 w 6729819"/>
              <a:gd name="connsiteY3" fmla="*/ 6858000 h 6858000"/>
              <a:gd name="connsiteX4" fmla="*/ 0 w 6729819"/>
              <a:gd name="connsiteY4" fmla="*/ 6858000 h 6858000"/>
              <a:gd name="connsiteX5" fmla="*/ 0 w 6729819"/>
              <a:gd name="connsiteY5" fmla="*/ 0 h 6858000"/>
              <a:gd name="connsiteX0" fmla="*/ 0 w 6526122"/>
              <a:gd name="connsiteY0" fmla="*/ 0 h 6858000"/>
              <a:gd name="connsiteX1" fmla="*/ 6270171 w 6526122"/>
              <a:gd name="connsiteY1" fmla="*/ 0 h 6858000"/>
              <a:gd name="connsiteX2" fmla="*/ 4833257 w 6526122"/>
              <a:gd name="connsiteY2" fmla="*/ 3468914 h 6858000"/>
              <a:gd name="connsiteX3" fmla="*/ 6270171 w 6526122"/>
              <a:gd name="connsiteY3" fmla="*/ 6858000 h 6858000"/>
              <a:gd name="connsiteX4" fmla="*/ 0 w 6526122"/>
              <a:gd name="connsiteY4" fmla="*/ 6858000 h 6858000"/>
              <a:gd name="connsiteX5" fmla="*/ 0 w 6526122"/>
              <a:gd name="connsiteY5" fmla="*/ 0 h 6858000"/>
              <a:gd name="connsiteX0" fmla="*/ 0 w 6539571"/>
              <a:gd name="connsiteY0" fmla="*/ 0 h 6858000"/>
              <a:gd name="connsiteX1" fmla="*/ 6270171 w 6539571"/>
              <a:gd name="connsiteY1" fmla="*/ 0 h 6858000"/>
              <a:gd name="connsiteX2" fmla="*/ 4992914 w 6539571"/>
              <a:gd name="connsiteY2" fmla="*/ 3454400 h 6858000"/>
              <a:gd name="connsiteX3" fmla="*/ 6270171 w 6539571"/>
              <a:gd name="connsiteY3" fmla="*/ 6858000 h 6858000"/>
              <a:gd name="connsiteX4" fmla="*/ 0 w 6539571"/>
              <a:gd name="connsiteY4" fmla="*/ 6858000 h 6858000"/>
              <a:gd name="connsiteX5" fmla="*/ 0 w 6539571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39571" h="6858000">
                <a:moveTo>
                  <a:pt x="0" y="0"/>
                </a:moveTo>
                <a:lnTo>
                  <a:pt x="6270171" y="0"/>
                </a:lnTo>
                <a:cubicBezTo>
                  <a:pt x="7312780" y="558800"/>
                  <a:pt x="4992914" y="2311400"/>
                  <a:pt x="4992914" y="3454400"/>
                </a:cubicBezTo>
                <a:cubicBezTo>
                  <a:pt x="4992914" y="4597400"/>
                  <a:pt x="7312780" y="6273800"/>
                  <a:pt x="6270171" y="6858000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 6">
            <a:extLst>
              <a:ext uri="{FF2B5EF4-FFF2-40B4-BE49-F238E27FC236}">
                <a16:creationId xmlns:a16="http://schemas.microsoft.com/office/drawing/2014/main" xmlns="" id="{8B55C193-579B-41F1-8950-EE0561C0E521}"/>
              </a:ext>
            </a:extLst>
          </p:cNvPr>
          <p:cNvSpPr/>
          <p:nvPr/>
        </p:nvSpPr>
        <p:spPr>
          <a:xfrm>
            <a:off x="125997" y="0"/>
            <a:ext cx="6539571" cy="6858000"/>
          </a:xfrm>
          <a:custGeom>
            <a:avLst/>
            <a:gdLst>
              <a:gd name="connsiteX0" fmla="*/ 0 w 6270171"/>
              <a:gd name="connsiteY0" fmla="*/ 0 h 6858000"/>
              <a:gd name="connsiteX1" fmla="*/ 6270171 w 6270171"/>
              <a:gd name="connsiteY1" fmla="*/ 0 h 6858000"/>
              <a:gd name="connsiteX2" fmla="*/ 6270171 w 6270171"/>
              <a:gd name="connsiteY2" fmla="*/ 6858000 h 6858000"/>
              <a:gd name="connsiteX3" fmla="*/ 0 w 6270171"/>
              <a:gd name="connsiteY3" fmla="*/ 6858000 h 6858000"/>
              <a:gd name="connsiteX4" fmla="*/ 0 w 6270171"/>
              <a:gd name="connsiteY4" fmla="*/ 0 h 6858000"/>
              <a:gd name="connsiteX0" fmla="*/ 0 w 6270171"/>
              <a:gd name="connsiteY0" fmla="*/ 0 h 6858000"/>
              <a:gd name="connsiteX1" fmla="*/ 6270171 w 6270171"/>
              <a:gd name="connsiteY1" fmla="*/ 0 h 6858000"/>
              <a:gd name="connsiteX2" fmla="*/ 6255657 w 6270171"/>
              <a:gd name="connsiteY2" fmla="*/ 3352800 h 6858000"/>
              <a:gd name="connsiteX3" fmla="*/ 6270171 w 6270171"/>
              <a:gd name="connsiteY3" fmla="*/ 6858000 h 6858000"/>
              <a:gd name="connsiteX4" fmla="*/ 0 w 6270171"/>
              <a:gd name="connsiteY4" fmla="*/ 6858000 h 6858000"/>
              <a:gd name="connsiteX5" fmla="*/ 0 w 6270171"/>
              <a:gd name="connsiteY5" fmla="*/ 0 h 6858000"/>
              <a:gd name="connsiteX0" fmla="*/ 0 w 6729819"/>
              <a:gd name="connsiteY0" fmla="*/ 0 h 6858000"/>
              <a:gd name="connsiteX1" fmla="*/ 6270171 w 6729819"/>
              <a:gd name="connsiteY1" fmla="*/ 0 h 6858000"/>
              <a:gd name="connsiteX2" fmla="*/ 6255657 w 6729819"/>
              <a:gd name="connsiteY2" fmla="*/ 3352800 h 6858000"/>
              <a:gd name="connsiteX3" fmla="*/ 6270171 w 6729819"/>
              <a:gd name="connsiteY3" fmla="*/ 6858000 h 6858000"/>
              <a:gd name="connsiteX4" fmla="*/ 0 w 6729819"/>
              <a:gd name="connsiteY4" fmla="*/ 6858000 h 6858000"/>
              <a:gd name="connsiteX5" fmla="*/ 0 w 6729819"/>
              <a:gd name="connsiteY5" fmla="*/ 0 h 6858000"/>
              <a:gd name="connsiteX0" fmla="*/ 0 w 6526122"/>
              <a:gd name="connsiteY0" fmla="*/ 0 h 6858000"/>
              <a:gd name="connsiteX1" fmla="*/ 6270171 w 6526122"/>
              <a:gd name="connsiteY1" fmla="*/ 0 h 6858000"/>
              <a:gd name="connsiteX2" fmla="*/ 4833257 w 6526122"/>
              <a:gd name="connsiteY2" fmla="*/ 3468914 h 6858000"/>
              <a:gd name="connsiteX3" fmla="*/ 6270171 w 6526122"/>
              <a:gd name="connsiteY3" fmla="*/ 6858000 h 6858000"/>
              <a:gd name="connsiteX4" fmla="*/ 0 w 6526122"/>
              <a:gd name="connsiteY4" fmla="*/ 6858000 h 6858000"/>
              <a:gd name="connsiteX5" fmla="*/ 0 w 6526122"/>
              <a:gd name="connsiteY5" fmla="*/ 0 h 6858000"/>
              <a:gd name="connsiteX0" fmla="*/ 0 w 6539571"/>
              <a:gd name="connsiteY0" fmla="*/ 0 h 6858000"/>
              <a:gd name="connsiteX1" fmla="*/ 6270171 w 6539571"/>
              <a:gd name="connsiteY1" fmla="*/ 0 h 6858000"/>
              <a:gd name="connsiteX2" fmla="*/ 4992914 w 6539571"/>
              <a:gd name="connsiteY2" fmla="*/ 3454400 h 6858000"/>
              <a:gd name="connsiteX3" fmla="*/ 6270171 w 6539571"/>
              <a:gd name="connsiteY3" fmla="*/ 6858000 h 6858000"/>
              <a:gd name="connsiteX4" fmla="*/ 0 w 6539571"/>
              <a:gd name="connsiteY4" fmla="*/ 6858000 h 6858000"/>
              <a:gd name="connsiteX5" fmla="*/ 0 w 6539571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39571" h="6858000">
                <a:moveTo>
                  <a:pt x="0" y="0"/>
                </a:moveTo>
                <a:lnTo>
                  <a:pt x="6270171" y="0"/>
                </a:lnTo>
                <a:cubicBezTo>
                  <a:pt x="7312780" y="558800"/>
                  <a:pt x="4992914" y="2311400"/>
                  <a:pt x="4992914" y="3454400"/>
                </a:cubicBezTo>
                <a:cubicBezTo>
                  <a:pt x="4992914" y="4597400"/>
                  <a:pt x="7312780" y="6273800"/>
                  <a:pt x="6270171" y="6858000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 6">
            <a:extLst>
              <a:ext uri="{FF2B5EF4-FFF2-40B4-BE49-F238E27FC236}">
                <a16:creationId xmlns:a16="http://schemas.microsoft.com/office/drawing/2014/main" xmlns="" id="{B5C70F30-87F9-49E7-946B-AEFA22A72569}"/>
              </a:ext>
            </a:extLst>
          </p:cNvPr>
          <p:cNvSpPr/>
          <p:nvPr/>
        </p:nvSpPr>
        <p:spPr>
          <a:xfrm>
            <a:off x="551447" y="0"/>
            <a:ext cx="6539571" cy="6858000"/>
          </a:xfrm>
          <a:custGeom>
            <a:avLst/>
            <a:gdLst>
              <a:gd name="connsiteX0" fmla="*/ 0 w 6270171"/>
              <a:gd name="connsiteY0" fmla="*/ 0 h 6858000"/>
              <a:gd name="connsiteX1" fmla="*/ 6270171 w 6270171"/>
              <a:gd name="connsiteY1" fmla="*/ 0 h 6858000"/>
              <a:gd name="connsiteX2" fmla="*/ 6270171 w 6270171"/>
              <a:gd name="connsiteY2" fmla="*/ 6858000 h 6858000"/>
              <a:gd name="connsiteX3" fmla="*/ 0 w 6270171"/>
              <a:gd name="connsiteY3" fmla="*/ 6858000 h 6858000"/>
              <a:gd name="connsiteX4" fmla="*/ 0 w 6270171"/>
              <a:gd name="connsiteY4" fmla="*/ 0 h 6858000"/>
              <a:gd name="connsiteX0" fmla="*/ 0 w 6270171"/>
              <a:gd name="connsiteY0" fmla="*/ 0 h 6858000"/>
              <a:gd name="connsiteX1" fmla="*/ 6270171 w 6270171"/>
              <a:gd name="connsiteY1" fmla="*/ 0 h 6858000"/>
              <a:gd name="connsiteX2" fmla="*/ 6255657 w 6270171"/>
              <a:gd name="connsiteY2" fmla="*/ 3352800 h 6858000"/>
              <a:gd name="connsiteX3" fmla="*/ 6270171 w 6270171"/>
              <a:gd name="connsiteY3" fmla="*/ 6858000 h 6858000"/>
              <a:gd name="connsiteX4" fmla="*/ 0 w 6270171"/>
              <a:gd name="connsiteY4" fmla="*/ 6858000 h 6858000"/>
              <a:gd name="connsiteX5" fmla="*/ 0 w 6270171"/>
              <a:gd name="connsiteY5" fmla="*/ 0 h 6858000"/>
              <a:gd name="connsiteX0" fmla="*/ 0 w 6729819"/>
              <a:gd name="connsiteY0" fmla="*/ 0 h 6858000"/>
              <a:gd name="connsiteX1" fmla="*/ 6270171 w 6729819"/>
              <a:gd name="connsiteY1" fmla="*/ 0 h 6858000"/>
              <a:gd name="connsiteX2" fmla="*/ 6255657 w 6729819"/>
              <a:gd name="connsiteY2" fmla="*/ 3352800 h 6858000"/>
              <a:gd name="connsiteX3" fmla="*/ 6270171 w 6729819"/>
              <a:gd name="connsiteY3" fmla="*/ 6858000 h 6858000"/>
              <a:gd name="connsiteX4" fmla="*/ 0 w 6729819"/>
              <a:gd name="connsiteY4" fmla="*/ 6858000 h 6858000"/>
              <a:gd name="connsiteX5" fmla="*/ 0 w 6729819"/>
              <a:gd name="connsiteY5" fmla="*/ 0 h 6858000"/>
              <a:gd name="connsiteX0" fmla="*/ 0 w 6526122"/>
              <a:gd name="connsiteY0" fmla="*/ 0 h 6858000"/>
              <a:gd name="connsiteX1" fmla="*/ 6270171 w 6526122"/>
              <a:gd name="connsiteY1" fmla="*/ 0 h 6858000"/>
              <a:gd name="connsiteX2" fmla="*/ 4833257 w 6526122"/>
              <a:gd name="connsiteY2" fmla="*/ 3468914 h 6858000"/>
              <a:gd name="connsiteX3" fmla="*/ 6270171 w 6526122"/>
              <a:gd name="connsiteY3" fmla="*/ 6858000 h 6858000"/>
              <a:gd name="connsiteX4" fmla="*/ 0 w 6526122"/>
              <a:gd name="connsiteY4" fmla="*/ 6858000 h 6858000"/>
              <a:gd name="connsiteX5" fmla="*/ 0 w 6526122"/>
              <a:gd name="connsiteY5" fmla="*/ 0 h 6858000"/>
              <a:gd name="connsiteX0" fmla="*/ 0 w 6539571"/>
              <a:gd name="connsiteY0" fmla="*/ 0 h 6858000"/>
              <a:gd name="connsiteX1" fmla="*/ 6270171 w 6539571"/>
              <a:gd name="connsiteY1" fmla="*/ 0 h 6858000"/>
              <a:gd name="connsiteX2" fmla="*/ 4992914 w 6539571"/>
              <a:gd name="connsiteY2" fmla="*/ 3454400 h 6858000"/>
              <a:gd name="connsiteX3" fmla="*/ 6270171 w 6539571"/>
              <a:gd name="connsiteY3" fmla="*/ 6858000 h 6858000"/>
              <a:gd name="connsiteX4" fmla="*/ 0 w 6539571"/>
              <a:gd name="connsiteY4" fmla="*/ 6858000 h 6858000"/>
              <a:gd name="connsiteX5" fmla="*/ 0 w 6539571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39571" h="6858000">
                <a:moveTo>
                  <a:pt x="0" y="0"/>
                </a:moveTo>
                <a:lnTo>
                  <a:pt x="6270171" y="0"/>
                </a:lnTo>
                <a:cubicBezTo>
                  <a:pt x="7312780" y="558800"/>
                  <a:pt x="4992914" y="2311400"/>
                  <a:pt x="4992914" y="3454400"/>
                </a:cubicBezTo>
                <a:cubicBezTo>
                  <a:pt x="4992914" y="4597400"/>
                  <a:pt x="7312780" y="6273800"/>
                  <a:pt x="6270171" y="6858000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8C8FA7AC-B37F-4E1E-AFD9-DAA70D9E71C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38038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0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5">
            <a:extLst>
              <a:ext uri="{FF2B5EF4-FFF2-40B4-BE49-F238E27FC236}">
                <a16:creationId xmlns:a16="http://schemas.microsoft.com/office/drawing/2014/main" xmlns="" id="{EC567B02-E541-4F8C-BE3F-4A45F04B721B}"/>
              </a:ext>
            </a:extLst>
          </p:cNvPr>
          <p:cNvGrpSpPr/>
          <p:nvPr/>
        </p:nvGrpSpPr>
        <p:grpSpPr>
          <a:xfrm>
            <a:off x="606306" y="581556"/>
            <a:ext cx="1404809" cy="401860"/>
            <a:chOff x="6673278" y="1829785"/>
            <a:chExt cx="1404809" cy="401860"/>
          </a:xfrm>
          <a:solidFill>
            <a:schemeClr val="bg1"/>
          </a:solidFill>
        </p:grpSpPr>
        <p:sp>
          <p:nvSpPr>
            <p:cNvPr id="13" name="Freeform 254">
              <a:extLst>
                <a:ext uri="{FF2B5EF4-FFF2-40B4-BE49-F238E27FC236}">
                  <a16:creationId xmlns:a16="http://schemas.microsoft.com/office/drawing/2014/main" xmlns="" id="{ABB0E5B3-3CBA-4FFA-966B-63813E6E71B6}"/>
                </a:ext>
              </a:extLst>
            </p:cNvPr>
            <p:cNvSpPr>
              <a:spLocks/>
            </p:cNvSpPr>
            <p:nvPr/>
          </p:nvSpPr>
          <p:spPr bwMode="auto">
            <a:xfrm>
              <a:off x="6673278" y="1833191"/>
              <a:ext cx="195821" cy="309909"/>
            </a:xfrm>
            <a:custGeom>
              <a:avLst/>
              <a:gdLst>
                <a:gd name="T0" fmla="*/ 43 w 61"/>
                <a:gd name="T1" fmla="*/ 47 h 95"/>
                <a:gd name="T2" fmla="*/ 30 w 61"/>
                <a:gd name="T3" fmla="*/ 55 h 95"/>
                <a:gd name="T4" fmla="*/ 11 w 61"/>
                <a:gd name="T5" fmla="*/ 83 h 95"/>
                <a:gd name="T6" fmla="*/ 11 w 61"/>
                <a:gd name="T7" fmla="*/ 85 h 95"/>
                <a:gd name="T8" fmla="*/ 57 w 61"/>
                <a:gd name="T9" fmla="*/ 85 h 95"/>
                <a:gd name="T10" fmla="*/ 60 w 61"/>
                <a:gd name="T11" fmla="*/ 88 h 95"/>
                <a:gd name="T12" fmla="*/ 60 w 61"/>
                <a:gd name="T13" fmla="*/ 93 h 95"/>
                <a:gd name="T14" fmla="*/ 57 w 61"/>
                <a:gd name="T15" fmla="*/ 95 h 95"/>
                <a:gd name="T16" fmla="*/ 3 w 61"/>
                <a:gd name="T17" fmla="*/ 95 h 95"/>
                <a:gd name="T18" fmla="*/ 0 w 61"/>
                <a:gd name="T19" fmla="*/ 93 h 95"/>
                <a:gd name="T20" fmla="*/ 0 w 61"/>
                <a:gd name="T21" fmla="*/ 83 h 95"/>
                <a:gd name="T22" fmla="*/ 21 w 61"/>
                <a:gd name="T23" fmla="*/ 49 h 95"/>
                <a:gd name="T24" fmla="*/ 35 w 61"/>
                <a:gd name="T25" fmla="*/ 40 h 95"/>
                <a:gd name="T26" fmla="*/ 49 w 61"/>
                <a:gd name="T27" fmla="*/ 22 h 95"/>
                <a:gd name="T28" fmla="*/ 28 w 61"/>
                <a:gd name="T29" fmla="*/ 9 h 95"/>
                <a:gd name="T30" fmla="*/ 4 w 61"/>
                <a:gd name="T31" fmla="*/ 11 h 95"/>
                <a:gd name="T32" fmla="*/ 3 w 61"/>
                <a:gd name="T33" fmla="*/ 11 h 95"/>
                <a:gd name="T34" fmla="*/ 1 w 61"/>
                <a:gd name="T35" fmla="*/ 9 h 95"/>
                <a:gd name="T36" fmla="*/ 1 w 61"/>
                <a:gd name="T37" fmla="*/ 4 h 95"/>
                <a:gd name="T38" fmla="*/ 4 w 61"/>
                <a:gd name="T39" fmla="*/ 2 h 95"/>
                <a:gd name="T40" fmla="*/ 28 w 61"/>
                <a:gd name="T41" fmla="*/ 0 h 95"/>
                <a:gd name="T42" fmla="*/ 61 w 61"/>
                <a:gd name="T43" fmla="*/ 22 h 95"/>
                <a:gd name="T44" fmla="*/ 43 w 61"/>
                <a:gd name="T45" fmla="*/ 47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1" h="95">
                  <a:moveTo>
                    <a:pt x="43" y="47"/>
                  </a:moveTo>
                  <a:cubicBezTo>
                    <a:pt x="30" y="55"/>
                    <a:pt x="30" y="55"/>
                    <a:pt x="30" y="55"/>
                  </a:cubicBezTo>
                  <a:cubicBezTo>
                    <a:pt x="15" y="65"/>
                    <a:pt x="11" y="72"/>
                    <a:pt x="11" y="83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59" y="85"/>
                    <a:pt x="60" y="86"/>
                    <a:pt x="60" y="88"/>
                  </a:cubicBezTo>
                  <a:cubicBezTo>
                    <a:pt x="60" y="93"/>
                    <a:pt x="60" y="93"/>
                    <a:pt x="60" y="93"/>
                  </a:cubicBezTo>
                  <a:cubicBezTo>
                    <a:pt x="60" y="95"/>
                    <a:pt x="59" y="95"/>
                    <a:pt x="57" y="95"/>
                  </a:cubicBezTo>
                  <a:cubicBezTo>
                    <a:pt x="3" y="95"/>
                    <a:pt x="3" y="95"/>
                    <a:pt x="3" y="95"/>
                  </a:cubicBezTo>
                  <a:cubicBezTo>
                    <a:pt x="1" y="95"/>
                    <a:pt x="0" y="94"/>
                    <a:pt x="0" y="93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69"/>
                    <a:pt x="6" y="58"/>
                    <a:pt x="21" y="49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46" y="33"/>
                    <a:pt x="49" y="30"/>
                    <a:pt x="49" y="22"/>
                  </a:cubicBezTo>
                  <a:cubicBezTo>
                    <a:pt x="49" y="13"/>
                    <a:pt x="43" y="9"/>
                    <a:pt x="28" y="9"/>
                  </a:cubicBezTo>
                  <a:cubicBezTo>
                    <a:pt x="21" y="9"/>
                    <a:pt x="12" y="10"/>
                    <a:pt x="4" y="11"/>
                  </a:cubicBezTo>
                  <a:cubicBezTo>
                    <a:pt x="4" y="11"/>
                    <a:pt x="4" y="11"/>
                    <a:pt x="3" y="11"/>
                  </a:cubicBezTo>
                  <a:cubicBezTo>
                    <a:pt x="2" y="11"/>
                    <a:pt x="1" y="10"/>
                    <a:pt x="1" y="9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3"/>
                    <a:pt x="3" y="2"/>
                    <a:pt x="4" y="2"/>
                  </a:cubicBezTo>
                  <a:cubicBezTo>
                    <a:pt x="11" y="0"/>
                    <a:pt x="20" y="0"/>
                    <a:pt x="28" y="0"/>
                  </a:cubicBezTo>
                  <a:cubicBezTo>
                    <a:pt x="51" y="0"/>
                    <a:pt x="61" y="7"/>
                    <a:pt x="61" y="22"/>
                  </a:cubicBezTo>
                  <a:cubicBezTo>
                    <a:pt x="61" y="33"/>
                    <a:pt x="56" y="39"/>
                    <a:pt x="43" y="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Freeform 255">
              <a:extLst>
                <a:ext uri="{FF2B5EF4-FFF2-40B4-BE49-F238E27FC236}">
                  <a16:creationId xmlns:a16="http://schemas.microsoft.com/office/drawing/2014/main" xmlns="" id="{DEC60BE9-CAE5-4D78-8B29-81F4F514262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85663" y="1904708"/>
              <a:ext cx="226472" cy="326937"/>
            </a:xfrm>
            <a:custGeom>
              <a:avLst/>
              <a:gdLst>
                <a:gd name="T0" fmla="*/ 68 w 70"/>
                <a:gd name="T1" fmla="*/ 74 h 100"/>
                <a:gd name="T2" fmla="*/ 56 w 70"/>
                <a:gd name="T3" fmla="*/ 74 h 100"/>
                <a:gd name="T4" fmla="*/ 56 w 70"/>
                <a:gd name="T5" fmla="*/ 98 h 100"/>
                <a:gd name="T6" fmla="*/ 54 w 70"/>
                <a:gd name="T7" fmla="*/ 100 h 100"/>
                <a:gd name="T8" fmla="*/ 46 w 70"/>
                <a:gd name="T9" fmla="*/ 100 h 100"/>
                <a:gd name="T10" fmla="*/ 44 w 70"/>
                <a:gd name="T11" fmla="*/ 98 h 100"/>
                <a:gd name="T12" fmla="*/ 44 w 70"/>
                <a:gd name="T13" fmla="*/ 74 h 100"/>
                <a:gd name="T14" fmla="*/ 5 w 70"/>
                <a:gd name="T15" fmla="*/ 74 h 100"/>
                <a:gd name="T16" fmla="*/ 0 w 70"/>
                <a:gd name="T17" fmla="*/ 68 h 100"/>
                <a:gd name="T18" fmla="*/ 0 w 70"/>
                <a:gd name="T19" fmla="*/ 63 h 100"/>
                <a:gd name="T20" fmla="*/ 1 w 70"/>
                <a:gd name="T21" fmla="*/ 58 h 100"/>
                <a:gd name="T22" fmla="*/ 41 w 70"/>
                <a:gd name="T23" fmla="*/ 2 h 100"/>
                <a:gd name="T24" fmla="*/ 45 w 70"/>
                <a:gd name="T25" fmla="*/ 0 h 100"/>
                <a:gd name="T26" fmla="*/ 52 w 70"/>
                <a:gd name="T27" fmla="*/ 0 h 100"/>
                <a:gd name="T28" fmla="*/ 56 w 70"/>
                <a:gd name="T29" fmla="*/ 3 h 100"/>
                <a:gd name="T30" fmla="*/ 56 w 70"/>
                <a:gd name="T31" fmla="*/ 63 h 100"/>
                <a:gd name="T32" fmla="*/ 68 w 70"/>
                <a:gd name="T33" fmla="*/ 63 h 100"/>
                <a:gd name="T34" fmla="*/ 70 w 70"/>
                <a:gd name="T35" fmla="*/ 66 h 100"/>
                <a:gd name="T36" fmla="*/ 70 w 70"/>
                <a:gd name="T37" fmla="*/ 71 h 100"/>
                <a:gd name="T38" fmla="*/ 68 w 70"/>
                <a:gd name="T39" fmla="*/ 74 h 100"/>
                <a:gd name="T40" fmla="*/ 44 w 70"/>
                <a:gd name="T41" fmla="*/ 17 h 100"/>
                <a:gd name="T42" fmla="*/ 43 w 70"/>
                <a:gd name="T43" fmla="*/ 17 h 100"/>
                <a:gd name="T44" fmla="*/ 43 w 70"/>
                <a:gd name="T45" fmla="*/ 17 h 100"/>
                <a:gd name="T46" fmla="*/ 42 w 70"/>
                <a:gd name="T47" fmla="*/ 17 h 100"/>
                <a:gd name="T48" fmla="*/ 11 w 70"/>
                <a:gd name="T49" fmla="*/ 61 h 100"/>
                <a:gd name="T50" fmla="*/ 11 w 70"/>
                <a:gd name="T51" fmla="*/ 63 h 100"/>
                <a:gd name="T52" fmla="*/ 12 w 70"/>
                <a:gd name="T53" fmla="*/ 63 h 100"/>
                <a:gd name="T54" fmla="*/ 44 w 70"/>
                <a:gd name="T55" fmla="*/ 63 h 100"/>
                <a:gd name="T56" fmla="*/ 44 w 70"/>
                <a:gd name="T57" fmla="*/ 17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0" h="100">
                  <a:moveTo>
                    <a:pt x="68" y="74"/>
                  </a:moveTo>
                  <a:cubicBezTo>
                    <a:pt x="56" y="74"/>
                    <a:pt x="56" y="74"/>
                    <a:pt x="56" y="74"/>
                  </a:cubicBezTo>
                  <a:cubicBezTo>
                    <a:pt x="56" y="98"/>
                    <a:pt x="56" y="98"/>
                    <a:pt x="56" y="98"/>
                  </a:cubicBezTo>
                  <a:cubicBezTo>
                    <a:pt x="56" y="99"/>
                    <a:pt x="55" y="100"/>
                    <a:pt x="54" y="100"/>
                  </a:cubicBezTo>
                  <a:cubicBezTo>
                    <a:pt x="46" y="100"/>
                    <a:pt x="46" y="100"/>
                    <a:pt x="46" y="100"/>
                  </a:cubicBezTo>
                  <a:cubicBezTo>
                    <a:pt x="44" y="100"/>
                    <a:pt x="44" y="99"/>
                    <a:pt x="44" y="98"/>
                  </a:cubicBezTo>
                  <a:cubicBezTo>
                    <a:pt x="44" y="74"/>
                    <a:pt x="44" y="74"/>
                    <a:pt x="44" y="74"/>
                  </a:cubicBezTo>
                  <a:cubicBezTo>
                    <a:pt x="5" y="74"/>
                    <a:pt x="5" y="74"/>
                    <a:pt x="5" y="74"/>
                  </a:cubicBezTo>
                  <a:cubicBezTo>
                    <a:pt x="1" y="74"/>
                    <a:pt x="0" y="72"/>
                    <a:pt x="0" y="68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1"/>
                    <a:pt x="0" y="60"/>
                    <a:pt x="1" y="58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41" y="1"/>
                    <a:pt x="42" y="0"/>
                    <a:pt x="45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5" y="0"/>
                    <a:pt x="56" y="1"/>
                    <a:pt x="56" y="3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68" y="63"/>
                    <a:pt x="68" y="63"/>
                    <a:pt x="68" y="63"/>
                  </a:cubicBezTo>
                  <a:cubicBezTo>
                    <a:pt x="69" y="63"/>
                    <a:pt x="70" y="64"/>
                    <a:pt x="70" y="66"/>
                  </a:cubicBezTo>
                  <a:cubicBezTo>
                    <a:pt x="70" y="71"/>
                    <a:pt x="70" y="71"/>
                    <a:pt x="70" y="71"/>
                  </a:cubicBezTo>
                  <a:cubicBezTo>
                    <a:pt x="70" y="73"/>
                    <a:pt x="69" y="74"/>
                    <a:pt x="68" y="74"/>
                  </a:cubicBezTo>
                  <a:close/>
                  <a:moveTo>
                    <a:pt x="44" y="17"/>
                  </a:moveTo>
                  <a:cubicBezTo>
                    <a:pt x="44" y="17"/>
                    <a:pt x="44" y="17"/>
                    <a:pt x="43" y="17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3" y="17"/>
                    <a:pt x="42" y="17"/>
                    <a:pt x="42" y="17"/>
                  </a:cubicBezTo>
                  <a:cubicBezTo>
                    <a:pt x="11" y="61"/>
                    <a:pt x="11" y="61"/>
                    <a:pt x="11" y="61"/>
                  </a:cubicBezTo>
                  <a:cubicBezTo>
                    <a:pt x="11" y="62"/>
                    <a:pt x="11" y="62"/>
                    <a:pt x="11" y="63"/>
                  </a:cubicBezTo>
                  <a:cubicBezTo>
                    <a:pt x="11" y="63"/>
                    <a:pt x="11" y="63"/>
                    <a:pt x="12" y="63"/>
                  </a:cubicBezTo>
                  <a:cubicBezTo>
                    <a:pt x="44" y="63"/>
                    <a:pt x="44" y="63"/>
                    <a:pt x="44" y="63"/>
                  </a:cubicBezTo>
                  <a:lnTo>
                    <a:pt x="44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Freeform 256">
              <a:extLst>
                <a:ext uri="{FF2B5EF4-FFF2-40B4-BE49-F238E27FC236}">
                  <a16:creationId xmlns:a16="http://schemas.microsoft.com/office/drawing/2014/main" xmlns="" id="{2BECE424-3B4F-4116-962C-70ECFD21E35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53932" y="1833191"/>
              <a:ext cx="37462" cy="313315"/>
            </a:xfrm>
            <a:custGeom>
              <a:avLst/>
              <a:gdLst>
                <a:gd name="T0" fmla="*/ 11 w 12"/>
                <a:gd name="T1" fmla="*/ 95 h 96"/>
                <a:gd name="T2" fmla="*/ 10 w 12"/>
                <a:gd name="T3" fmla="*/ 96 h 96"/>
                <a:gd name="T4" fmla="*/ 3 w 12"/>
                <a:gd name="T5" fmla="*/ 96 h 96"/>
                <a:gd name="T6" fmla="*/ 1 w 12"/>
                <a:gd name="T7" fmla="*/ 95 h 96"/>
                <a:gd name="T8" fmla="*/ 0 w 12"/>
                <a:gd name="T9" fmla="*/ 93 h 96"/>
                <a:gd name="T10" fmla="*/ 0 w 12"/>
                <a:gd name="T11" fmla="*/ 2 h 96"/>
                <a:gd name="T12" fmla="*/ 1 w 12"/>
                <a:gd name="T13" fmla="*/ 1 h 96"/>
                <a:gd name="T14" fmla="*/ 3 w 12"/>
                <a:gd name="T15" fmla="*/ 0 h 96"/>
                <a:gd name="T16" fmla="*/ 10 w 12"/>
                <a:gd name="T17" fmla="*/ 0 h 96"/>
                <a:gd name="T18" fmla="*/ 11 w 12"/>
                <a:gd name="T19" fmla="*/ 1 h 96"/>
                <a:gd name="T20" fmla="*/ 12 w 12"/>
                <a:gd name="T21" fmla="*/ 2 h 96"/>
                <a:gd name="T22" fmla="*/ 12 w 12"/>
                <a:gd name="T23" fmla="*/ 93 h 96"/>
                <a:gd name="T24" fmla="*/ 11 w 12"/>
                <a:gd name="T25" fmla="*/ 9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96">
                  <a:moveTo>
                    <a:pt x="11" y="95"/>
                  </a:moveTo>
                  <a:cubicBezTo>
                    <a:pt x="11" y="95"/>
                    <a:pt x="10" y="96"/>
                    <a:pt x="10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2" y="96"/>
                    <a:pt x="1" y="95"/>
                    <a:pt x="1" y="95"/>
                  </a:cubicBezTo>
                  <a:cubicBezTo>
                    <a:pt x="0" y="94"/>
                    <a:pt x="0" y="94"/>
                    <a:pt x="0" y="9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1" y="0"/>
                    <a:pt x="11" y="1"/>
                  </a:cubicBezTo>
                  <a:cubicBezTo>
                    <a:pt x="12" y="1"/>
                    <a:pt x="12" y="2"/>
                    <a:pt x="12" y="2"/>
                  </a:cubicBezTo>
                  <a:cubicBezTo>
                    <a:pt x="12" y="93"/>
                    <a:pt x="12" y="93"/>
                    <a:pt x="12" y="93"/>
                  </a:cubicBezTo>
                  <a:cubicBezTo>
                    <a:pt x="12" y="94"/>
                    <a:pt x="12" y="94"/>
                    <a:pt x="11" y="9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Freeform 257">
              <a:extLst>
                <a:ext uri="{FF2B5EF4-FFF2-40B4-BE49-F238E27FC236}">
                  <a16:creationId xmlns:a16="http://schemas.microsoft.com/office/drawing/2014/main" xmlns="" id="{68801E17-5DC2-4128-AED8-FE46F73EF35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59506" y="1829785"/>
              <a:ext cx="39164" cy="316720"/>
            </a:xfrm>
            <a:custGeom>
              <a:avLst/>
              <a:gdLst>
                <a:gd name="T0" fmla="*/ 11 w 12"/>
                <a:gd name="T1" fmla="*/ 15 h 97"/>
                <a:gd name="T2" fmla="*/ 9 w 12"/>
                <a:gd name="T3" fmla="*/ 15 h 97"/>
                <a:gd name="T4" fmla="*/ 3 w 12"/>
                <a:gd name="T5" fmla="*/ 15 h 97"/>
                <a:gd name="T6" fmla="*/ 1 w 12"/>
                <a:gd name="T7" fmla="*/ 15 h 97"/>
                <a:gd name="T8" fmla="*/ 0 w 12"/>
                <a:gd name="T9" fmla="*/ 13 h 97"/>
                <a:gd name="T10" fmla="*/ 0 w 12"/>
                <a:gd name="T11" fmla="*/ 3 h 97"/>
                <a:gd name="T12" fmla="*/ 1 w 12"/>
                <a:gd name="T13" fmla="*/ 1 h 97"/>
                <a:gd name="T14" fmla="*/ 3 w 12"/>
                <a:gd name="T15" fmla="*/ 0 h 97"/>
                <a:gd name="T16" fmla="*/ 9 w 12"/>
                <a:gd name="T17" fmla="*/ 0 h 97"/>
                <a:gd name="T18" fmla="*/ 11 w 12"/>
                <a:gd name="T19" fmla="*/ 1 h 97"/>
                <a:gd name="T20" fmla="*/ 12 w 12"/>
                <a:gd name="T21" fmla="*/ 3 h 97"/>
                <a:gd name="T22" fmla="*/ 12 w 12"/>
                <a:gd name="T23" fmla="*/ 13 h 97"/>
                <a:gd name="T24" fmla="*/ 11 w 12"/>
                <a:gd name="T25" fmla="*/ 15 h 97"/>
                <a:gd name="T26" fmla="*/ 11 w 12"/>
                <a:gd name="T27" fmla="*/ 96 h 97"/>
                <a:gd name="T28" fmla="*/ 9 w 12"/>
                <a:gd name="T29" fmla="*/ 97 h 97"/>
                <a:gd name="T30" fmla="*/ 3 w 12"/>
                <a:gd name="T31" fmla="*/ 97 h 97"/>
                <a:gd name="T32" fmla="*/ 1 w 12"/>
                <a:gd name="T33" fmla="*/ 96 h 97"/>
                <a:gd name="T34" fmla="*/ 0 w 12"/>
                <a:gd name="T35" fmla="*/ 94 h 97"/>
                <a:gd name="T36" fmla="*/ 0 w 12"/>
                <a:gd name="T37" fmla="*/ 29 h 97"/>
                <a:gd name="T38" fmla="*/ 1 w 12"/>
                <a:gd name="T39" fmla="*/ 27 h 97"/>
                <a:gd name="T40" fmla="*/ 3 w 12"/>
                <a:gd name="T41" fmla="*/ 27 h 97"/>
                <a:gd name="T42" fmla="*/ 9 w 12"/>
                <a:gd name="T43" fmla="*/ 27 h 97"/>
                <a:gd name="T44" fmla="*/ 11 w 12"/>
                <a:gd name="T45" fmla="*/ 27 h 97"/>
                <a:gd name="T46" fmla="*/ 12 w 12"/>
                <a:gd name="T47" fmla="*/ 29 h 97"/>
                <a:gd name="T48" fmla="*/ 12 w 12"/>
                <a:gd name="T49" fmla="*/ 94 h 97"/>
                <a:gd name="T50" fmla="*/ 11 w 12"/>
                <a:gd name="T51" fmla="*/ 96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" h="97">
                  <a:moveTo>
                    <a:pt x="11" y="15"/>
                  </a:moveTo>
                  <a:cubicBezTo>
                    <a:pt x="11" y="15"/>
                    <a:pt x="10" y="15"/>
                    <a:pt x="9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2" y="15"/>
                    <a:pt x="1" y="15"/>
                    <a:pt x="1" y="15"/>
                  </a:cubicBezTo>
                  <a:cubicBezTo>
                    <a:pt x="0" y="14"/>
                    <a:pt x="0" y="14"/>
                    <a:pt x="0" y="1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0"/>
                    <a:pt x="11" y="0"/>
                    <a:pt x="11" y="1"/>
                  </a:cubicBezTo>
                  <a:cubicBezTo>
                    <a:pt x="12" y="1"/>
                    <a:pt x="12" y="2"/>
                    <a:pt x="12" y="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4"/>
                    <a:pt x="12" y="14"/>
                    <a:pt x="11" y="15"/>
                  </a:cubicBezTo>
                  <a:close/>
                  <a:moveTo>
                    <a:pt x="11" y="96"/>
                  </a:moveTo>
                  <a:cubicBezTo>
                    <a:pt x="10" y="96"/>
                    <a:pt x="10" y="97"/>
                    <a:pt x="9" y="97"/>
                  </a:cubicBezTo>
                  <a:cubicBezTo>
                    <a:pt x="3" y="97"/>
                    <a:pt x="3" y="97"/>
                    <a:pt x="3" y="97"/>
                  </a:cubicBezTo>
                  <a:cubicBezTo>
                    <a:pt x="2" y="97"/>
                    <a:pt x="1" y="96"/>
                    <a:pt x="1" y="96"/>
                  </a:cubicBezTo>
                  <a:cubicBezTo>
                    <a:pt x="0" y="95"/>
                    <a:pt x="0" y="95"/>
                    <a:pt x="0" y="94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8"/>
                    <a:pt x="0" y="28"/>
                    <a:pt x="1" y="27"/>
                  </a:cubicBezTo>
                  <a:cubicBezTo>
                    <a:pt x="1" y="27"/>
                    <a:pt x="2" y="27"/>
                    <a:pt x="3" y="27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10" y="27"/>
                    <a:pt x="10" y="27"/>
                    <a:pt x="11" y="27"/>
                  </a:cubicBezTo>
                  <a:cubicBezTo>
                    <a:pt x="11" y="28"/>
                    <a:pt x="12" y="28"/>
                    <a:pt x="12" y="29"/>
                  </a:cubicBezTo>
                  <a:cubicBezTo>
                    <a:pt x="12" y="94"/>
                    <a:pt x="12" y="94"/>
                    <a:pt x="12" y="94"/>
                  </a:cubicBezTo>
                  <a:cubicBezTo>
                    <a:pt x="12" y="95"/>
                    <a:pt x="11" y="95"/>
                    <a:pt x="11" y="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Freeform 258">
              <a:extLst>
                <a:ext uri="{FF2B5EF4-FFF2-40B4-BE49-F238E27FC236}">
                  <a16:creationId xmlns:a16="http://schemas.microsoft.com/office/drawing/2014/main" xmlns="" id="{CDB95D79-264F-4F5A-BD52-6994610FF4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53160" y="1833191"/>
              <a:ext cx="183902" cy="316720"/>
            </a:xfrm>
            <a:custGeom>
              <a:avLst/>
              <a:gdLst>
                <a:gd name="T0" fmla="*/ 56 w 57"/>
                <a:gd name="T1" fmla="*/ 93 h 97"/>
                <a:gd name="T2" fmla="*/ 54 w 57"/>
                <a:gd name="T3" fmla="*/ 94 h 97"/>
                <a:gd name="T4" fmla="*/ 41 w 57"/>
                <a:gd name="T5" fmla="*/ 96 h 97"/>
                <a:gd name="T6" fmla="*/ 29 w 57"/>
                <a:gd name="T7" fmla="*/ 97 h 97"/>
                <a:gd name="T8" fmla="*/ 16 w 57"/>
                <a:gd name="T9" fmla="*/ 94 h 97"/>
                <a:gd name="T10" fmla="*/ 7 w 57"/>
                <a:gd name="T11" fmla="*/ 88 h 97"/>
                <a:gd name="T12" fmla="*/ 2 w 57"/>
                <a:gd name="T13" fmla="*/ 78 h 97"/>
                <a:gd name="T14" fmla="*/ 0 w 57"/>
                <a:gd name="T15" fmla="*/ 65 h 97"/>
                <a:gd name="T16" fmla="*/ 0 w 57"/>
                <a:gd name="T17" fmla="*/ 56 h 97"/>
                <a:gd name="T18" fmla="*/ 7 w 57"/>
                <a:gd name="T19" fmla="*/ 33 h 97"/>
                <a:gd name="T20" fmla="*/ 29 w 57"/>
                <a:gd name="T21" fmla="*/ 25 h 97"/>
                <a:gd name="T22" fmla="*/ 37 w 57"/>
                <a:gd name="T23" fmla="*/ 25 h 97"/>
                <a:gd name="T24" fmla="*/ 45 w 57"/>
                <a:gd name="T25" fmla="*/ 26 h 97"/>
                <a:gd name="T26" fmla="*/ 45 w 57"/>
                <a:gd name="T27" fmla="*/ 2 h 97"/>
                <a:gd name="T28" fmla="*/ 46 w 57"/>
                <a:gd name="T29" fmla="*/ 1 h 97"/>
                <a:gd name="T30" fmla="*/ 47 w 57"/>
                <a:gd name="T31" fmla="*/ 0 h 97"/>
                <a:gd name="T32" fmla="*/ 54 w 57"/>
                <a:gd name="T33" fmla="*/ 0 h 97"/>
                <a:gd name="T34" fmla="*/ 56 w 57"/>
                <a:gd name="T35" fmla="*/ 1 h 97"/>
                <a:gd name="T36" fmla="*/ 57 w 57"/>
                <a:gd name="T37" fmla="*/ 2 h 97"/>
                <a:gd name="T38" fmla="*/ 57 w 57"/>
                <a:gd name="T39" fmla="*/ 91 h 97"/>
                <a:gd name="T40" fmla="*/ 56 w 57"/>
                <a:gd name="T41" fmla="*/ 93 h 97"/>
                <a:gd name="T42" fmla="*/ 45 w 57"/>
                <a:gd name="T43" fmla="*/ 35 h 97"/>
                <a:gd name="T44" fmla="*/ 37 w 57"/>
                <a:gd name="T45" fmla="*/ 35 h 97"/>
                <a:gd name="T46" fmla="*/ 29 w 57"/>
                <a:gd name="T47" fmla="*/ 35 h 97"/>
                <a:gd name="T48" fmla="*/ 16 w 57"/>
                <a:gd name="T49" fmla="*/ 40 h 97"/>
                <a:gd name="T50" fmla="*/ 12 w 57"/>
                <a:gd name="T51" fmla="*/ 56 h 97"/>
                <a:gd name="T52" fmla="*/ 12 w 57"/>
                <a:gd name="T53" fmla="*/ 65 h 97"/>
                <a:gd name="T54" fmla="*/ 16 w 57"/>
                <a:gd name="T55" fmla="*/ 81 h 97"/>
                <a:gd name="T56" fmla="*/ 29 w 57"/>
                <a:gd name="T57" fmla="*/ 87 h 97"/>
                <a:gd name="T58" fmla="*/ 37 w 57"/>
                <a:gd name="T59" fmla="*/ 86 h 97"/>
                <a:gd name="T60" fmla="*/ 45 w 57"/>
                <a:gd name="T61" fmla="*/ 86 h 97"/>
                <a:gd name="T62" fmla="*/ 45 w 57"/>
                <a:gd name="T63" fmla="*/ 35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7" h="97">
                  <a:moveTo>
                    <a:pt x="56" y="93"/>
                  </a:moveTo>
                  <a:cubicBezTo>
                    <a:pt x="56" y="94"/>
                    <a:pt x="55" y="94"/>
                    <a:pt x="54" y="94"/>
                  </a:cubicBezTo>
                  <a:cubicBezTo>
                    <a:pt x="50" y="95"/>
                    <a:pt x="46" y="96"/>
                    <a:pt x="41" y="96"/>
                  </a:cubicBezTo>
                  <a:cubicBezTo>
                    <a:pt x="37" y="96"/>
                    <a:pt x="33" y="97"/>
                    <a:pt x="29" y="97"/>
                  </a:cubicBezTo>
                  <a:cubicBezTo>
                    <a:pt x="24" y="97"/>
                    <a:pt x="20" y="96"/>
                    <a:pt x="16" y="94"/>
                  </a:cubicBezTo>
                  <a:cubicBezTo>
                    <a:pt x="13" y="93"/>
                    <a:pt x="10" y="91"/>
                    <a:pt x="7" y="88"/>
                  </a:cubicBezTo>
                  <a:cubicBezTo>
                    <a:pt x="5" y="85"/>
                    <a:pt x="3" y="82"/>
                    <a:pt x="2" y="78"/>
                  </a:cubicBezTo>
                  <a:cubicBezTo>
                    <a:pt x="1" y="74"/>
                    <a:pt x="0" y="70"/>
                    <a:pt x="0" y="6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46"/>
                    <a:pt x="3" y="38"/>
                    <a:pt x="7" y="33"/>
                  </a:cubicBezTo>
                  <a:cubicBezTo>
                    <a:pt x="12" y="27"/>
                    <a:pt x="19" y="25"/>
                    <a:pt x="29" y="25"/>
                  </a:cubicBezTo>
                  <a:cubicBezTo>
                    <a:pt x="31" y="25"/>
                    <a:pt x="34" y="25"/>
                    <a:pt x="37" y="25"/>
                  </a:cubicBezTo>
                  <a:cubicBezTo>
                    <a:pt x="40" y="25"/>
                    <a:pt x="42" y="26"/>
                    <a:pt x="45" y="26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5" y="2"/>
                    <a:pt x="45" y="1"/>
                    <a:pt x="46" y="1"/>
                  </a:cubicBezTo>
                  <a:cubicBezTo>
                    <a:pt x="46" y="0"/>
                    <a:pt x="47" y="0"/>
                    <a:pt x="47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5" y="0"/>
                    <a:pt x="56" y="0"/>
                    <a:pt x="56" y="1"/>
                  </a:cubicBezTo>
                  <a:cubicBezTo>
                    <a:pt x="56" y="1"/>
                    <a:pt x="57" y="2"/>
                    <a:pt x="57" y="2"/>
                  </a:cubicBezTo>
                  <a:cubicBezTo>
                    <a:pt x="57" y="91"/>
                    <a:pt x="57" y="91"/>
                    <a:pt x="57" y="91"/>
                  </a:cubicBezTo>
                  <a:cubicBezTo>
                    <a:pt x="57" y="92"/>
                    <a:pt x="57" y="93"/>
                    <a:pt x="56" y="93"/>
                  </a:cubicBezTo>
                  <a:close/>
                  <a:moveTo>
                    <a:pt x="45" y="35"/>
                  </a:moveTo>
                  <a:cubicBezTo>
                    <a:pt x="43" y="35"/>
                    <a:pt x="40" y="35"/>
                    <a:pt x="37" y="35"/>
                  </a:cubicBezTo>
                  <a:cubicBezTo>
                    <a:pt x="34" y="35"/>
                    <a:pt x="31" y="35"/>
                    <a:pt x="29" y="35"/>
                  </a:cubicBezTo>
                  <a:cubicBezTo>
                    <a:pt x="23" y="35"/>
                    <a:pt x="18" y="36"/>
                    <a:pt x="16" y="40"/>
                  </a:cubicBezTo>
                  <a:cubicBezTo>
                    <a:pt x="13" y="44"/>
                    <a:pt x="12" y="49"/>
                    <a:pt x="12" y="56"/>
                  </a:cubicBezTo>
                  <a:cubicBezTo>
                    <a:pt x="12" y="65"/>
                    <a:pt x="12" y="65"/>
                    <a:pt x="12" y="65"/>
                  </a:cubicBezTo>
                  <a:cubicBezTo>
                    <a:pt x="12" y="72"/>
                    <a:pt x="13" y="77"/>
                    <a:pt x="16" y="81"/>
                  </a:cubicBezTo>
                  <a:cubicBezTo>
                    <a:pt x="18" y="85"/>
                    <a:pt x="23" y="87"/>
                    <a:pt x="29" y="87"/>
                  </a:cubicBezTo>
                  <a:cubicBezTo>
                    <a:pt x="32" y="87"/>
                    <a:pt x="34" y="87"/>
                    <a:pt x="37" y="86"/>
                  </a:cubicBezTo>
                  <a:cubicBezTo>
                    <a:pt x="40" y="86"/>
                    <a:pt x="43" y="86"/>
                    <a:pt x="45" y="86"/>
                  </a:cubicBezTo>
                  <a:lnTo>
                    <a:pt x="45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Freeform 259">
              <a:extLst>
                <a:ext uri="{FF2B5EF4-FFF2-40B4-BE49-F238E27FC236}">
                  <a16:creationId xmlns:a16="http://schemas.microsoft.com/office/drawing/2014/main" xmlns="" id="{5B1790B1-9A57-41ED-871A-909D4C7286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84741" y="1914925"/>
              <a:ext cx="194119" cy="234986"/>
            </a:xfrm>
            <a:custGeom>
              <a:avLst/>
              <a:gdLst>
                <a:gd name="T0" fmla="*/ 57 w 60"/>
                <a:gd name="T1" fmla="*/ 39 h 72"/>
                <a:gd name="T2" fmla="*/ 12 w 60"/>
                <a:gd name="T3" fmla="*/ 39 h 72"/>
                <a:gd name="T4" fmla="*/ 12 w 60"/>
                <a:gd name="T5" fmla="*/ 41 h 72"/>
                <a:gd name="T6" fmla="*/ 17 w 60"/>
                <a:gd name="T7" fmla="*/ 57 h 72"/>
                <a:gd name="T8" fmla="*/ 31 w 60"/>
                <a:gd name="T9" fmla="*/ 62 h 72"/>
                <a:gd name="T10" fmla="*/ 43 w 60"/>
                <a:gd name="T11" fmla="*/ 61 h 72"/>
                <a:gd name="T12" fmla="*/ 55 w 60"/>
                <a:gd name="T13" fmla="*/ 60 h 72"/>
                <a:gd name="T14" fmla="*/ 55 w 60"/>
                <a:gd name="T15" fmla="*/ 60 h 72"/>
                <a:gd name="T16" fmla="*/ 57 w 60"/>
                <a:gd name="T17" fmla="*/ 61 h 72"/>
                <a:gd name="T18" fmla="*/ 57 w 60"/>
                <a:gd name="T19" fmla="*/ 62 h 72"/>
                <a:gd name="T20" fmla="*/ 57 w 60"/>
                <a:gd name="T21" fmla="*/ 66 h 72"/>
                <a:gd name="T22" fmla="*/ 57 w 60"/>
                <a:gd name="T23" fmla="*/ 68 h 72"/>
                <a:gd name="T24" fmla="*/ 55 w 60"/>
                <a:gd name="T25" fmla="*/ 69 h 72"/>
                <a:gd name="T26" fmla="*/ 43 w 60"/>
                <a:gd name="T27" fmla="*/ 71 h 72"/>
                <a:gd name="T28" fmla="*/ 31 w 60"/>
                <a:gd name="T29" fmla="*/ 72 h 72"/>
                <a:gd name="T30" fmla="*/ 20 w 60"/>
                <a:gd name="T31" fmla="*/ 70 h 72"/>
                <a:gd name="T32" fmla="*/ 10 w 60"/>
                <a:gd name="T33" fmla="*/ 65 h 72"/>
                <a:gd name="T34" fmla="*/ 3 w 60"/>
                <a:gd name="T35" fmla="*/ 56 h 72"/>
                <a:gd name="T36" fmla="*/ 0 w 60"/>
                <a:gd name="T37" fmla="*/ 41 h 72"/>
                <a:gd name="T38" fmla="*/ 0 w 60"/>
                <a:gd name="T39" fmla="*/ 29 h 72"/>
                <a:gd name="T40" fmla="*/ 8 w 60"/>
                <a:gd name="T41" fmla="*/ 8 h 72"/>
                <a:gd name="T42" fmla="*/ 30 w 60"/>
                <a:gd name="T43" fmla="*/ 0 h 72"/>
                <a:gd name="T44" fmla="*/ 43 w 60"/>
                <a:gd name="T45" fmla="*/ 2 h 72"/>
                <a:gd name="T46" fmla="*/ 52 w 60"/>
                <a:gd name="T47" fmla="*/ 8 h 72"/>
                <a:gd name="T48" fmla="*/ 58 w 60"/>
                <a:gd name="T49" fmla="*/ 17 h 72"/>
                <a:gd name="T50" fmla="*/ 60 w 60"/>
                <a:gd name="T51" fmla="*/ 29 h 72"/>
                <a:gd name="T52" fmla="*/ 60 w 60"/>
                <a:gd name="T53" fmla="*/ 36 h 72"/>
                <a:gd name="T54" fmla="*/ 57 w 60"/>
                <a:gd name="T55" fmla="*/ 39 h 72"/>
                <a:gd name="T56" fmla="*/ 48 w 60"/>
                <a:gd name="T57" fmla="*/ 29 h 72"/>
                <a:gd name="T58" fmla="*/ 43 w 60"/>
                <a:gd name="T59" fmla="*/ 14 h 72"/>
                <a:gd name="T60" fmla="*/ 30 w 60"/>
                <a:gd name="T61" fmla="*/ 10 h 72"/>
                <a:gd name="T62" fmla="*/ 17 w 60"/>
                <a:gd name="T63" fmla="*/ 14 h 72"/>
                <a:gd name="T64" fmla="*/ 12 w 60"/>
                <a:gd name="T65" fmla="*/ 29 h 72"/>
                <a:gd name="T66" fmla="*/ 12 w 60"/>
                <a:gd name="T67" fmla="*/ 31 h 72"/>
                <a:gd name="T68" fmla="*/ 48 w 60"/>
                <a:gd name="T69" fmla="*/ 31 h 72"/>
                <a:gd name="T70" fmla="*/ 48 w 60"/>
                <a:gd name="T71" fmla="*/ 29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0" h="72">
                  <a:moveTo>
                    <a:pt x="57" y="39"/>
                  </a:moveTo>
                  <a:cubicBezTo>
                    <a:pt x="12" y="39"/>
                    <a:pt x="12" y="39"/>
                    <a:pt x="12" y="39"/>
                  </a:cubicBezTo>
                  <a:cubicBezTo>
                    <a:pt x="12" y="41"/>
                    <a:pt x="12" y="41"/>
                    <a:pt x="12" y="41"/>
                  </a:cubicBezTo>
                  <a:cubicBezTo>
                    <a:pt x="12" y="49"/>
                    <a:pt x="14" y="54"/>
                    <a:pt x="17" y="57"/>
                  </a:cubicBezTo>
                  <a:cubicBezTo>
                    <a:pt x="20" y="60"/>
                    <a:pt x="25" y="62"/>
                    <a:pt x="31" y="62"/>
                  </a:cubicBezTo>
                  <a:cubicBezTo>
                    <a:pt x="35" y="62"/>
                    <a:pt x="39" y="62"/>
                    <a:pt x="43" y="61"/>
                  </a:cubicBezTo>
                  <a:cubicBezTo>
                    <a:pt x="48" y="61"/>
                    <a:pt x="51" y="61"/>
                    <a:pt x="55" y="60"/>
                  </a:cubicBezTo>
                  <a:cubicBezTo>
                    <a:pt x="55" y="60"/>
                    <a:pt x="55" y="60"/>
                    <a:pt x="55" y="60"/>
                  </a:cubicBezTo>
                  <a:cubicBezTo>
                    <a:pt x="56" y="60"/>
                    <a:pt x="56" y="60"/>
                    <a:pt x="57" y="61"/>
                  </a:cubicBezTo>
                  <a:cubicBezTo>
                    <a:pt x="57" y="61"/>
                    <a:pt x="57" y="61"/>
                    <a:pt x="57" y="62"/>
                  </a:cubicBezTo>
                  <a:cubicBezTo>
                    <a:pt x="57" y="66"/>
                    <a:pt x="57" y="66"/>
                    <a:pt x="57" y="66"/>
                  </a:cubicBezTo>
                  <a:cubicBezTo>
                    <a:pt x="57" y="67"/>
                    <a:pt x="57" y="68"/>
                    <a:pt x="57" y="68"/>
                  </a:cubicBezTo>
                  <a:cubicBezTo>
                    <a:pt x="56" y="69"/>
                    <a:pt x="56" y="69"/>
                    <a:pt x="55" y="69"/>
                  </a:cubicBezTo>
                  <a:cubicBezTo>
                    <a:pt x="51" y="70"/>
                    <a:pt x="47" y="71"/>
                    <a:pt x="43" y="71"/>
                  </a:cubicBezTo>
                  <a:cubicBezTo>
                    <a:pt x="39" y="71"/>
                    <a:pt x="35" y="72"/>
                    <a:pt x="31" y="72"/>
                  </a:cubicBezTo>
                  <a:cubicBezTo>
                    <a:pt x="27" y="72"/>
                    <a:pt x="23" y="71"/>
                    <a:pt x="20" y="70"/>
                  </a:cubicBezTo>
                  <a:cubicBezTo>
                    <a:pt x="16" y="69"/>
                    <a:pt x="13" y="67"/>
                    <a:pt x="10" y="65"/>
                  </a:cubicBezTo>
                  <a:cubicBezTo>
                    <a:pt x="7" y="63"/>
                    <a:pt x="5" y="60"/>
                    <a:pt x="3" y="56"/>
                  </a:cubicBezTo>
                  <a:cubicBezTo>
                    <a:pt x="1" y="52"/>
                    <a:pt x="0" y="47"/>
                    <a:pt x="0" y="41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3" y="13"/>
                    <a:pt x="8" y="8"/>
                  </a:cubicBezTo>
                  <a:cubicBezTo>
                    <a:pt x="13" y="2"/>
                    <a:pt x="20" y="0"/>
                    <a:pt x="30" y="0"/>
                  </a:cubicBezTo>
                  <a:cubicBezTo>
                    <a:pt x="35" y="0"/>
                    <a:pt x="39" y="0"/>
                    <a:pt x="43" y="2"/>
                  </a:cubicBezTo>
                  <a:cubicBezTo>
                    <a:pt x="47" y="3"/>
                    <a:pt x="50" y="5"/>
                    <a:pt x="52" y="8"/>
                  </a:cubicBezTo>
                  <a:cubicBezTo>
                    <a:pt x="55" y="10"/>
                    <a:pt x="56" y="14"/>
                    <a:pt x="58" y="17"/>
                  </a:cubicBezTo>
                  <a:cubicBezTo>
                    <a:pt x="59" y="21"/>
                    <a:pt x="60" y="25"/>
                    <a:pt x="60" y="29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60" y="38"/>
                    <a:pt x="59" y="39"/>
                    <a:pt x="57" y="39"/>
                  </a:cubicBezTo>
                  <a:close/>
                  <a:moveTo>
                    <a:pt x="48" y="29"/>
                  </a:moveTo>
                  <a:cubicBezTo>
                    <a:pt x="48" y="22"/>
                    <a:pt x="46" y="17"/>
                    <a:pt x="43" y="14"/>
                  </a:cubicBezTo>
                  <a:cubicBezTo>
                    <a:pt x="40" y="11"/>
                    <a:pt x="36" y="10"/>
                    <a:pt x="30" y="10"/>
                  </a:cubicBezTo>
                  <a:cubicBezTo>
                    <a:pt x="24" y="10"/>
                    <a:pt x="20" y="11"/>
                    <a:pt x="17" y="14"/>
                  </a:cubicBezTo>
                  <a:cubicBezTo>
                    <a:pt x="14" y="18"/>
                    <a:pt x="12" y="23"/>
                    <a:pt x="12" y="29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48" y="31"/>
                    <a:pt x="48" y="31"/>
                    <a:pt x="48" y="31"/>
                  </a:cubicBezTo>
                  <a:lnTo>
                    <a:pt x="48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Freeform 260">
              <a:extLst>
                <a:ext uri="{FF2B5EF4-FFF2-40B4-BE49-F238E27FC236}">
                  <a16:creationId xmlns:a16="http://schemas.microsoft.com/office/drawing/2014/main" xmlns="" id="{F9B9D26C-2E0F-4749-AF2D-4D0DCD81FEF4}"/>
                </a:ext>
              </a:extLst>
            </p:cNvPr>
            <p:cNvSpPr>
              <a:spLocks/>
            </p:cNvSpPr>
            <p:nvPr/>
          </p:nvSpPr>
          <p:spPr bwMode="auto">
            <a:xfrm>
              <a:off x="7919727" y="1914925"/>
              <a:ext cx="158360" cy="234986"/>
            </a:xfrm>
            <a:custGeom>
              <a:avLst/>
              <a:gdLst>
                <a:gd name="T0" fmla="*/ 49 w 49"/>
                <a:gd name="T1" fmla="*/ 53 h 72"/>
                <a:gd name="T2" fmla="*/ 42 w 49"/>
                <a:gd name="T3" fmla="*/ 67 h 72"/>
                <a:gd name="T4" fmla="*/ 24 w 49"/>
                <a:gd name="T5" fmla="*/ 72 h 72"/>
                <a:gd name="T6" fmla="*/ 20 w 49"/>
                <a:gd name="T7" fmla="*/ 71 h 72"/>
                <a:gd name="T8" fmla="*/ 14 w 49"/>
                <a:gd name="T9" fmla="*/ 71 h 72"/>
                <a:gd name="T10" fmla="*/ 8 w 49"/>
                <a:gd name="T11" fmla="*/ 70 h 72"/>
                <a:gd name="T12" fmla="*/ 3 w 49"/>
                <a:gd name="T13" fmla="*/ 70 h 72"/>
                <a:gd name="T14" fmla="*/ 0 w 49"/>
                <a:gd name="T15" fmla="*/ 67 h 72"/>
                <a:gd name="T16" fmla="*/ 0 w 49"/>
                <a:gd name="T17" fmla="*/ 63 h 72"/>
                <a:gd name="T18" fmla="*/ 1 w 49"/>
                <a:gd name="T19" fmla="*/ 61 h 72"/>
                <a:gd name="T20" fmla="*/ 3 w 49"/>
                <a:gd name="T21" fmla="*/ 61 h 72"/>
                <a:gd name="T22" fmla="*/ 3 w 49"/>
                <a:gd name="T23" fmla="*/ 61 h 72"/>
                <a:gd name="T24" fmla="*/ 8 w 49"/>
                <a:gd name="T25" fmla="*/ 61 h 72"/>
                <a:gd name="T26" fmla="*/ 14 w 49"/>
                <a:gd name="T27" fmla="*/ 62 h 72"/>
                <a:gd name="T28" fmla="*/ 20 w 49"/>
                <a:gd name="T29" fmla="*/ 62 h 72"/>
                <a:gd name="T30" fmla="*/ 24 w 49"/>
                <a:gd name="T31" fmla="*/ 62 h 72"/>
                <a:gd name="T32" fmla="*/ 34 w 49"/>
                <a:gd name="T33" fmla="*/ 60 h 72"/>
                <a:gd name="T34" fmla="*/ 37 w 49"/>
                <a:gd name="T35" fmla="*/ 53 h 72"/>
                <a:gd name="T36" fmla="*/ 35 w 49"/>
                <a:gd name="T37" fmla="*/ 48 h 72"/>
                <a:gd name="T38" fmla="*/ 27 w 49"/>
                <a:gd name="T39" fmla="*/ 42 h 72"/>
                <a:gd name="T40" fmla="*/ 14 w 49"/>
                <a:gd name="T41" fmla="*/ 35 h 72"/>
                <a:gd name="T42" fmla="*/ 4 w 49"/>
                <a:gd name="T43" fmla="*/ 27 h 72"/>
                <a:gd name="T44" fmla="*/ 0 w 49"/>
                <a:gd name="T45" fmla="*/ 17 h 72"/>
                <a:gd name="T46" fmla="*/ 2 w 49"/>
                <a:gd name="T47" fmla="*/ 8 h 72"/>
                <a:gd name="T48" fmla="*/ 7 w 49"/>
                <a:gd name="T49" fmla="*/ 3 h 72"/>
                <a:gd name="T50" fmla="*/ 15 w 49"/>
                <a:gd name="T51" fmla="*/ 0 h 72"/>
                <a:gd name="T52" fmla="*/ 24 w 49"/>
                <a:gd name="T53" fmla="*/ 0 h 72"/>
                <a:gd name="T54" fmla="*/ 35 w 49"/>
                <a:gd name="T55" fmla="*/ 0 h 72"/>
                <a:gd name="T56" fmla="*/ 45 w 49"/>
                <a:gd name="T57" fmla="*/ 1 h 72"/>
                <a:gd name="T58" fmla="*/ 48 w 49"/>
                <a:gd name="T59" fmla="*/ 4 h 72"/>
                <a:gd name="T60" fmla="*/ 48 w 49"/>
                <a:gd name="T61" fmla="*/ 8 h 72"/>
                <a:gd name="T62" fmla="*/ 45 w 49"/>
                <a:gd name="T63" fmla="*/ 10 h 72"/>
                <a:gd name="T64" fmla="*/ 45 w 49"/>
                <a:gd name="T65" fmla="*/ 10 h 72"/>
                <a:gd name="T66" fmla="*/ 36 w 49"/>
                <a:gd name="T67" fmla="*/ 10 h 72"/>
                <a:gd name="T68" fmla="*/ 24 w 49"/>
                <a:gd name="T69" fmla="*/ 9 h 72"/>
                <a:gd name="T70" fmla="*/ 15 w 49"/>
                <a:gd name="T71" fmla="*/ 11 h 72"/>
                <a:gd name="T72" fmla="*/ 12 w 49"/>
                <a:gd name="T73" fmla="*/ 17 h 72"/>
                <a:gd name="T74" fmla="*/ 14 w 49"/>
                <a:gd name="T75" fmla="*/ 22 h 72"/>
                <a:gd name="T76" fmla="*/ 21 w 49"/>
                <a:gd name="T77" fmla="*/ 26 h 72"/>
                <a:gd name="T78" fmla="*/ 34 w 49"/>
                <a:gd name="T79" fmla="*/ 34 h 72"/>
                <a:gd name="T80" fmla="*/ 46 w 49"/>
                <a:gd name="T81" fmla="*/ 43 h 72"/>
                <a:gd name="T82" fmla="*/ 49 w 49"/>
                <a:gd name="T83" fmla="*/ 53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9" h="72">
                  <a:moveTo>
                    <a:pt x="49" y="53"/>
                  </a:moveTo>
                  <a:cubicBezTo>
                    <a:pt x="49" y="59"/>
                    <a:pt x="47" y="64"/>
                    <a:pt x="42" y="67"/>
                  </a:cubicBezTo>
                  <a:cubicBezTo>
                    <a:pt x="38" y="70"/>
                    <a:pt x="32" y="72"/>
                    <a:pt x="24" y="72"/>
                  </a:cubicBezTo>
                  <a:cubicBezTo>
                    <a:pt x="23" y="72"/>
                    <a:pt x="21" y="71"/>
                    <a:pt x="20" y="71"/>
                  </a:cubicBezTo>
                  <a:cubicBezTo>
                    <a:pt x="18" y="71"/>
                    <a:pt x="16" y="71"/>
                    <a:pt x="14" y="71"/>
                  </a:cubicBezTo>
                  <a:cubicBezTo>
                    <a:pt x="12" y="71"/>
                    <a:pt x="10" y="71"/>
                    <a:pt x="8" y="70"/>
                  </a:cubicBezTo>
                  <a:cubicBezTo>
                    <a:pt x="6" y="70"/>
                    <a:pt x="5" y="70"/>
                    <a:pt x="3" y="70"/>
                  </a:cubicBezTo>
                  <a:cubicBezTo>
                    <a:pt x="1" y="69"/>
                    <a:pt x="0" y="68"/>
                    <a:pt x="0" y="67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2"/>
                    <a:pt x="0" y="62"/>
                    <a:pt x="1" y="61"/>
                  </a:cubicBezTo>
                  <a:cubicBezTo>
                    <a:pt x="1" y="61"/>
                    <a:pt x="2" y="61"/>
                    <a:pt x="3" y="61"/>
                  </a:cubicBezTo>
                  <a:cubicBezTo>
                    <a:pt x="3" y="61"/>
                    <a:pt x="3" y="61"/>
                    <a:pt x="3" y="61"/>
                  </a:cubicBezTo>
                  <a:cubicBezTo>
                    <a:pt x="5" y="61"/>
                    <a:pt x="6" y="61"/>
                    <a:pt x="8" y="61"/>
                  </a:cubicBezTo>
                  <a:cubicBezTo>
                    <a:pt x="10" y="61"/>
                    <a:pt x="12" y="62"/>
                    <a:pt x="14" y="62"/>
                  </a:cubicBezTo>
                  <a:cubicBezTo>
                    <a:pt x="16" y="62"/>
                    <a:pt x="18" y="62"/>
                    <a:pt x="20" y="62"/>
                  </a:cubicBezTo>
                  <a:cubicBezTo>
                    <a:pt x="21" y="62"/>
                    <a:pt x="23" y="62"/>
                    <a:pt x="24" y="62"/>
                  </a:cubicBezTo>
                  <a:cubicBezTo>
                    <a:pt x="28" y="62"/>
                    <a:pt x="32" y="61"/>
                    <a:pt x="34" y="60"/>
                  </a:cubicBezTo>
                  <a:cubicBezTo>
                    <a:pt x="36" y="59"/>
                    <a:pt x="37" y="57"/>
                    <a:pt x="37" y="53"/>
                  </a:cubicBezTo>
                  <a:cubicBezTo>
                    <a:pt x="37" y="51"/>
                    <a:pt x="37" y="49"/>
                    <a:pt x="35" y="48"/>
                  </a:cubicBezTo>
                  <a:cubicBezTo>
                    <a:pt x="34" y="47"/>
                    <a:pt x="31" y="45"/>
                    <a:pt x="27" y="42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0" y="32"/>
                    <a:pt x="6" y="30"/>
                    <a:pt x="4" y="27"/>
                  </a:cubicBezTo>
                  <a:cubicBezTo>
                    <a:pt x="1" y="24"/>
                    <a:pt x="0" y="21"/>
                    <a:pt x="0" y="17"/>
                  </a:cubicBezTo>
                  <a:cubicBezTo>
                    <a:pt x="0" y="13"/>
                    <a:pt x="1" y="11"/>
                    <a:pt x="2" y="8"/>
                  </a:cubicBezTo>
                  <a:cubicBezTo>
                    <a:pt x="3" y="6"/>
                    <a:pt x="5" y="5"/>
                    <a:pt x="7" y="3"/>
                  </a:cubicBezTo>
                  <a:cubicBezTo>
                    <a:pt x="9" y="2"/>
                    <a:pt x="12" y="1"/>
                    <a:pt x="15" y="0"/>
                  </a:cubicBezTo>
                  <a:cubicBezTo>
                    <a:pt x="18" y="0"/>
                    <a:pt x="21" y="0"/>
                    <a:pt x="24" y="0"/>
                  </a:cubicBezTo>
                  <a:cubicBezTo>
                    <a:pt x="28" y="0"/>
                    <a:pt x="32" y="0"/>
                    <a:pt x="35" y="0"/>
                  </a:cubicBezTo>
                  <a:cubicBezTo>
                    <a:pt x="39" y="0"/>
                    <a:pt x="42" y="1"/>
                    <a:pt x="45" y="1"/>
                  </a:cubicBezTo>
                  <a:cubicBezTo>
                    <a:pt x="47" y="2"/>
                    <a:pt x="48" y="2"/>
                    <a:pt x="48" y="4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48" y="10"/>
                    <a:pt x="47" y="10"/>
                    <a:pt x="45" y="10"/>
                  </a:cubicBezTo>
                  <a:cubicBezTo>
                    <a:pt x="45" y="10"/>
                    <a:pt x="45" y="10"/>
                    <a:pt x="45" y="10"/>
                  </a:cubicBezTo>
                  <a:cubicBezTo>
                    <a:pt x="43" y="10"/>
                    <a:pt x="40" y="10"/>
                    <a:pt x="36" y="10"/>
                  </a:cubicBezTo>
                  <a:cubicBezTo>
                    <a:pt x="32" y="9"/>
                    <a:pt x="28" y="9"/>
                    <a:pt x="24" y="9"/>
                  </a:cubicBezTo>
                  <a:cubicBezTo>
                    <a:pt x="21" y="9"/>
                    <a:pt x="18" y="10"/>
                    <a:pt x="15" y="11"/>
                  </a:cubicBezTo>
                  <a:cubicBezTo>
                    <a:pt x="13" y="11"/>
                    <a:pt x="12" y="13"/>
                    <a:pt x="12" y="17"/>
                  </a:cubicBezTo>
                  <a:cubicBezTo>
                    <a:pt x="12" y="19"/>
                    <a:pt x="13" y="20"/>
                    <a:pt x="14" y="22"/>
                  </a:cubicBezTo>
                  <a:cubicBezTo>
                    <a:pt x="16" y="23"/>
                    <a:pt x="18" y="25"/>
                    <a:pt x="21" y="26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40" y="37"/>
                    <a:pt x="44" y="40"/>
                    <a:pt x="46" y="43"/>
                  </a:cubicBezTo>
                  <a:cubicBezTo>
                    <a:pt x="48" y="46"/>
                    <a:pt x="49" y="49"/>
                    <a:pt x="49" y="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Rectangle 261">
              <a:extLst>
                <a:ext uri="{FF2B5EF4-FFF2-40B4-BE49-F238E27FC236}">
                  <a16:creationId xmlns:a16="http://schemas.microsoft.com/office/drawing/2014/main" xmlns="" id="{1F00AFD9-9E34-4010-AEC8-D55883CA04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01918" y="2110746"/>
              <a:ext cx="177091" cy="3575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Freeform 262">
              <a:extLst>
                <a:ext uri="{FF2B5EF4-FFF2-40B4-BE49-F238E27FC236}">
                  <a16:creationId xmlns:a16="http://schemas.microsoft.com/office/drawing/2014/main" xmlns="" id="{1CDABDB4-C3B1-4A63-B46E-7A04C1FBDAE9}"/>
                </a:ext>
              </a:extLst>
            </p:cNvPr>
            <p:cNvSpPr>
              <a:spLocks/>
            </p:cNvSpPr>
            <p:nvPr/>
          </p:nvSpPr>
          <p:spPr bwMode="auto">
            <a:xfrm>
              <a:off x="7012135" y="1833191"/>
              <a:ext cx="180497" cy="313315"/>
            </a:xfrm>
            <a:custGeom>
              <a:avLst/>
              <a:gdLst>
                <a:gd name="T0" fmla="*/ 7 w 56"/>
                <a:gd name="T1" fmla="*/ 5 h 96"/>
                <a:gd name="T2" fmla="*/ 30 w 56"/>
                <a:gd name="T3" fmla="*/ 0 h 96"/>
                <a:gd name="T4" fmla="*/ 41 w 56"/>
                <a:gd name="T5" fmla="*/ 0 h 96"/>
                <a:gd name="T6" fmla="*/ 52 w 56"/>
                <a:gd name="T7" fmla="*/ 2 h 96"/>
                <a:gd name="T8" fmla="*/ 54 w 56"/>
                <a:gd name="T9" fmla="*/ 3 h 96"/>
                <a:gd name="T10" fmla="*/ 54 w 56"/>
                <a:gd name="T11" fmla="*/ 5 h 96"/>
                <a:gd name="T12" fmla="*/ 54 w 56"/>
                <a:gd name="T13" fmla="*/ 9 h 96"/>
                <a:gd name="T14" fmla="*/ 52 w 56"/>
                <a:gd name="T15" fmla="*/ 12 h 96"/>
                <a:gd name="T16" fmla="*/ 52 w 56"/>
                <a:gd name="T17" fmla="*/ 12 h 96"/>
                <a:gd name="T18" fmla="*/ 41 w 56"/>
                <a:gd name="T19" fmla="*/ 10 h 96"/>
                <a:gd name="T20" fmla="*/ 30 w 56"/>
                <a:gd name="T21" fmla="*/ 10 h 96"/>
                <a:gd name="T22" fmla="*/ 15 w 56"/>
                <a:gd name="T23" fmla="*/ 13 h 96"/>
                <a:gd name="T24" fmla="*/ 11 w 56"/>
                <a:gd name="T25" fmla="*/ 23 h 96"/>
                <a:gd name="T26" fmla="*/ 11 w 56"/>
                <a:gd name="T27" fmla="*/ 28 h 96"/>
                <a:gd name="T28" fmla="*/ 13 w 56"/>
                <a:gd name="T29" fmla="*/ 32 h 96"/>
                <a:gd name="T30" fmla="*/ 17 w 56"/>
                <a:gd name="T31" fmla="*/ 36 h 96"/>
                <a:gd name="T32" fmla="*/ 24 w 56"/>
                <a:gd name="T33" fmla="*/ 41 h 96"/>
                <a:gd name="T34" fmla="*/ 36 w 56"/>
                <a:gd name="T35" fmla="*/ 49 h 96"/>
                <a:gd name="T36" fmla="*/ 51 w 56"/>
                <a:gd name="T37" fmla="*/ 65 h 96"/>
                <a:gd name="T38" fmla="*/ 56 w 56"/>
                <a:gd name="T39" fmla="*/ 83 h 96"/>
                <a:gd name="T40" fmla="*/ 56 w 56"/>
                <a:gd name="T41" fmla="*/ 93 h 96"/>
                <a:gd name="T42" fmla="*/ 55 w 56"/>
                <a:gd name="T43" fmla="*/ 95 h 96"/>
                <a:gd name="T44" fmla="*/ 53 w 56"/>
                <a:gd name="T45" fmla="*/ 96 h 96"/>
                <a:gd name="T46" fmla="*/ 3 w 56"/>
                <a:gd name="T47" fmla="*/ 96 h 96"/>
                <a:gd name="T48" fmla="*/ 2 w 56"/>
                <a:gd name="T49" fmla="*/ 95 h 96"/>
                <a:gd name="T50" fmla="*/ 1 w 56"/>
                <a:gd name="T51" fmla="*/ 93 h 96"/>
                <a:gd name="T52" fmla="*/ 1 w 56"/>
                <a:gd name="T53" fmla="*/ 88 h 96"/>
                <a:gd name="T54" fmla="*/ 2 w 56"/>
                <a:gd name="T55" fmla="*/ 86 h 96"/>
                <a:gd name="T56" fmla="*/ 3 w 56"/>
                <a:gd name="T57" fmla="*/ 85 h 96"/>
                <a:gd name="T58" fmla="*/ 46 w 56"/>
                <a:gd name="T59" fmla="*/ 85 h 96"/>
                <a:gd name="T60" fmla="*/ 46 w 56"/>
                <a:gd name="T61" fmla="*/ 83 h 96"/>
                <a:gd name="T62" fmla="*/ 45 w 56"/>
                <a:gd name="T63" fmla="*/ 75 h 96"/>
                <a:gd name="T64" fmla="*/ 42 w 56"/>
                <a:gd name="T65" fmla="*/ 69 h 96"/>
                <a:gd name="T66" fmla="*/ 37 w 56"/>
                <a:gd name="T67" fmla="*/ 62 h 96"/>
                <a:gd name="T68" fmla="*/ 28 w 56"/>
                <a:gd name="T69" fmla="*/ 56 h 96"/>
                <a:gd name="T70" fmla="*/ 16 w 56"/>
                <a:gd name="T71" fmla="*/ 47 h 96"/>
                <a:gd name="T72" fmla="*/ 3 w 56"/>
                <a:gd name="T73" fmla="*/ 36 h 96"/>
                <a:gd name="T74" fmla="*/ 0 w 56"/>
                <a:gd name="T75" fmla="*/ 23 h 96"/>
                <a:gd name="T76" fmla="*/ 7 w 56"/>
                <a:gd name="T77" fmla="*/ 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6" h="96">
                  <a:moveTo>
                    <a:pt x="7" y="5"/>
                  </a:moveTo>
                  <a:cubicBezTo>
                    <a:pt x="12" y="2"/>
                    <a:pt x="19" y="0"/>
                    <a:pt x="30" y="0"/>
                  </a:cubicBezTo>
                  <a:cubicBezTo>
                    <a:pt x="33" y="0"/>
                    <a:pt x="37" y="0"/>
                    <a:pt x="41" y="0"/>
                  </a:cubicBezTo>
                  <a:cubicBezTo>
                    <a:pt x="45" y="1"/>
                    <a:pt x="49" y="1"/>
                    <a:pt x="52" y="2"/>
                  </a:cubicBezTo>
                  <a:cubicBezTo>
                    <a:pt x="53" y="3"/>
                    <a:pt x="53" y="3"/>
                    <a:pt x="54" y="3"/>
                  </a:cubicBezTo>
                  <a:cubicBezTo>
                    <a:pt x="54" y="3"/>
                    <a:pt x="54" y="4"/>
                    <a:pt x="54" y="5"/>
                  </a:cubicBezTo>
                  <a:cubicBezTo>
                    <a:pt x="54" y="9"/>
                    <a:pt x="54" y="9"/>
                    <a:pt x="54" y="9"/>
                  </a:cubicBezTo>
                  <a:cubicBezTo>
                    <a:pt x="54" y="11"/>
                    <a:pt x="54" y="12"/>
                    <a:pt x="52" y="12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48" y="11"/>
                    <a:pt x="45" y="11"/>
                    <a:pt x="41" y="10"/>
                  </a:cubicBezTo>
                  <a:cubicBezTo>
                    <a:pt x="37" y="10"/>
                    <a:pt x="33" y="10"/>
                    <a:pt x="30" y="10"/>
                  </a:cubicBezTo>
                  <a:cubicBezTo>
                    <a:pt x="23" y="10"/>
                    <a:pt x="18" y="11"/>
                    <a:pt x="15" y="13"/>
                  </a:cubicBezTo>
                  <a:cubicBezTo>
                    <a:pt x="12" y="15"/>
                    <a:pt x="11" y="18"/>
                    <a:pt x="11" y="23"/>
                  </a:cubicBezTo>
                  <a:cubicBezTo>
                    <a:pt x="11" y="25"/>
                    <a:pt x="11" y="26"/>
                    <a:pt x="11" y="28"/>
                  </a:cubicBezTo>
                  <a:cubicBezTo>
                    <a:pt x="12" y="29"/>
                    <a:pt x="12" y="31"/>
                    <a:pt x="13" y="32"/>
                  </a:cubicBezTo>
                  <a:cubicBezTo>
                    <a:pt x="14" y="33"/>
                    <a:pt x="16" y="35"/>
                    <a:pt x="17" y="36"/>
                  </a:cubicBezTo>
                  <a:cubicBezTo>
                    <a:pt x="19" y="37"/>
                    <a:pt x="21" y="39"/>
                    <a:pt x="24" y="41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43" y="54"/>
                    <a:pt x="48" y="59"/>
                    <a:pt x="51" y="65"/>
                  </a:cubicBezTo>
                  <a:cubicBezTo>
                    <a:pt x="54" y="70"/>
                    <a:pt x="56" y="76"/>
                    <a:pt x="56" y="83"/>
                  </a:cubicBezTo>
                  <a:cubicBezTo>
                    <a:pt x="56" y="93"/>
                    <a:pt x="56" y="93"/>
                    <a:pt x="56" y="93"/>
                  </a:cubicBezTo>
                  <a:cubicBezTo>
                    <a:pt x="56" y="94"/>
                    <a:pt x="56" y="94"/>
                    <a:pt x="55" y="95"/>
                  </a:cubicBezTo>
                  <a:cubicBezTo>
                    <a:pt x="55" y="95"/>
                    <a:pt x="54" y="96"/>
                    <a:pt x="53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3" y="96"/>
                    <a:pt x="2" y="95"/>
                    <a:pt x="2" y="95"/>
                  </a:cubicBezTo>
                  <a:cubicBezTo>
                    <a:pt x="1" y="94"/>
                    <a:pt x="1" y="94"/>
                    <a:pt x="1" y="93"/>
                  </a:cubicBezTo>
                  <a:cubicBezTo>
                    <a:pt x="1" y="88"/>
                    <a:pt x="1" y="88"/>
                    <a:pt x="1" y="88"/>
                  </a:cubicBezTo>
                  <a:cubicBezTo>
                    <a:pt x="1" y="87"/>
                    <a:pt x="1" y="86"/>
                    <a:pt x="2" y="86"/>
                  </a:cubicBezTo>
                  <a:cubicBezTo>
                    <a:pt x="2" y="86"/>
                    <a:pt x="3" y="85"/>
                    <a:pt x="3" y="85"/>
                  </a:cubicBezTo>
                  <a:cubicBezTo>
                    <a:pt x="46" y="85"/>
                    <a:pt x="46" y="85"/>
                    <a:pt x="46" y="85"/>
                  </a:cubicBezTo>
                  <a:cubicBezTo>
                    <a:pt x="46" y="83"/>
                    <a:pt x="46" y="83"/>
                    <a:pt x="46" y="83"/>
                  </a:cubicBezTo>
                  <a:cubicBezTo>
                    <a:pt x="46" y="80"/>
                    <a:pt x="46" y="77"/>
                    <a:pt x="45" y="75"/>
                  </a:cubicBezTo>
                  <a:cubicBezTo>
                    <a:pt x="44" y="73"/>
                    <a:pt x="44" y="71"/>
                    <a:pt x="42" y="69"/>
                  </a:cubicBezTo>
                  <a:cubicBezTo>
                    <a:pt x="41" y="66"/>
                    <a:pt x="39" y="64"/>
                    <a:pt x="37" y="62"/>
                  </a:cubicBezTo>
                  <a:cubicBezTo>
                    <a:pt x="35" y="60"/>
                    <a:pt x="32" y="58"/>
                    <a:pt x="28" y="56"/>
                  </a:cubicBezTo>
                  <a:cubicBezTo>
                    <a:pt x="16" y="47"/>
                    <a:pt x="16" y="47"/>
                    <a:pt x="16" y="47"/>
                  </a:cubicBezTo>
                  <a:cubicBezTo>
                    <a:pt x="10" y="43"/>
                    <a:pt x="6" y="39"/>
                    <a:pt x="3" y="36"/>
                  </a:cubicBezTo>
                  <a:cubicBezTo>
                    <a:pt x="1" y="32"/>
                    <a:pt x="0" y="28"/>
                    <a:pt x="0" y="23"/>
                  </a:cubicBezTo>
                  <a:cubicBezTo>
                    <a:pt x="0" y="15"/>
                    <a:pt x="2" y="9"/>
                    <a:pt x="7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CB7E72AE-21F9-48A1-9B62-3C22913145E4}"/>
              </a:ext>
            </a:extLst>
          </p:cNvPr>
          <p:cNvSpPr txBox="1"/>
          <p:nvPr/>
        </p:nvSpPr>
        <p:spPr>
          <a:xfrm>
            <a:off x="789272" y="3869356"/>
            <a:ext cx="3993574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dirty="0" err="1" smtClean="0"/>
              <a:t>Lorem</a:t>
            </a:r>
            <a:r>
              <a:rPr lang="en-US" sz="1600" dirty="0" smtClean="0"/>
              <a:t> </a:t>
            </a:r>
            <a:r>
              <a:rPr lang="en-US" sz="1600" dirty="0" err="1" smtClean="0"/>
              <a:t>ipsum</a:t>
            </a:r>
            <a:r>
              <a:rPr lang="en-US" sz="1600" dirty="0" smtClean="0"/>
              <a:t> dolor sit </a:t>
            </a:r>
            <a:r>
              <a:rPr lang="en-US" sz="1600" dirty="0" err="1" smtClean="0"/>
              <a:t>amet</a:t>
            </a:r>
            <a:r>
              <a:rPr lang="en-US" sz="1600" dirty="0" smtClean="0"/>
              <a:t>, </a:t>
            </a:r>
            <a:r>
              <a:rPr lang="en-US" sz="1600" dirty="0" err="1" smtClean="0"/>
              <a:t>consectetur</a:t>
            </a:r>
            <a:r>
              <a:rPr lang="en-US" sz="1600" dirty="0" smtClean="0"/>
              <a:t> </a:t>
            </a:r>
            <a:r>
              <a:rPr lang="en-US" sz="1600" dirty="0" err="1" smtClean="0"/>
              <a:t>adipiscing</a:t>
            </a:r>
            <a:r>
              <a:rPr lang="en-US" sz="1600" dirty="0" smtClean="0"/>
              <a:t> </a:t>
            </a:r>
            <a:r>
              <a:rPr lang="en-US" sz="1600" dirty="0" err="1" smtClean="0"/>
              <a:t>elit</a:t>
            </a:r>
            <a:r>
              <a:rPr lang="en-US" sz="1600" dirty="0" smtClean="0"/>
              <a:t>. </a:t>
            </a:r>
            <a:r>
              <a:rPr lang="en-US" sz="1600" dirty="0" err="1" smtClean="0"/>
              <a:t>Fusce</a:t>
            </a:r>
            <a:r>
              <a:rPr lang="en-US" sz="1600" dirty="0" smtClean="0"/>
              <a:t> </a:t>
            </a:r>
            <a:r>
              <a:rPr lang="en-US" sz="1600" dirty="0" err="1" smtClean="0"/>
              <a:t>semper</a:t>
            </a:r>
            <a:r>
              <a:rPr lang="en-US" sz="1600" dirty="0" smtClean="0"/>
              <a:t> </a:t>
            </a:r>
            <a:r>
              <a:rPr lang="en-US" sz="1600" dirty="0" err="1" smtClean="0"/>
              <a:t>feugiat</a:t>
            </a:r>
            <a:r>
              <a:rPr lang="en-US" sz="1600" dirty="0" smtClean="0"/>
              <a:t> </a:t>
            </a:r>
            <a:r>
              <a:rPr lang="en-US" sz="1600" dirty="0" err="1" smtClean="0"/>
              <a:t>nulla</a:t>
            </a:r>
            <a:r>
              <a:rPr lang="en-US" sz="1600" dirty="0" smtClean="0"/>
              <a:t>, et </a:t>
            </a:r>
            <a:r>
              <a:rPr lang="en-US" sz="1600" dirty="0" err="1" smtClean="0"/>
              <a:t>blandit</a:t>
            </a:r>
            <a:r>
              <a:rPr lang="en-US" sz="1600" dirty="0" smtClean="0"/>
              <a:t> </a:t>
            </a:r>
            <a:r>
              <a:rPr lang="en-US" sz="1600" dirty="0" err="1" smtClean="0"/>
              <a:t>nibh</a:t>
            </a:r>
            <a:r>
              <a:rPr lang="en-US" sz="1600" dirty="0" smtClean="0"/>
              <a:t> </a:t>
            </a:r>
            <a:r>
              <a:rPr lang="en-US" sz="1600" dirty="0" err="1" smtClean="0"/>
              <a:t>imperdiet</a:t>
            </a:r>
            <a:r>
              <a:rPr lang="en-US" sz="1600" dirty="0" smtClean="0"/>
              <a:t> vitae.</a:t>
            </a:r>
            <a:endParaRPr lang="en-US" sz="1600" dirty="0"/>
          </a:p>
        </p:txBody>
      </p:sp>
      <p:sp>
        <p:nvSpPr>
          <p:cNvPr id="42" name="Slide Number Placeholder 41">
            <a:extLst>
              <a:ext uri="{FF2B5EF4-FFF2-40B4-BE49-F238E27FC236}">
                <a16:creationId xmlns:a16="http://schemas.microsoft.com/office/drawing/2014/main" xmlns="" id="{7681E91A-08DB-47B4-A0B7-DCF410E8C00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25" name="Rectangle 6">
            <a:extLst>
              <a:ext uri="{FF2B5EF4-FFF2-40B4-BE49-F238E27FC236}">
                <a16:creationId xmlns:a16="http://schemas.microsoft.com/office/drawing/2014/main" xmlns="" id="{B018D872-74EC-4C12-835A-5F484647A850}"/>
              </a:ext>
            </a:extLst>
          </p:cNvPr>
          <p:cNvSpPr/>
          <p:nvPr/>
        </p:nvSpPr>
        <p:spPr>
          <a:xfrm>
            <a:off x="-5411" y="-10651"/>
            <a:ext cx="5832908" cy="6858000"/>
          </a:xfrm>
          <a:custGeom>
            <a:avLst/>
            <a:gdLst>
              <a:gd name="connsiteX0" fmla="*/ 0 w 6270171"/>
              <a:gd name="connsiteY0" fmla="*/ 0 h 6858000"/>
              <a:gd name="connsiteX1" fmla="*/ 6270171 w 6270171"/>
              <a:gd name="connsiteY1" fmla="*/ 0 h 6858000"/>
              <a:gd name="connsiteX2" fmla="*/ 6270171 w 6270171"/>
              <a:gd name="connsiteY2" fmla="*/ 6858000 h 6858000"/>
              <a:gd name="connsiteX3" fmla="*/ 0 w 6270171"/>
              <a:gd name="connsiteY3" fmla="*/ 6858000 h 6858000"/>
              <a:gd name="connsiteX4" fmla="*/ 0 w 6270171"/>
              <a:gd name="connsiteY4" fmla="*/ 0 h 6858000"/>
              <a:gd name="connsiteX0" fmla="*/ 0 w 6270171"/>
              <a:gd name="connsiteY0" fmla="*/ 0 h 6858000"/>
              <a:gd name="connsiteX1" fmla="*/ 6270171 w 6270171"/>
              <a:gd name="connsiteY1" fmla="*/ 0 h 6858000"/>
              <a:gd name="connsiteX2" fmla="*/ 6255657 w 6270171"/>
              <a:gd name="connsiteY2" fmla="*/ 3352800 h 6858000"/>
              <a:gd name="connsiteX3" fmla="*/ 6270171 w 6270171"/>
              <a:gd name="connsiteY3" fmla="*/ 6858000 h 6858000"/>
              <a:gd name="connsiteX4" fmla="*/ 0 w 6270171"/>
              <a:gd name="connsiteY4" fmla="*/ 6858000 h 6858000"/>
              <a:gd name="connsiteX5" fmla="*/ 0 w 6270171"/>
              <a:gd name="connsiteY5" fmla="*/ 0 h 6858000"/>
              <a:gd name="connsiteX0" fmla="*/ 0 w 6729819"/>
              <a:gd name="connsiteY0" fmla="*/ 0 h 6858000"/>
              <a:gd name="connsiteX1" fmla="*/ 6270171 w 6729819"/>
              <a:gd name="connsiteY1" fmla="*/ 0 h 6858000"/>
              <a:gd name="connsiteX2" fmla="*/ 6255657 w 6729819"/>
              <a:gd name="connsiteY2" fmla="*/ 3352800 h 6858000"/>
              <a:gd name="connsiteX3" fmla="*/ 6270171 w 6729819"/>
              <a:gd name="connsiteY3" fmla="*/ 6858000 h 6858000"/>
              <a:gd name="connsiteX4" fmla="*/ 0 w 6729819"/>
              <a:gd name="connsiteY4" fmla="*/ 6858000 h 6858000"/>
              <a:gd name="connsiteX5" fmla="*/ 0 w 6729819"/>
              <a:gd name="connsiteY5" fmla="*/ 0 h 6858000"/>
              <a:gd name="connsiteX0" fmla="*/ 0 w 6526122"/>
              <a:gd name="connsiteY0" fmla="*/ 0 h 6858000"/>
              <a:gd name="connsiteX1" fmla="*/ 6270171 w 6526122"/>
              <a:gd name="connsiteY1" fmla="*/ 0 h 6858000"/>
              <a:gd name="connsiteX2" fmla="*/ 4833257 w 6526122"/>
              <a:gd name="connsiteY2" fmla="*/ 3468914 h 6858000"/>
              <a:gd name="connsiteX3" fmla="*/ 6270171 w 6526122"/>
              <a:gd name="connsiteY3" fmla="*/ 6858000 h 6858000"/>
              <a:gd name="connsiteX4" fmla="*/ 0 w 6526122"/>
              <a:gd name="connsiteY4" fmla="*/ 6858000 h 6858000"/>
              <a:gd name="connsiteX5" fmla="*/ 0 w 6526122"/>
              <a:gd name="connsiteY5" fmla="*/ 0 h 6858000"/>
              <a:gd name="connsiteX0" fmla="*/ 0 w 6539571"/>
              <a:gd name="connsiteY0" fmla="*/ 0 h 6858000"/>
              <a:gd name="connsiteX1" fmla="*/ 6270171 w 6539571"/>
              <a:gd name="connsiteY1" fmla="*/ 0 h 6858000"/>
              <a:gd name="connsiteX2" fmla="*/ 4992914 w 6539571"/>
              <a:gd name="connsiteY2" fmla="*/ 3454400 h 6858000"/>
              <a:gd name="connsiteX3" fmla="*/ 6270171 w 6539571"/>
              <a:gd name="connsiteY3" fmla="*/ 6858000 h 6858000"/>
              <a:gd name="connsiteX4" fmla="*/ 0 w 6539571"/>
              <a:gd name="connsiteY4" fmla="*/ 6858000 h 6858000"/>
              <a:gd name="connsiteX5" fmla="*/ 0 w 6539571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39571" h="6858000">
                <a:moveTo>
                  <a:pt x="0" y="0"/>
                </a:moveTo>
                <a:lnTo>
                  <a:pt x="6270171" y="0"/>
                </a:lnTo>
                <a:cubicBezTo>
                  <a:pt x="7312780" y="558800"/>
                  <a:pt x="4992914" y="2311400"/>
                  <a:pt x="4992914" y="3454400"/>
                </a:cubicBezTo>
                <a:cubicBezTo>
                  <a:pt x="4992914" y="4597400"/>
                  <a:pt x="7312780" y="6273800"/>
                  <a:pt x="6270171" y="6858000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pic>
        <p:nvPicPr>
          <p:cNvPr id="26" name="Рисунок 25">
            <a:extLst>
              <a:ext uri="{FF2B5EF4-FFF2-40B4-BE49-F238E27FC236}">
                <a16:creationId xmlns:a16="http://schemas.microsoft.com/office/drawing/2014/main" xmlns="" id="{FEC118FF-36CE-4819-918B-57CE0553ED60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96DAC541-7B7A-43D3-8B79-37D633B846F1}">
                <asvg:svgBlip xmlns=""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02742" y="229350"/>
            <a:ext cx="1888568" cy="509614"/>
          </a:xfrm>
          <a:prstGeom prst="rect">
            <a:avLst/>
          </a:prstGeom>
        </p:spPr>
      </p:pic>
      <p:sp>
        <p:nvSpPr>
          <p:cNvPr id="30" name="Rectangle: Rounded Corners 24">
            <a:extLst>
              <a:ext uri="{FF2B5EF4-FFF2-40B4-BE49-F238E27FC236}">
                <a16:creationId xmlns:a16="http://schemas.microsoft.com/office/drawing/2014/main" xmlns="" id="{494E6301-EB23-4685-88EB-C44A54F0F7DD}"/>
              </a:ext>
            </a:extLst>
          </p:cNvPr>
          <p:cNvSpPr/>
          <p:nvPr/>
        </p:nvSpPr>
        <p:spPr>
          <a:xfrm>
            <a:off x="7089273" y="403595"/>
            <a:ext cx="4590128" cy="3071125"/>
          </a:xfrm>
          <a:prstGeom prst="roundRect">
            <a:avLst>
              <a:gd name="adj" fmla="val 6764"/>
            </a:avLst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Муниципальное бюджетное дошкольное образовательное учреждение </a:t>
            </a:r>
          </a:p>
          <a:p>
            <a:pPr algn="ctr"/>
            <a:r>
              <a:rPr lang="ru-RU" b="1" dirty="0" smtClean="0">
                <a:solidFill>
                  <a:schemeClr val="tx1"/>
                </a:solidFill>
              </a:rPr>
              <a:t>«Детский сад №43»</a:t>
            </a:r>
            <a:endParaRPr lang="en-US" dirty="0" smtClean="0">
              <a:solidFill>
                <a:schemeClr val="tx1"/>
              </a:solidFill>
            </a:endParaRPr>
          </a:p>
          <a:p>
            <a:pPr algn="ctr"/>
            <a:endParaRPr lang="en-US" dirty="0"/>
          </a:p>
        </p:txBody>
      </p:sp>
      <p:sp>
        <p:nvSpPr>
          <p:cNvPr id="32" name="Google Shape;464;p40"/>
          <p:cNvSpPr/>
          <p:nvPr/>
        </p:nvSpPr>
        <p:spPr>
          <a:xfrm>
            <a:off x="7340866" y="2329981"/>
            <a:ext cx="1104911" cy="1088368"/>
          </a:xfrm>
          <a:custGeom>
            <a:avLst/>
            <a:gdLst/>
            <a:ahLst/>
            <a:cxnLst/>
            <a:rect l="l" t="t" r="r" b="b"/>
            <a:pathLst>
              <a:path w="20975" h="20659" extrusionOk="0">
                <a:moveTo>
                  <a:pt x="10317" y="1704"/>
                </a:moveTo>
                <a:lnTo>
                  <a:pt x="10269" y="1728"/>
                </a:lnTo>
                <a:lnTo>
                  <a:pt x="10171" y="1825"/>
                </a:lnTo>
                <a:lnTo>
                  <a:pt x="10123" y="1947"/>
                </a:lnTo>
                <a:lnTo>
                  <a:pt x="10098" y="2069"/>
                </a:lnTo>
                <a:lnTo>
                  <a:pt x="10074" y="2190"/>
                </a:lnTo>
                <a:lnTo>
                  <a:pt x="10050" y="2336"/>
                </a:lnTo>
                <a:lnTo>
                  <a:pt x="10050" y="2482"/>
                </a:lnTo>
                <a:lnTo>
                  <a:pt x="10098" y="2653"/>
                </a:lnTo>
                <a:lnTo>
                  <a:pt x="10123" y="2701"/>
                </a:lnTo>
                <a:lnTo>
                  <a:pt x="10147" y="2774"/>
                </a:lnTo>
                <a:lnTo>
                  <a:pt x="10196" y="2799"/>
                </a:lnTo>
                <a:lnTo>
                  <a:pt x="10244" y="2823"/>
                </a:lnTo>
                <a:lnTo>
                  <a:pt x="10342" y="2823"/>
                </a:lnTo>
                <a:lnTo>
                  <a:pt x="10439" y="2774"/>
                </a:lnTo>
                <a:lnTo>
                  <a:pt x="10463" y="2726"/>
                </a:lnTo>
                <a:lnTo>
                  <a:pt x="10488" y="2677"/>
                </a:lnTo>
                <a:lnTo>
                  <a:pt x="10488" y="2580"/>
                </a:lnTo>
                <a:lnTo>
                  <a:pt x="10488" y="2482"/>
                </a:lnTo>
                <a:lnTo>
                  <a:pt x="10463" y="2263"/>
                </a:lnTo>
                <a:lnTo>
                  <a:pt x="10463" y="1850"/>
                </a:lnTo>
                <a:lnTo>
                  <a:pt x="10439" y="1777"/>
                </a:lnTo>
                <a:lnTo>
                  <a:pt x="10390" y="1728"/>
                </a:lnTo>
                <a:lnTo>
                  <a:pt x="10317" y="1704"/>
                </a:lnTo>
                <a:close/>
                <a:moveTo>
                  <a:pt x="8054" y="1"/>
                </a:moveTo>
                <a:lnTo>
                  <a:pt x="7981" y="25"/>
                </a:lnTo>
                <a:lnTo>
                  <a:pt x="7933" y="122"/>
                </a:lnTo>
                <a:lnTo>
                  <a:pt x="7908" y="220"/>
                </a:lnTo>
                <a:lnTo>
                  <a:pt x="7884" y="439"/>
                </a:lnTo>
                <a:lnTo>
                  <a:pt x="7908" y="852"/>
                </a:lnTo>
                <a:lnTo>
                  <a:pt x="7933" y="1071"/>
                </a:lnTo>
                <a:lnTo>
                  <a:pt x="7957" y="1290"/>
                </a:lnTo>
                <a:lnTo>
                  <a:pt x="8054" y="1704"/>
                </a:lnTo>
                <a:lnTo>
                  <a:pt x="8103" y="2044"/>
                </a:lnTo>
                <a:lnTo>
                  <a:pt x="8200" y="2458"/>
                </a:lnTo>
                <a:lnTo>
                  <a:pt x="8273" y="2653"/>
                </a:lnTo>
                <a:lnTo>
                  <a:pt x="8371" y="2823"/>
                </a:lnTo>
                <a:lnTo>
                  <a:pt x="8468" y="2969"/>
                </a:lnTo>
                <a:lnTo>
                  <a:pt x="8541" y="2993"/>
                </a:lnTo>
                <a:lnTo>
                  <a:pt x="8614" y="3042"/>
                </a:lnTo>
                <a:lnTo>
                  <a:pt x="8711" y="3042"/>
                </a:lnTo>
                <a:lnTo>
                  <a:pt x="8784" y="2993"/>
                </a:lnTo>
                <a:lnTo>
                  <a:pt x="8857" y="2920"/>
                </a:lnTo>
                <a:lnTo>
                  <a:pt x="8857" y="2847"/>
                </a:lnTo>
                <a:lnTo>
                  <a:pt x="8857" y="2726"/>
                </a:lnTo>
                <a:lnTo>
                  <a:pt x="8809" y="2604"/>
                </a:lnTo>
                <a:lnTo>
                  <a:pt x="8711" y="2385"/>
                </a:lnTo>
                <a:lnTo>
                  <a:pt x="8614" y="2044"/>
                </a:lnTo>
                <a:lnTo>
                  <a:pt x="8517" y="1704"/>
                </a:lnTo>
                <a:lnTo>
                  <a:pt x="8444" y="1290"/>
                </a:lnTo>
                <a:lnTo>
                  <a:pt x="8395" y="876"/>
                </a:lnTo>
                <a:lnTo>
                  <a:pt x="8322" y="487"/>
                </a:lnTo>
                <a:lnTo>
                  <a:pt x="8273" y="293"/>
                </a:lnTo>
                <a:lnTo>
                  <a:pt x="8225" y="98"/>
                </a:lnTo>
                <a:lnTo>
                  <a:pt x="8176" y="25"/>
                </a:lnTo>
                <a:lnTo>
                  <a:pt x="8103" y="1"/>
                </a:lnTo>
                <a:close/>
                <a:moveTo>
                  <a:pt x="12483" y="1"/>
                </a:moveTo>
                <a:lnTo>
                  <a:pt x="12337" y="122"/>
                </a:lnTo>
                <a:lnTo>
                  <a:pt x="12239" y="244"/>
                </a:lnTo>
                <a:lnTo>
                  <a:pt x="12142" y="414"/>
                </a:lnTo>
                <a:lnTo>
                  <a:pt x="12093" y="585"/>
                </a:lnTo>
                <a:lnTo>
                  <a:pt x="11996" y="949"/>
                </a:lnTo>
                <a:lnTo>
                  <a:pt x="11923" y="1290"/>
                </a:lnTo>
                <a:lnTo>
                  <a:pt x="11753" y="2166"/>
                </a:lnTo>
                <a:lnTo>
                  <a:pt x="11631" y="2531"/>
                </a:lnTo>
                <a:lnTo>
                  <a:pt x="11607" y="2701"/>
                </a:lnTo>
                <a:lnTo>
                  <a:pt x="11607" y="2799"/>
                </a:lnTo>
                <a:lnTo>
                  <a:pt x="11607" y="2872"/>
                </a:lnTo>
                <a:lnTo>
                  <a:pt x="11655" y="2969"/>
                </a:lnTo>
                <a:lnTo>
                  <a:pt x="11753" y="3018"/>
                </a:lnTo>
                <a:lnTo>
                  <a:pt x="11850" y="3042"/>
                </a:lnTo>
                <a:lnTo>
                  <a:pt x="11947" y="3018"/>
                </a:lnTo>
                <a:lnTo>
                  <a:pt x="12069" y="2920"/>
                </a:lnTo>
                <a:lnTo>
                  <a:pt x="12142" y="2774"/>
                </a:lnTo>
                <a:lnTo>
                  <a:pt x="12191" y="2604"/>
                </a:lnTo>
                <a:lnTo>
                  <a:pt x="12239" y="2434"/>
                </a:lnTo>
                <a:lnTo>
                  <a:pt x="12288" y="2069"/>
                </a:lnTo>
                <a:lnTo>
                  <a:pt x="12337" y="1752"/>
                </a:lnTo>
                <a:lnTo>
                  <a:pt x="12458" y="974"/>
                </a:lnTo>
                <a:lnTo>
                  <a:pt x="12556" y="585"/>
                </a:lnTo>
                <a:lnTo>
                  <a:pt x="12604" y="390"/>
                </a:lnTo>
                <a:lnTo>
                  <a:pt x="12677" y="220"/>
                </a:lnTo>
                <a:lnTo>
                  <a:pt x="12702" y="171"/>
                </a:lnTo>
                <a:lnTo>
                  <a:pt x="12702" y="122"/>
                </a:lnTo>
                <a:lnTo>
                  <a:pt x="12653" y="25"/>
                </a:lnTo>
                <a:lnTo>
                  <a:pt x="12629" y="1"/>
                </a:lnTo>
                <a:close/>
                <a:moveTo>
                  <a:pt x="14089" y="2507"/>
                </a:moveTo>
                <a:lnTo>
                  <a:pt x="13991" y="2555"/>
                </a:lnTo>
                <a:lnTo>
                  <a:pt x="13918" y="2628"/>
                </a:lnTo>
                <a:lnTo>
                  <a:pt x="13845" y="2726"/>
                </a:lnTo>
                <a:lnTo>
                  <a:pt x="13797" y="2847"/>
                </a:lnTo>
                <a:lnTo>
                  <a:pt x="13699" y="3066"/>
                </a:lnTo>
                <a:lnTo>
                  <a:pt x="13651" y="3212"/>
                </a:lnTo>
                <a:lnTo>
                  <a:pt x="13651" y="3334"/>
                </a:lnTo>
                <a:lnTo>
                  <a:pt x="13651" y="3383"/>
                </a:lnTo>
                <a:lnTo>
                  <a:pt x="13675" y="3431"/>
                </a:lnTo>
                <a:lnTo>
                  <a:pt x="13724" y="3456"/>
                </a:lnTo>
                <a:lnTo>
                  <a:pt x="13772" y="3480"/>
                </a:lnTo>
                <a:lnTo>
                  <a:pt x="13821" y="3504"/>
                </a:lnTo>
                <a:lnTo>
                  <a:pt x="13894" y="3480"/>
                </a:lnTo>
                <a:lnTo>
                  <a:pt x="13918" y="3456"/>
                </a:lnTo>
                <a:lnTo>
                  <a:pt x="13967" y="3407"/>
                </a:lnTo>
                <a:lnTo>
                  <a:pt x="14040" y="3212"/>
                </a:lnTo>
                <a:lnTo>
                  <a:pt x="14089" y="3018"/>
                </a:lnTo>
                <a:lnTo>
                  <a:pt x="14162" y="2799"/>
                </a:lnTo>
                <a:lnTo>
                  <a:pt x="14210" y="2701"/>
                </a:lnTo>
                <a:lnTo>
                  <a:pt x="14235" y="2604"/>
                </a:lnTo>
                <a:lnTo>
                  <a:pt x="14210" y="2555"/>
                </a:lnTo>
                <a:lnTo>
                  <a:pt x="14186" y="2531"/>
                </a:lnTo>
                <a:lnTo>
                  <a:pt x="14137" y="2507"/>
                </a:lnTo>
                <a:close/>
                <a:moveTo>
                  <a:pt x="6692" y="2385"/>
                </a:moveTo>
                <a:lnTo>
                  <a:pt x="6667" y="2409"/>
                </a:lnTo>
                <a:lnTo>
                  <a:pt x="6594" y="2507"/>
                </a:lnTo>
                <a:lnTo>
                  <a:pt x="6570" y="2628"/>
                </a:lnTo>
                <a:lnTo>
                  <a:pt x="6594" y="2774"/>
                </a:lnTo>
                <a:lnTo>
                  <a:pt x="6619" y="2920"/>
                </a:lnTo>
                <a:lnTo>
                  <a:pt x="6740" y="3188"/>
                </a:lnTo>
                <a:lnTo>
                  <a:pt x="6838" y="3431"/>
                </a:lnTo>
                <a:lnTo>
                  <a:pt x="6886" y="3504"/>
                </a:lnTo>
                <a:lnTo>
                  <a:pt x="6935" y="3553"/>
                </a:lnTo>
                <a:lnTo>
                  <a:pt x="7008" y="3553"/>
                </a:lnTo>
                <a:lnTo>
                  <a:pt x="7081" y="3529"/>
                </a:lnTo>
                <a:lnTo>
                  <a:pt x="7130" y="3504"/>
                </a:lnTo>
                <a:lnTo>
                  <a:pt x="7154" y="3456"/>
                </a:lnTo>
                <a:lnTo>
                  <a:pt x="7178" y="3383"/>
                </a:lnTo>
                <a:lnTo>
                  <a:pt x="7154" y="3310"/>
                </a:lnTo>
                <a:lnTo>
                  <a:pt x="6935" y="2823"/>
                </a:lnTo>
                <a:lnTo>
                  <a:pt x="6862" y="2604"/>
                </a:lnTo>
                <a:lnTo>
                  <a:pt x="6813" y="2507"/>
                </a:lnTo>
                <a:lnTo>
                  <a:pt x="6740" y="2409"/>
                </a:lnTo>
                <a:lnTo>
                  <a:pt x="6692" y="2385"/>
                </a:lnTo>
                <a:close/>
                <a:moveTo>
                  <a:pt x="16668" y="2020"/>
                </a:moveTo>
                <a:lnTo>
                  <a:pt x="16595" y="2044"/>
                </a:lnTo>
                <a:lnTo>
                  <a:pt x="16546" y="2093"/>
                </a:lnTo>
                <a:lnTo>
                  <a:pt x="16303" y="2409"/>
                </a:lnTo>
                <a:lnTo>
                  <a:pt x="16084" y="2726"/>
                </a:lnTo>
                <a:lnTo>
                  <a:pt x="15889" y="3042"/>
                </a:lnTo>
                <a:lnTo>
                  <a:pt x="15719" y="3383"/>
                </a:lnTo>
                <a:lnTo>
                  <a:pt x="15573" y="3626"/>
                </a:lnTo>
                <a:lnTo>
                  <a:pt x="15427" y="3894"/>
                </a:lnTo>
                <a:lnTo>
                  <a:pt x="15281" y="4137"/>
                </a:lnTo>
                <a:lnTo>
                  <a:pt x="15184" y="4380"/>
                </a:lnTo>
                <a:lnTo>
                  <a:pt x="15159" y="4453"/>
                </a:lnTo>
                <a:lnTo>
                  <a:pt x="15184" y="4502"/>
                </a:lnTo>
                <a:lnTo>
                  <a:pt x="15232" y="4575"/>
                </a:lnTo>
                <a:lnTo>
                  <a:pt x="15330" y="4624"/>
                </a:lnTo>
                <a:lnTo>
                  <a:pt x="15427" y="4624"/>
                </a:lnTo>
                <a:lnTo>
                  <a:pt x="15549" y="4575"/>
                </a:lnTo>
                <a:lnTo>
                  <a:pt x="15646" y="4502"/>
                </a:lnTo>
                <a:lnTo>
                  <a:pt x="15743" y="4380"/>
                </a:lnTo>
                <a:lnTo>
                  <a:pt x="15816" y="4259"/>
                </a:lnTo>
                <a:lnTo>
                  <a:pt x="15962" y="3991"/>
                </a:lnTo>
                <a:lnTo>
                  <a:pt x="16060" y="3723"/>
                </a:lnTo>
                <a:lnTo>
                  <a:pt x="16352" y="3091"/>
                </a:lnTo>
                <a:lnTo>
                  <a:pt x="16498" y="2872"/>
                </a:lnTo>
                <a:lnTo>
                  <a:pt x="16619" y="2677"/>
                </a:lnTo>
                <a:lnTo>
                  <a:pt x="16765" y="2458"/>
                </a:lnTo>
                <a:lnTo>
                  <a:pt x="16887" y="2239"/>
                </a:lnTo>
                <a:lnTo>
                  <a:pt x="16911" y="2166"/>
                </a:lnTo>
                <a:lnTo>
                  <a:pt x="16887" y="2117"/>
                </a:lnTo>
                <a:lnTo>
                  <a:pt x="16838" y="2069"/>
                </a:lnTo>
                <a:lnTo>
                  <a:pt x="16790" y="2044"/>
                </a:lnTo>
                <a:lnTo>
                  <a:pt x="16741" y="2020"/>
                </a:lnTo>
                <a:close/>
                <a:moveTo>
                  <a:pt x="3869" y="2020"/>
                </a:moveTo>
                <a:lnTo>
                  <a:pt x="3820" y="2044"/>
                </a:lnTo>
                <a:lnTo>
                  <a:pt x="3796" y="2044"/>
                </a:lnTo>
                <a:lnTo>
                  <a:pt x="3747" y="2093"/>
                </a:lnTo>
                <a:lnTo>
                  <a:pt x="3723" y="2190"/>
                </a:lnTo>
                <a:lnTo>
                  <a:pt x="3747" y="2263"/>
                </a:lnTo>
                <a:lnTo>
                  <a:pt x="3796" y="2312"/>
                </a:lnTo>
                <a:lnTo>
                  <a:pt x="3820" y="2385"/>
                </a:lnTo>
                <a:lnTo>
                  <a:pt x="3869" y="2531"/>
                </a:lnTo>
                <a:lnTo>
                  <a:pt x="3991" y="2799"/>
                </a:lnTo>
                <a:lnTo>
                  <a:pt x="4185" y="3188"/>
                </a:lnTo>
                <a:lnTo>
                  <a:pt x="4404" y="3577"/>
                </a:lnTo>
                <a:lnTo>
                  <a:pt x="4599" y="3869"/>
                </a:lnTo>
                <a:lnTo>
                  <a:pt x="4818" y="4161"/>
                </a:lnTo>
                <a:lnTo>
                  <a:pt x="5086" y="4405"/>
                </a:lnTo>
                <a:lnTo>
                  <a:pt x="5207" y="4526"/>
                </a:lnTo>
                <a:lnTo>
                  <a:pt x="5378" y="4624"/>
                </a:lnTo>
                <a:lnTo>
                  <a:pt x="5475" y="4648"/>
                </a:lnTo>
                <a:lnTo>
                  <a:pt x="5572" y="4648"/>
                </a:lnTo>
                <a:lnTo>
                  <a:pt x="5645" y="4599"/>
                </a:lnTo>
                <a:lnTo>
                  <a:pt x="5694" y="4526"/>
                </a:lnTo>
                <a:lnTo>
                  <a:pt x="5718" y="4453"/>
                </a:lnTo>
                <a:lnTo>
                  <a:pt x="5718" y="4356"/>
                </a:lnTo>
                <a:lnTo>
                  <a:pt x="5694" y="4283"/>
                </a:lnTo>
                <a:lnTo>
                  <a:pt x="5621" y="4210"/>
                </a:lnTo>
                <a:lnTo>
                  <a:pt x="5451" y="4088"/>
                </a:lnTo>
                <a:lnTo>
                  <a:pt x="5329" y="3991"/>
                </a:lnTo>
                <a:lnTo>
                  <a:pt x="5086" y="3723"/>
                </a:lnTo>
                <a:lnTo>
                  <a:pt x="4867" y="3431"/>
                </a:lnTo>
                <a:lnTo>
                  <a:pt x="4672" y="3139"/>
                </a:lnTo>
                <a:lnTo>
                  <a:pt x="4526" y="2847"/>
                </a:lnTo>
                <a:lnTo>
                  <a:pt x="4380" y="2580"/>
                </a:lnTo>
                <a:lnTo>
                  <a:pt x="4210" y="2288"/>
                </a:lnTo>
                <a:lnTo>
                  <a:pt x="4112" y="2166"/>
                </a:lnTo>
                <a:lnTo>
                  <a:pt x="4015" y="2069"/>
                </a:lnTo>
                <a:lnTo>
                  <a:pt x="3966" y="2044"/>
                </a:lnTo>
                <a:lnTo>
                  <a:pt x="3918" y="2020"/>
                </a:lnTo>
                <a:close/>
                <a:moveTo>
                  <a:pt x="3601" y="4843"/>
                </a:moveTo>
                <a:lnTo>
                  <a:pt x="3577" y="4891"/>
                </a:lnTo>
                <a:lnTo>
                  <a:pt x="3577" y="4916"/>
                </a:lnTo>
                <a:lnTo>
                  <a:pt x="3577" y="4964"/>
                </a:lnTo>
                <a:lnTo>
                  <a:pt x="3601" y="5062"/>
                </a:lnTo>
                <a:lnTo>
                  <a:pt x="3674" y="5135"/>
                </a:lnTo>
                <a:lnTo>
                  <a:pt x="3747" y="5183"/>
                </a:lnTo>
                <a:lnTo>
                  <a:pt x="3845" y="5281"/>
                </a:lnTo>
                <a:lnTo>
                  <a:pt x="3966" y="5354"/>
                </a:lnTo>
                <a:lnTo>
                  <a:pt x="4234" y="5500"/>
                </a:lnTo>
                <a:lnTo>
                  <a:pt x="4404" y="5500"/>
                </a:lnTo>
                <a:lnTo>
                  <a:pt x="4477" y="5451"/>
                </a:lnTo>
                <a:lnTo>
                  <a:pt x="4502" y="5402"/>
                </a:lnTo>
                <a:lnTo>
                  <a:pt x="4526" y="5329"/>
                </a:lnTo>
                <a:lnTo>
                  <a:pt x="4502" y="5256"/>
                </a:lnTo>
                <a:lnTo>
                  <a:pt x="4477" y="5183"/>
                </a:lnTo>
                <a:lnTo>
                  <a:pt x="4380" y="5135"/>
                </a:lnTo>
                <a:lnTo>
                  <a:pt x="4137" y="5013"/>
                </a:lnTo>
                <a:lnTo>
                  <a:pt x="3918" y="4891"/>
                </a:lnTo>
                <a:lnTo>
                  <a:pt x="3820" y="4867"/>
                </a:lnTo>
                <a:lnTo>
                  <a:pt x="3747" y="4843"/>
                </a:lnTo>
                <a:close/>
                <a:moveTo>
                  <a:pt x="17106" y="4891"/>
                </a:moveTo>
                <a:lnTo>
                  <a:pt x="16960" y="4940"/>
                </a:lnTo>
                <a:lnTo>
                  <a:pt x="16814" y="5037"/>
                </a:lnTo>
                <a:lnTo>
                  <a:pt x="16668" y="5159"/>
                </a:lnTo>
                <a:lnTo>
                  <a:pt x="16498" y="5305"/>
                </a:lnTo>
                <a:lnTo>
                  <a:pt x="16473" y="5354"/>
                </a:lnTo>
                <a:lnTo>
                  <a:pt x="16473" y="5402"/>
                </a:lnTo>
                <a:lnTo>
                  <a:pt x="16473" y="5451"/>
                </a:lnTo>
                <a:lnTo>
                  <a:pt x="16498" y="5500"/>
                </a:lnTo>
                <a:lnTo>
                  <a:pt x="16546" y="5524"/>
                </a:lnTo>
                <a:lnTo>
                  <a:pt x="16571" y="5548"/>
                </a:lnTo>
                <a:lnTo>
                  <a:pt x="16644" y="5548"/>
                </a:lnTo>
                <a:lnTo>
                  <a:pt x="16692" y="5524"/>
                </a:lnTo>
                <a:lnTo>
                  <a:pt x="16838" y="5402"/>
                </a:lnTo>
                <a:lnTo>
                  <a:pt x="17009" y="5256"/>
                </a:lnTo>
                <a:lnTo>
                  <a:pt x="17106" y="5135"/>
                </a:lnTo>
                <a:lnTo>
                  <a:pt x="17179" y="4964"/>
                </a:lnTo>
                <a:lnTo>
                  <a:pt x="17179" y="4940"/>
                </a:lnTo>
                <a:lnTo>
                  <a:pt x="17155" y="4916"/>
                </a:lnTo>
                <a:lnTo>
                  <a:pt x="17130" y="4891"/>
                </a:lnTo>
                <a:close/>
                <a:moveTo>
                  <a:pt x="19539" y="5500"/>
                </a:moveTo>
                <a:lnTo>
                  <a:pt x="19442" y="5524"/>
                </a:lnTo>
                <a:lnTo>
                  <a:pt x="19320" y="5548"/>
                </a:lnTo>
                <a:lnTo>
                  <a:pt x="19101" y="5646"/>
                </a:lnTo>
                <a:lnTo>
                  <a:pt x="18688" y="5865"/>
                </a:lnTo>
                <a:lnTo>
                  <a:pt x="18006" y="6157"/>
                </a:lnTo>
                <a:lnTo>
                  <a:pt x="17349" y="6497"/>
                </a:lnTo>
                <a:lnTo>
                  <a:pt x="17276" y="6546"/>
                </a:lnTo>
                <a:lnTo>
                  <a:pt x="17252" y="6619"/>
                </a:lnTo>
                <a:lnTo>
                  <a:pt x="17252" y="6692"/>
                </a:lnTo>
                <a:lnTo>
                  <a:pt x="17276" y="6765"/>
                </a:lnTo>
                <a:lnTo>
                  <a:pt x="17301" y="6814"/>
                </a:lnTo>
                <a:lnTo>
                  <a:pt x="17374" y="6862"/>
                </a:lnTo>
                <a:lnTo>
                  <a:pt x="17422" y="6887"/>
                </a:lnTo>
                <a:lnTo>
                  <a:pt x="17520" y="6887"/>
                </a:lnTo>
                <a:lnTo>
                  <a:pt x="18201" y="6595"/>
                </a:lnTo>
                <a:lnTo>
                  <a:pt x="18858" y="6303"/>
                </a:lnTo>
                <a:lnTo>
                  <a:pt x="19345" y="6132"/>
                </a:lnTo>
                <a:lnTo>
                  <a:pt x="19466" y="6084"/>
                </a:lnTo>
                <a:lnTo>
                  <a:pt x="19588" y="6011"/>
                </a:lnTo>
                <a:lnTo>
                  <a:pt x="19685" y="5938"/>
                </a:lnTo>
                <a:lnTo>
                  <a:pt x="19734" y="5865"/>
                </a:lnTo>
                <a:lnTo>
                  <a:pt x="19758" y="5792"/>
                </a:lnTo>
                <a:lnTo>
                  <a:pt x="19782" y="5743"/>
                </a:lnTo>
                <a:lnTo>
                  <a:pt x="19734" y="5621"/>
                </a:lnTo>
                <a:lnTo>
                  <a:pt x="19709" y="5573"/>
                </a:lnTo>
                <a:lnTo>
                  <a:pt x="19661" y="5548"/>
                </a:lnTo>
                <a:lnTo>
                  <a:pt x="19612" y="5524"/>
                </a:lnTo>
                <a:lnTo>
                  <a:pt x="19539" y="5500"/>
                </a:lnTo>
                <a:close/>
                <a:moveTo>
                  <a:pt x="998" y="5694"/>
                </a:moveTo>
                <a:lnTo>
                  <a:pt x="949" y="5719"/>
                </a:lnTo>
                <a:lnTo>
                  <a:pt x="925" y="5767"/>
                </a:lnTo>
                <a:lnTo>
                  <a:pt x="901" y="5865"/>
                </a:lnTo>
                <a:lnTo>
                  <a:pt x="925" y="5938"/>
                </a:lnTo>
                <a:lnTo>
                  <a:pt x="949" y="6011"/>
                </a:lnTo>
                <a:lnTo>
                  <a:pt x="1022" y="6084"/>
                </a:lnTo>
                <a:lnTo>
                  <a:pt x="1193" y="6230"/>
                </a:lnTo>
                <a:lnTo>
                  <a:pt x="1412" y="6327"/>
                </a:lnTo>
                <a:lnTo>
                  <a:pt x="1874" y="6522"/>
                </a:lnTo>
                <a:lnTo>
                  <a:pt x="2093" y="6595"/>
                </a:lnTo>
                <a:lnTo>
                  <a:pt x="2239" y="6643"/>
                </a:lnTo>
                <a:lnTo>
                  <a:pt x="2677" y="6887"/>
                </a:lnTo>
                <a:lnTo>
                  <a:pt x="3139" y="7130"/>
                </a:lnTo>
                <a:lnTo>
                  <a:pt x="3383" y="7276"/>
                </a:lnTo>
                <a:lnTo>
                  <a:pt x="3504" y="7325"/>
                </a:lnTo>
                <a:lnTo>
                  <a:pt x="3577" y="7325"/>
                </a:lnTo>
                <a:lnTo>
                  <a:pt x="3650" y="7300"/>
                </a:lnTo>
                <a:lnTo>
                  <a:pt x="3699" y="7252"/>
                </a:lnTo>
                <a:lnTo>
                  <a:pt x="3723" y="7203"/>
                </a:lnTo>
                <a:lnTo>
                  <a:pt x="3747" y="7130"/>
                </a:lnTo>
                <a:lnTo>
                  <a:pt x="3723" y="7057"/>
                </a:lnTo>
                <a:lnTo>
                  <a:pt x="3650" y="6935"/>
                </a:lnTo>
                <a:lnTo>
                  <a:pt x="3529" y="6814"/>
                </a:lnTo>
                <a:lnTo>
                  <a:pt x="3383" y="6692"/>
                </a:lnTo>
                <a:lnTo>
                  <a:pt x="3212" y="6595"/>
                </a:lnTo>
                <a:lnTo>
                  <a:pt x="2847" y="6424"/>
                </a:lnTo>
                <a:lnTo>
                  <a:pt x="2531" y="6278"/>
                </a:lnTo>
                <a:lnTo>
                  <a:pt x="2166" y="6108"/>
                </a:lnTo>
                <a:lnTo>
                  <a:pt x="1777" y="5962"/>
                </a:lnTo>
                <a:lnTo>
                  <a:pt x="1022" y="5694"/>
                </a:lnTo>
                <a:close/>
                <a:moveTo>
                  <a:pt x="18396" y="8274"/>
                </a:moveTo>
                <a:lnTo>
                  <a:pt x="18128" y="8298"/>
                </a:lnTo>
                <a:lnTo>
                  <a:pt x="17982" y="8322"/>
                </a:lnTo>
                <a:lnTo>
                  <a:pt x="17885" y="8371"/>
                </a:lnTo>
                <a:lnTo>
                  <a:pt x="17812" y="8420"/>
                </a:lnTo>
                <a:lnTo>
                  <a:pt x="17787" y="8468"/>
                </a:lnTo>
                <a:lnTo>
                  <a:pt x="17787" y="8541"/>
                </a:lnTo>
                <a:lnTo>
                  <a:pt x="17787" y="8590"/>
                </a:lnTo>
                <a:lnTo>
                  <a:pt x="17812" y="8663"/>
                </a:lnTo>
                <a:lnTo>
                  <a:pt x="17860" y="8712"/>
                </a:lnTo>
                <a:lnTo>
                  <a:pt x="17909" y="8736"/>
                </a:lnTo>
                <a:lnTo>
                  <a:pt x="17982" y="8736"/>
                </a:lnTo>
                <a:lnTo>
                  <a:pt x="18201" y="8712"/>
                </a:lnTo>
                <a:lnTo>
                  <a:pt x="18517" y="8663"/>
                </a:lnTo>
                <a:lnTo>
                  <a:pt x="18663" y="8590"/>
                </a:lnTo>
                <a:lnTo>
                  <a:pt x="18785" y="8541"/>
                </a:lnTo>
                <a:lnTo>
                  <a:pt x="18858" y="8468"/>
                </a:lnTo>
                <a:lnTo>
                  <a:pt x="18858" y="8420"/>
                </a:lnTo>
                <a:lnTo>
                  <a:pt x="18858" y="8395"/>
                </a:lnTo>
                <a:lnTo>
                  <a:pt x="18809" y="8347"/>
                </a:lnTo>
                <a:lnTo>
                  <a:pt x="18761" y="8322"/>
                </a:lnTo>
                <a:lnTo>
                  <a:pt x="18639" y="8274"/>
                </a:lnTo>
                <a:close/>
                <a:moveTo>
                  <a:pt x="2020" y="8201"/>
                </a:moveTo>
                <a:lnTo>
                  <a:pt x="1947" y="8225"/>
                </a:lnTo>
                <a:lnTo>
                  <a:pt x="1898" y="8249"/>
                </a:lnTo>
                <a:lnTo>
                  <a:pt x="1874" y="8274"/>
                </a:lnTo>
                <a:lnTo>
                  <a:pt x="1850" y="8322"/>
                </a:lnTo>
                <a:lnTo>
                  <a:pt x="1850" y="8395"/>
                </a:lnTo>
                <a:lnTo>
                  <a:pt x="1850" y="8444"/>
                </a:lnTo>
                <a:lnTo>
                  <a:pt x="1874" y="8493"/>
                </a:lnTo>
                <a:lnTo>
                  <a:pt x="1923" y="8517"/>
                </a:lnTo>
                <a:lnTo>
                  <a:pt x="2093" y="8614"/>
                </a:lnTo>
                <a:lnTo>
                  <a:pt x="2288" y="8687"/>
                </a:lnTo>
                <a:lnTo>
                  <a:pt x="2482" y="8736"/>
                </a:lnTo>
                <a:lnTo>
                  <a:pt x="2701" y="8760"/>
                </a:lnTo>
                <a:lnTo>
                  <a:pt x="2774" y="8760"/>
                </a:lnTo>
                <a:lnTo>
                  <a:pt x="2823" y="8712"/>
                </a:lnTo>
                <a:lnTo>
                  <a:pt x="2872" y="8663"/>
                </a:lnTo>
                <a:lnTo>
                  <a:pt x="2896" y="8590"/>
                </a:lnTo>
                <a:lnTo>
                  <a:pt x="2896" y="8517"/>
                </a:lnTo>
                <a:lnTo>
                  <a:pt x="2872" y="8444"/>
                </a:lnTo>
                <a:lnTo>
                  <a:pt x="2823" y="8395"/>
                </a:lnTo>
                <a:lnTo>
                  <a:pt x="2750" y="8347"/>
                </a:lnTo>
                <a:lnTo>
                  <a:pt x="2385" y="8274"/>
                </a:lnTo>
                <a:lnTo>
                  <a:pt x="2190" y="8225"/>
                </a:lnTo>
                <a:lnTo>
                  <a:pt x="2020" y="8201"/>
                </a:lnTo>
                <a:close/>
                <a:moveTo>
                  <a:pt x="18517" y="9904"/>
                </a:moveTo>
                <a:lnTo>
                  <a:pt x="18323" y="9928"/>
                </a:lnTo>
                <a:lnTo>
                  <a:pt x="18177" y="9952"/>
                </a:lnTo>
                <a:lnTo>
                  <a:pt x="18031" y="10050"/>
                </a:lnTo>
                <a:lnTo>
                  <a:pt x="18006" y="10074"/>
                </a:lnTo>
                <a:lnTo>
                  <a:pt x="18006" y="10123"/>
                </a:lnTo>
                <a:lnTo>
                  <a:pt x="18128" y="10220"/>
                </a:lnTo>
                <a:lnTo>
                  <a:pt x="18274" y="10293"/>
                </a:lnTo>
                <a:lnTo>
                  <a:pt x="18420" y="10317"/>
                </a:lnTo>
                <a:lnTo>
                  <a:pt x="18590" y="10342"/>
                </a:lnTo>
                <a:lnTo>
                  <a:pt x="18931" y="10366"/>
                </a:lnTo>
                <a:lnTo>
                  <a:pt x="19247" y="10366"/>
                </a:lnTo>
                <a:lnTo>
                  <a:pt x="19661" y="10390"/>
                </a:lnTo>
                <a:lnTo>
                  <a:pt x="20074" y="10415"/>
                </a:lnTo>
                <a:lnTo>
                  <a:pt x="20293" y="10415"/>
                </a:lnTo>
                <a:lnTo>
                  <a:pt x="20512" y="10390"/>
                </a:lnTo>
                <a:lnTo>
                  <a:pt x="20707" y="10366"/>
                </a:lnTo>
                <a:lnTo>
                  <a:pt x="20902" y="10293"/>
                </a:lnTo>
                <a:lnTo>
                  <a:pt x="20950" y="10269"/>
                </a:lnTo>
                <a:lnTo>
                  <a:pt x="20975" y="10220"/>
                </a:lnTo>
                <a:lnTo>
                  <a:pt x="20975" y="10123"/>
                </a:lnTo>
                <a:lnTo>
                  <a:pt x="20926" y="10050"/>
                </a:lnTo>
                <a:lnTo>
                  <a:pt x="20853" y="10001"/>
                </a:lnTo>
                <a:lnTo>
                  <a:pt x="20707" y="9952"/>
                </a:lnTo>
                <a:lnTo>
                  <a:pt x="20512" y="9904"/>
                </a:lnTo>
                <a:lnTo>
                  <a:pt x="20147" y="9904"/>
                </a:lnTo>
                <a:lnTo>
                  <a:pt x="19782" y="9928"/>
                </a:lnTo>
                <a:lnTo>
                  <a:pt x="19418" y="9952"/>
                </a:lnTo>
                <a:lnTo>
                  <a:pt x="19077" y="9928"/>
                </a:lnTo>
                <a:lnTo>
                  <a:pt x="18688" y="9904"/>
                </a:lnTo>
                <a:close/>
                <a:moveTo>
                  <a:pt x="365" y="10123"/>
                </a:moveTo>
                <a:lnTo>
                  <a:pt x="219" y="10147"/>
                </a:lnTo>
                <a:lnTo>
                  <a:pt x="98" y="10171"/>
                </a:lnTo>
                <a:lnTo>
                  <a:pt x="25" y="10220"/>
                </a:lnTo>
                <a:lnTo>
                  <a:pt x="0" y="10269"/>
                </a:lnTo>
                <a:lnTo>
                  <a:pt x="0" y="10317"/>
                </a:lnTo>
                <a:lnTo>
                  <a:pt x="25" y="10366"/>
                </a:lnTo>
                <a:lnTo>
                  <a:pt x="49" y="10415"/>
                </a:lnTo>
                <a:lnTo>
                  <a:pt x="146" y="10512"/>
                </a:lnTo>
                <a:lnTo>
                  <a:pt x="268" y="10561"/>
                </a:lnTo>
                <a:lnTo>
                  <a:pt x="414" y="10585"/>
                </a:lnTo>
                <a:lnTo>
                  <a:pt x="730" y="10609"/>
                </a:lnTo>
                <a:lnTo>
                  <a:pt x="974" y="10609"/>
                </a:lnTo>
                <a:lnTo>
                  <a:pt x="1923" y="10634"/>
                </a:lnTo>
                <a:lnTo>
                  <a:pt x="2847" y="10634"/>
                </a:lnTo>
                <a:lnTo>
                  <a:pt x="2945" y="10609"/>
                </a:lnTo>
                <a:lnTo>
                  <a:pt x="3018" y="10561"/>
                </a:lnTo>
                <a:lnTo>
                  <a:pt x="3066" y="10488"/>
                </a:lnTo>
                <a:lnTo>
                  <a:pt x="3066" y="10390"/>
                </a:lnTo>
                <a:lnTo>
                  <a:pt x="3066" y="10317"/>
                </a:lnTo>
                <a:lnTo>
                  <a:pt x="3018" y="10244"/>
                </a:lnTo>
                <a:lnTo>
                  <a:pt x="2945" y="10196"/>
                </a:lnTo>
                <a:lnTo>
                  <a:pt x="2847" y="10171"/>
                </a:lnTo>
                <a:lnTo>
                  <a:pt x="1850" y="10171"/>
                </a:lnTo>
                <a:lnTo>
                  <a:pt x="852" y="10147"/>
                </a:lnTo>
                <a:lnTo>
                  <a:pt x="657" y="10123"/>
                </a:lnTo>
                <a:close/>
                <a:moveTo>
                  <a:pt x="2677" y="11777"/>
                </a:moveTo>
                <a:lnTo>
                  <a:pt x="2409" y="11826"/>
                </a:lnTo>
                <a:lnTo>
                  <a:pt x="2288" y="11875"/>
                </a:lnTo>
                <a:lnTo>
                  <a:pt x="2166" y="11923"/>
                </a:lnTo>
                <a:lnTo>
                  <a:pt x="2069" y="11996"/>
                </a:lnTo>
                <a:lnTo>
                  <a:pt x="2020" y="12094"/>
                </a:lnTo>
                <a:lnTo>
                  <a:pt x="2020" y="12167"/>
                </a:lnTo>
                <a:lnTo>
                  <a:pt x="2069" y="12215"/>
                </a:lnTo>
                <a:lnTo>
                  <a:pt x="2190" y="12240"/>
                </a:lnTo>
                <a:lnTo>
                  <a:pt x="2312" y="12240"/>
                </a:lnTo>
                <a:lnTo>
                  <a:pt x="2580" y="12191"/>
                </a:lnTo>
                <a:lnTo>
                  <a:pt x="2872" y="12191"/>
                </a:lnTo>
                <a:lnTo>
                  <a:pt x="2993" y="12167"/>
                </a:lnTo>
                <a:lnTo>
                  <a:pt x="3066" y="12142"/>
                </a:lnTo>
                <a:lnTo>
                  <a:pt x="3115" y="12069"/>
                </a:lnTo>
                <a:lnTo>
                  <a:pt x="3139" y="12045"/>
                </a:lnTo>
                <a:lnTo>
                  <a:pt x="3139" y="11996"/>
                </a:lnTo>
                <a:lnTo>
                  <a:pt x="3115" y="11923"/>
                </a:lnTo>
                <a:lnTo>
                  <a:pt x="3091" y="11875"/>
                </a:lnTo>
                <a:lnTo>
                  <a:pt x="3066" y="11850"/>
                </a:lnTo>
                <a:lnTo>
                  <a:pt x="3018" y="11802"/>
                </a:lnTo>
                <a:lnTo>
                  <a:pt x="2920" y="11777"/>
                </a:lnTo>
                <a:close/>
                <a:moveTo>
                  <a:pt x="18006" y="11923"/>
                </a:moveTo>
                <a:lnTo>
                  <a:pt x="17860" y="11948"/>
                </a:lnTo>
                <a:lnTo>
                  <a:pt x="17812" y="11972"/>
                </a:lnTo>
                <a:lnTo>
                  <a:pt x="17763" y="11996"/>
                </a:lnTo>
                <a:lnTo>
                  <a:pt x="17763" y="12045"/>
                </a:lnTo>
                <a:lnTo>
                  <a:pt x="17763" y="12094"/>
                </a:lnTo>
                <a:lnTo>
                  <a:pt x="17787" y="12118"/>
                </a:lnTo>
                <a:lnTo>
                  <a:pt x="17860" y="12167"/>
                </a:lnTo>
                <a:lnTo>
                  <a:pt x="17933" y="12215"/>
                </a:lnTo>
                <a:lnTo>
                  <a:pt x="18006" y="12240"/>
                </a:lnTo>
                <a:lnTo>
                  <a:pt x="18152" y="12264"/>
                </a:lnTo>
                <a:lnTo>
                  <a:pt x="18444" y="12337"/>
                </a:lnTo>
                <a:lnTo>
                  <a:pt x="18761" y="12386"/>
                </a:lnTo>
                <a:lnTo>
                  <a:pt x="18834" y="12386"/>
                </a:lnTo>
                <a:lnTo>
                  <a:pt x="18882" y="12337"/>
                </a:lnTo>
                <a:lnTo>
                  <a:pt x="18931" y="12288"/>
                </a:lnTo>
                <a:lnTo>
                  <a:pt x="18955" y="12215"/>
                </a:lnTo>
                <a:lnTo>
                  <a:pt x="18931" y="12142"/>
                </a:lnTo>
                <a:lnTo>
                  <a:pt x="18931" y="12069"/>
                </a:lnTo>
                <a:lnTo>
                  <a:pt x="18882" y="12021"/>
                </a:lnTo>
                <a:lnTo>
                  <a:pt x="18809" y="11996"/>
                </a:lnTo>
                <a:lnTo>
                  <a:pt x="18566" y="11948"/>
                </a:lnTo>
                <a:lnTo>
                  <a:pt x="18201" y="11923"/>
                </a:lnTo>
                <a:close/>
                <a:moveTo>
                  <a:pt x="3358" y="13359"/>
                </a:moveTo>
                <a:lnTo>
                  <a:pt x="3261" y="13383"/>
                </a:lnTo>
                <a:lnTo>
                  <a:pt x="2434" y="13870"/>
                </a:lnTo>
                <a:lnTo>
                  <a:pt x="1582" y="14357"/>
                </a:lnTo>
                <a:lnTo>
                  <a:pt x="1241" y="14503"/>
                </a:lnTo>
                <a:lnTo>
                  <a:pt x="1095" y="14576"/>
                </a:lnTo>
                <a:lnTo>
                  <a:pt x="949" y="14697"/>
                </a:lnTo>
                <a:lnTo>
                  <a:pt x="925" y="14770"/>
                </a:lnTo>
                <a:lnTo>
                  <a:pt x="925" y="14843"/>
                </a:lnTo>
                <a:lnTo>
                  <a:pt x="949" y="14892"/>
                </a:lnTo>
                <a:lnTo>
                  <a:pt x="1022" y="14941"/>
                </a:lnTo>
                <a:lnTo>
                  <a:pt x="1120" y="14965"/>
                </a:lnTo>
                <a:lnTo>
                  <a:pt x="1217" y="14965"/>
                </a:lnTo>
                <a:lnTo>
                  <a:pt x="1412" y="14916"/>
                </a:lnTo>
                <a:lnTo>
                  <a:pt x="1606" y="14843"/>
                </a:lnTo>
                <a:lnTo>
                  <a:pt x="1801" y="14746"/>
                </a:lnTo>
                <a:lnTo>
                  <a:pt x="2239" y="14551"/>
                </a:lnTo>
                <a:lnTo>
                  <a:pt x="2677" y="14308"/>
                </a:lnTo>
                <a:lnTo>
                  <a:pt x="3504" y="13797"/>
                </a:lnTo>
                <a:lnTo>
                  <a:pt x="3577" y="13724"/>
                </a:lnTo>
                <a:lnTo>
                  <a:pt x="3626" y="13651"/>
                </a:lnTo>
                <a:lnTo>
                  <a:pt x="3626" y="13554"/>
                </a:lnTo>
                <a:lnTo>
                  <a:pt x="3577" y="13481"/>
                </a:lnTo>
                <a:lnTo>
                  <a:pt x="3529" y="13408"/>
                </a:lnTo>
                <a:lnTo>
                  <a:pt x="3456" y="13359"/>
                </a:lnTo>
                <a:close/>
                <a:moveTo>
                  <a:pt x="17325" y="13383"/>
                </a:moveTo>
                <a:lnTo>
                  <a:pt x="17179" y="13408"/>
                </a:lnTo>
                <a:lnTo>
                  <a:pt x="17130" y="13408"/>
                </a:lnTo>
                <a:lnTo>
                  <a:pt x="17130" y="13432"/>
                </a:lnTo>
                <a:lnTo>
                  <a:pt x="17130" y="13505"/>
                </a:lnTo>
                <a:lnTo>
                  <a:pt x="17252" y="13627"/>
                </a:lnTo>
                <a:lnTo>
                  <a:pt x="17398" y="13748"/>
                </a:lnTo>
                <a:lnTo>
                  <a:pt x="17690" y="13943"/>
                </a:lnTo>
                <a:lnTo>
                  <a:pt x="18006" y="14113"/>
                </a:lnTo>
                <a:lnTo>
                  <a:pt x="18323" y="14284"/>
                </a:lnTo>
                <a:lnTo>
                  <a:pt x="18907" y="14649"/>
                </a:lnTo>
                <a:lnTo>
                  <a:pt x="19199" y="14819"/>
                </a:lnTo>
                <a:lnTo>
                  <a:pt x="19515" y="14941"/>
                </a:lnTo>
                <a:lnTo>
                  <a:pt x="19612" y="14965"/>
                </a:lnTo>
                <a:lnTo>
                  <a:pt x="19709" y="14941"/>
                </a:lnTo>
                <a:lnTo>
                  <a:pt x="19758" y="14868"/>
                </a:lnTo>
                <a:lnTo>
                  <a:pt x="19807" y="14795"/>
                </a:lnTo>
                <a:lnTo>
                  <a:pt x="19807" y="14697"/>
                </a:lnTo>
                <a:lnTo>
                  <a:pt x="19782" y="14600"/>
                </a:lnTo>
                <a:lnTo>
                  <a:pt x="19734" y="14527"/>
                </a:lnTo>
                <a:lnTo>
                  <a:pt x="19636" y="14454"/>
                </a:lnTo>
                <a:lnTo>
                  <a:pt x="19272" y="14308"/>
                </a:lnTo>
                <a:lnTo>
                  <a:pt x="18931" y="14113"/>
                </a:lnTo>
                <a:lnTo>
                  <a:pt x="18590" y="13919"/>
                </a:lnTo>
                <a:lnTo>
                  <a:pt x="18250" y="13724"/>
                </a:lnTo>
                <a:lnTo>
                  <a:pt x="17982" y="13602"/>
                </a:lnTo>
                <a:lnTo>
                  <a:pt x="17739" y="13481"/>
                </a:lnTo>
                <a:lnTo>
                  <a:pt x="17593" y="13432"/>
                </a:lnTo>
                <a:lnTo>
                  <a:pt x="17447" y="13408"/>
                </a:lnTo>
                <a:lnTo>
                  <a:pt x="17325" y="13383"/>
                </a:lnTo>
                <a:close/>
                <a:moveTo>
                  <a:pt x="4234" y="14892"/>
                </a:moveTo>
                <a:lnTo>
                  <a:pt x="4161" y="14916"/>
                </a:lnTo>
                <a:lnTo>
                  <a:pt x="4088" y="14941"/>
                </a:lnTo>
                <a:lnTo>
                  <a:pt x="3942" y="15087"/>
                </a:lnTo>
                <a:lnTo>
                  <a:pt x="3820" y="15257"/>
                </a:lnTo>
                <a:lnTo>
                  <a:pt x="3723" y="15330"/>
                </a:lnTo>
                <a:lnTo>
                  <a:pt x="3650" y="15379"/>
                </a:lnTo>
                <a:lnTo>
                  <a:pt x="3650" y="15403"/>
                </a:lnTo>
                <a:lnTo>
                  <a:pt x="3601" y="15427"/>
                </a:lnTo>
                <a:lnTo>
                  <a:pt x="3577" y="15476"/>
                </a:lnTo>
                <a:lnTo>
                  <a:pt x="3553" y="15525"/>
                </a:lnTo>
                <a:lnTo>
                  <a:pt x="3553" y="15573"/>
                </a:lnTo>
                <a:lnTo>
                  <a:pt x="3577" y="15646"/>
                </a:lnTo>
                <a:lnTo>
                  <a:pt x="3626" y="15695"/>
                </a:lnTo>
                <a:lnTo>
                  <a:pt x="3699" y="15744"/>
                </a:lnTo>
                <a:lnTo>
                  <a:pt x="3772" y="15744"/>
                </a:lnTo>
                <a:lnTo>
                  <a:pt x="3845" y="15719"/>
                </a:lnTo>
                <a:lnTo>
                  <a:pt x="3991" y="15646"/>
                </a:lnTo>
                <a:lnTo>
                  <a:pt x="4088" y="15549"/>
                </a:lnTo>
                <a:lnTo>
                  <a:pt x="4258" y="15403"/>
                </a:lnTo>
                <a:lnTo>
                  <a:pt x="4429" y="15208"/>
                </a:lnTo>
                <a:lnTo>
                  <a:pt x="4453" y="15135"/>
                </a:lnTo>
                <a:lnTo>
                  <a:pt x="4453" y="15087"/>
                </a:lnTo>
                <a:lnTo>
                  <a:pt x="4429" y="15014"/>
                </a:lnTo>
                <a:lnTo>
                  <a:pt x="4380" y="14941"/>
                </a:lnTo>
                <a:lnTo>
                  <a:pt x="4307" y="14892"/>
                </a:lnTo>
                <a:close/>
                <a:moveTo>
                  <a:pt x="16376" y="14843"/>
                </a:moveTo>
                <a:lnTo>
                  <a:pt x="16303" y="14892"/>
                </a:lnTo>
                <a:lnTo>
                  <a:pt x="16279" y="14965"/>
                </a:lnTo>
                <a:lnTo>
                  <a:pt x="16303" y="15038"/>
                </a:lnTo>
                <a:lnTo>
                  <a:pt x="16400" y="15233"/>
                </a:lnTo>
                <a:lnTo>
                  <a:pt x="16522" y="15403"/>
                </a:lnTo>
                <a:lnTo>
                  <a:pt x="16668" y="15598"/>
                </a:lnTo>
                <a:lnTo>
                  <a:pt x="16765" y="15671"/>
                </a:lnTo>
                <a:lnTo>
                  <a:pt x="16863" y="15744"/>
                </a:lnTo>
                <a:lnTo>
                  <a:pt x="16936" y="15768"/>
                </a:lnTo>
                <a:lnTo>
                  <a:pt x="17009" y="15768"/>
                </a:lnTo>
                <a:lnTo>
                  <a:pt x="17082" y="15719"/>
                </a:lnTo>
                <a:lnTo>
                  <a:pt x="17130" y="15671"/>
                </a:lnTo>
                <a:lnTo>
                  <a:pt x="17155" y="15598"/>
                </a:lnTo>
                <a:lnTo>
                  <a:pt x="17155" y="15525"/>
                </a:lnTo>
                <a:lnTo>
                  <a:pt x="17130" y="15476"/>
                </a:lnTo>
                <a:lnTo>
                  <a:pt x="17057" y="15403"/>
                </a:lnTo>
                <a:lnTo>
                  <a:pt x="16911" y="15281"/>
                </a:lnTo>
                <a:lnTo>
                  <a:pt x="16790" y="15135"/>
                </a:lnTo>
                <a:lnTo>
                  <a:pt x="16644" y="14965"/>
                </a:lnTo>
                <a:lnTo>
                  <a:pt x="16546" y="14892"/>
                </a:lnTo>
                <a:lnTo>
                  <a:pt x="16449" y="14843"/>
                </a:lnTo>
                <a:close/>
                <a:moveTo>
                  <a:pt x="11169" y="3577"/>
                </a:moveTo>
                <a:lnTo>
                  <a:pt x="11582" y="3650"/>
                </a:lnTo>
                <a:lnTo>
                  <a:pt x="11996" y="3748"/>
                </a:lnTo>
                <a:lnTo>
                  <a:pt x="12410" y="3894"/>
                </a:lnTo>
                <a:lnTo>
                  <a:pt x="12799" y="4064"/>
                </a:lnTo>
                <a:lnTo>
                  <a:pt x="13188" y="4259"/>
                </a:lnTo>
                <a:lnTo>
                  <a:pt x="13578" y="4453"/>
                </a:lnTo>
                <a:lnTo>
                  <a:pt x="13943" y="4672"/>
                </a:lnTo>
                <a:lnTo>
                  <a:pt x="14235" y="4891"/>
                </a:lnTo>
                <a:lnTo>
                  <a:pt x="14502" y="5110"/>
                </a:lnTo>
                <a:lnTo>
                  <a:pt x="14770" y="5329"/>
                </a:lnTo>
                <a:lnTo>
                  <a:pt x="15038" y="5573"/>
                </a:lnTo>
                <a:lnTo>
                  <a:pt x="14989" y="5621"/>
                </a:lnTo>
                <a:lnTo>
                  <a:pt x="14916" y="5694"/>
                </a:lnTo>
                <a:lnTo>
                  <a:pt x="14916" y="5767"/>
                </a:lnTo>
                <a:lnTo>
                  <a:pt x="14892" y="5792"/>
                </a:lnTo>
                <a:lnTo>
                  <a:pt x="14892" y="5840"/>
                </a:lnTo>
                <a:lnTo>
                  <a:pt x="14940" y="5840"/>
                </a:lnTo>
                <a:lnTo>
                  <a:pt x="14989" y="5865"/>
                </a:lnTo>
                <a:lnTo>
                  <a:pt x="15086" y="5865"/>
                </a:lnTo>
                <a:lnTo>
                  <a:pt x="15159" y="5816"/>
                </a:lnTo>
                <a:lnTo>
                  <a:pt x="15232" y="5767"/>
                </a:lnTo>
                <a:lnTo>
                  <a:pt x="15354" y="5913"/>
                </a:lnTo>
                <a:lnTo>
                  <a:pt x="15257" y="5986"/>
                </a:lnTo>
                <a:lnTo>
                  <a:pt x="15208" y="6059"/>
                </a:lnTo>
                <a:lnTo>
                  <a:pt x="15159" y="6132"/>
                </a:lnTo>
                <a:lnTo>
                  <a:pt x="15184" y="6205"/>
                </a:lnTo>
                <a:lnTo>
                  <a:pt x="15208" y="6254"/>
                </a:lnTo>
                <a:lnTo>
                  <a:pt x="15330" y="6254"/>
                </a:lnTo>
                <a:lnTo>
                  <a:pt x="15427" y="6181"/>
                </a:lnTo>
                <a:lnTo>
                  <a:pt x="15524" y="6132"/>
                </a:lnTo>
                <a:lnTo>
                  <a:pt x="15719" y="6376"/>
                </a:lnTo>
                <a:lnTo>
                  <a:pt x="15695" y="6424"/>
                </a:lnTo>
                <a:lnTo>
                  <a:pt x="15573" y="6546"/>
                </a:lnTo>
                <a:lnTo>
                  <a:pt x="15549" y="6619"/>
                </a:lnTo>
                <a:lnTo>
                  <a:pt x="15524" y="6716"/>
                </a:lnTo>
                <a:lnTo>
                  <a:pt x="15549" y="6765"/>
                </a:lnTo>
                <a:lnTo>
                  <a:pt x="15597" y="6789"/>
                </a:lnTo>
                <a:lnTo>
                  <a:pt x="15768" y="6789"/>
                </a:lnTo>
                <a:lnTo>
                  <a:pt x="15865" y="6741"/>
                </a:lnTo>
                <a:lnTo>
                  <a:pt x="15914" y="6692"/>
                </a:lnTo>
                <a:lnTo>
                  <a:pt x="16060" y="6911"/>
                </a:lnTo>
                <a:lnTo>
                  <a:pt x="15962" y="7008"/>
                </a:lnTo>
                <a:lnTo>
                  <a:pt x="15889" y="7081"/>
                </a:lnTo>
                <a:lnTo>
                  <a:pt x="15841" y="7130"/>
                </a:lnTo>
                <a:lnTo>
                  <a:pt x="15841" y="7203"/>
                </a:lnTo>
                <a:lnTo>
                  <a:pt x="15865" y="7300"/>
                </a:lnTo>
                <a:lnTo>
                  <a:pt x="15914" y="7325"/>
                </a:lnTo>
                <a:lnTo>
                  <a:pt x="15962" y="7349"/>
                </a:lnTo>
                <a:lnTo>
                  <a:pt x="16060" y="7325"/>
                </a:lnTo>
                <a:lnTo>
                  <a:pt x="16157" y="7300"/>
                </a:lnTo>
                <a:lnTo>
                  <a:pt x="16254" y="7227"/>
                </a:lnTo>
                <a:lnTo>
                  <a:pt x="16400" y="7495"/>
                </a:lnTo>
                <a:lnTo>
                  <a:pt x="16327" y="7519"/>
                </a:lnTo>
                <a:lnTo>
                  <a:pt x="16254" y="7544"/>
                </a:lnTo>
                <a:lnTo>
                  <a:pt x="16157" y="7617"/>
                </a:lnTo>
                <a:lnTo>
                  <a:pt x="16060" y="7714"/>
                </a:lnTo>
                <a:lnTo>
                  <a:pt x="15987" y="7811"/>
                </a:lnTo>
                <a:lnTo>
                  <a:pt x="15938" y="7909"/>
                </a:lnTo>
                <a:lnTo>
                  <a:pt x="15938" y="7982"/>
                </a:lnTo>
                <a:lnTo>
                  <a:pt x="15962" y="8030"/>
                </a:lnTo>
                <a:lnTo>
                  <a:pt x="15987" y="8079"/>
                </a:lnTo>
                <a:lnTo>
                  <a:pt x="16060" y="8103"/>
                </a:lnTo>
                <a:lnTo>
                  <a:pt x="16108" y="8079"/>
                </a:lnTo>
                <a:lnTo>
                  <a:pt x="16181" y="8030"/>
                </a:lnTo>
                <a:lnTo>
                  <a:pt x="16303" y="7933"/>
                </a:lnTo>
                <a:lnTo>
                  <a:pt x="16449" y="7836"/>
                </a:lnTo>
                <a:lnTo>
                  <a:pt x="16522" y="7763"/>
                </a:lnTo>
                <a:lnTo>
                  <a:pt x="16692" y="8176"/>
                </a:lnTo>
                <a:lnTo>
                  <a:pt x="16619" y="8201"/>
                </a:lnTo>
                <a:lnTo>
                  <a:pt x="16571" y="8225"/>
                </a:lnTo>
                <a:lnTo>
                  <a:pt x="16473" y="8347"/>
                </a:lnTo>
                <a:lnTo>
                  <a:pt x="16254" y="8541"/>
                </a:lnTo>
                <a:lnTo>
                  <a:pt x="16181" y="8614"/>
                </a:lnTo>
                <a:lnTo>
                  <a:pt x="16108" y="8712"/>
                </a:lnTo>
                <a:lnTo>
                  <a:pt x="16084" y="8760"/>
                </a:lnTo>
                <a:lnTo>
                  <a:pt x="16060" y="8809"/>
                </a:lnTo>
                <a:lnTo>
                  <a:pt x="16060" y="8858"/>
                </a:lnTo>
                <a:lnTo>
                  <a:pt x="16108" y="8906"/>
                </a:lnTo>
                <a:lnTo>
                  <a:pt x="16157" y="8930"/>
                </a:lnTo>
                <a:lnTo>
                  <a:pt x="16206" y="8930"/>
                </a:lnTo>
                <a:lnTo>
                  <a:pt x="16327" y="8882"/>
                </a:lnTo>
                <a:lnTo>
                  <a:pt x="16425" y="8809"/>
                </a:lnTo>
                <a:lnTo>
                  <a:pt x="16522" y="8736"/>
                </a:lnTo>
                <a:lnTo>
                  <a:pt x="16668" y="8614"/>
                </a:lnTo>
                <a:lnTo>
                  <a:pt x="16790" y="8468"/>
                </a:lnTo>
                <a:lnTo>
                  <a:pt x="16887" y="8882"/>
                </a:lnTo>
                <a:lnTo>
                  <a:pt x="16790" y="8930"/>
                </a:lnTo>
                <a:lnTo>
                  <a:pt x="16692" y="8979"/>
                </a:lnTo>
                <a:lnTo>
                  <a:pt x="16498" y="9125"/>
                </a:lnTo>
                <a:lnTo>
                  <a:pt x="16230" y="9271"/>
                </a:lnTo>
                <a:lnTo>
                  <a:pt x="16108" y="9368"/>
                </a:lnTo>
                <a:lnTo>
                  <a:pt x="16011" y="9441"/>
                </a:lnTo>
                <a:lnTo>
                  <a:pt x="16011" y="9490"/>
                </a:lnTo>
                <a:lnTo>
                  <a:pt x="16035" y="9514"/>
                </a:lnTo>
                <a:lnTo>
                  <a:pt x="16181" y="9539"/>
                </a:lnTo>
                <a:lnTo>
                  <a:pt x="16327" y="9514"/>
                </a:lnTo>
                <a:lnTo>
                  <a:pt x="16619" y="9441"/>
                </a:lnTo>
                <a:lnTo>
                  <a:pt x="16790" y="9368"/>
                </a:lnTo>
                <a:lnTo>
                  <a:pt x="16960" y="9271"/>
                </a:lnTo>
                <a:lnTo>
                  <a:pt x="17009" y="9660"/>
                </a:lnTo>
                <a:lnTo>
                  <a:pt x="16522" y="9855"/>
                </a:lnTo>
                <a:lnTo>
                  <a:pt x="16254" y="9977"/>
                </a:lnTo>
                <a:lnTo>
                  <a:pt x="16108" y="10050"/>
                </a:lnTo>
                <a:lnTo>
                  <a:pt x="15987" y="10123"/>
                </a:lnTo>
                <a:lnTo>
                  <a:pt x="15962" y="10171"/>
                </a:lnTo>
                <a:lnTo>
                  <a:pt x="15962" y="10196"/>
                </a:lnTo>
                <a:lnTo>
                  <a:pt x="15987" y="10220"/>
                </a:lnTo>
                <a:lnTo>
                  <a:pt x="16011" y="10244"/>
                </a:lnTo>
                <a:lnTo>
                  <a:pt x="16279" y="10269"/>
                </a:lnTo>
                <a:lnTo>
                  <a:pt x="16522" y="10220"/>
                </a:lnTo>
                <a:lnTo>
                  <a:pt x="16765" y="10147"/>
                </a:lnTo>
                <a:lnTo>
                  <a:pt x="17033" y="10074"/>
                </a:lnTo>
                <a:lnTo>
                  <a:pt x="17009" y="10585"/>
                </a:lnTo>
                <a:lnTo>
                  <a:pt x="16765" y="10585"/>
                </a:lnTo>
                <a:lnTo>
                  <a:pt x="16546" y="10634"/>
                </a:lnTo>
                <a:lnTo>
                  <a:pt x="16108" y="10707"/>
                </a:lnTo>
                <a:lnTo>
                  <a:pt x="15914" y="10780"/>
                </a:lnTo>
                <a:lnTo>
                  <a:pt x="15719" y="10853"/>
                </a:lnTo>
                <a:lnTo>
                  <a:pt x="15695" y="10877"/>
                </a:lnTo>
                <a:lnTo>
                  <a:pt x="15719" y="10901"/>
                </a:lnTo>
                <a:lnTo>
                  <a:pt x="15889" y="10950"/>
                </a:lnTo>
                <a:lnTo>
                  <a:pt x="16060" y="10974"/>
                </a:lnTo>
                <a:lnTo>
                  <a:pt x="16425" y="10950"/>
                </a:lnTo>
                <a:lnTo>
                  <a:pt x="16814" y="10926"/>
                </a:lnTo>
                <a:lnTo>
                  <a:pt x="16984" y="10926"/>
                </a:lnTo>
                <a:lnTo>
                  <a:pt x="16887" y="11412"/>
                </a:lnTo>
                <a:lnTo>
                  <a:pt x="16765" y="11412"/>
                </a:lnTo>
                <a:lnTo>
                  <a:pt x="16619" y="11437"/>
                </a:lnTo>
                <a:lnTo>
                  <a:pt x="16352" y="11485"/>
                </a:lnTo>
                <a:lnTo>
                  <a:pt x="16035" y="11558"/>
                </a:lnTo>
                <a:lnTo>
                  <a:pt x="15889" y="11583"/>
                </a:lnTo>
                <a:lnTo>
                  <a:pt x="15719" y="11607"/>
                </a:lnTo>
                <a:lnTo>
                  <a:pt x="15695" y="11607"/>
                </a:lnTo>
                <a:lnTo>
                  <a:pt x="15670" y="11631"/>
                </a:lnTo>
                <a:lnTo>
                  <a:pt x="15670" y="11656"/>
                </a:lnTo>
                <a:lnTo>
                  <a:pt x="15695" y="11680"/>
                </a:lnTo>
                <a:lnTo>
                  <a:pt x="15962" y="11777"/>
                </a:lnTo>
                <a:lnTo>
                  <a:pt x="16108" y="11826"/>
                </a:lnTo>
                <a:lnTo>
                  <a:pt x="16254" y="11850"/>
                </a:lnTo>
                <a:lnTo>
                  <a:pt x="16522" y="11826"/>
                </a:lnTo>
                <a:lnTo>
                  <a:pt x="16814" y="11802"/>
                </a:lnTo>
                <a:lnTo>
                  <a:pt x="16668" y="12264"/>
                </a:lnTo>
                <a:lnTo>
                  <a:pt x="16498" y="12215"/>
                </a:lnTo>
                <a:lnTo>
                  <a:pt x="16303" y="12191"/>
                </a:lnTo>
                <a:lnTo>
                  <a:pt x="16108" y="12142"/>
                </a:lnTo>
                <a:lnTo>
                  <a:pt x="15914" y="12094"/>
                </a:lnTo>
                <a:lnTo>
                  <a:pt x="15695" y="12094"/>
                </a:lnTo>
                <a:lnTo>
                  <a:pt x="15476" y="12118"/>
                </a:lnTo>
                <a:lnTo>
                  <a:pt x="15451" y="12142"/>
                </a:lnTo>
                <a:lnTo>
                  <a:pt x="15451" y="12167"/>
                </a:lnTo>
                <a:lnTo>
                  <a:pt x="15476" y="12191"/>
                </a:lnTo>
                <a:lnTo>
                  <a:pt x="15646" y="12288"/>
                </a:lnTo>
                <a:lnTo>
                  <a:pt x="15816" y="12386"/>
                </a:lnTo>
                <a:lnTo>
                  <a:pt x="16230" y="12532"/>
                </a:lnTo>
                <a:lnTo>
                  <a:pt x="16546" y="12629"/>
                </a:lnTo>
                <a:lnTo>
                  <a:pt x="16376" y="13018"/>
                </a:lnTo>
                <a:lnTo>
                  <a:pt x="16060" y="12970"/>
                </a:lnTo>
                <a:lnTo>
                  <a:pt x="15743" y="12872"/>
                </a:lnTo>
                <a:lnTo>
                  <a:pt x="15573" y="12824"/>
                </a:lnTo>
                <a:lnTo>
                  <a:pt x="15476" y="12824"/>
                </a:lnTo>
                <a:lnTo>
                  <a:pt x="15451" y="12848"/>
                </a:lnTo>
                <a:lnTo>
                  <a:pt x="15427" y="12897"/>
                </a:lnTo>
                <a:lnTo>
                  <a:pt x="15427" y="12945"/>
                </a:lnTo>
                <a:lnTo>
                  <a:pt x="15451" y="12994"/>
                </a:lnTo>
                <a:lnTo>
                  <a:pt x="15524" y="13091"/>
                </a:lnTo>
                <a:lnTo>
                  <a:pt x="15743" y="13237"/>
                </a:lnTo>
                <a:lnTo>
                  <a:pt x="15938" y="13335"/>
                </a:lnTo>
                <a:lnTo>
                  <a:pt x="16181" y="13408"/>
                </a:lnTo>
                <a:lnTo>
                  <a:pt x="15914" y="13821"/>
                </a:lnTo>
                <a:lnTo>
                  <a:pt x="15865" y="13894"/>
                </a:lnTo>
                <a:lnTo>
                  <a:pt x="15841" y="13870"/>
                </a:lnTo>
                <a:lnTo>
                  <a:pt x="15719" y="13797"/>
                </a:lnTo>
                <a:lnTo>
                  <a:pt x="15597" y="13700"/>
                </a:lnTo>
                <a:lnTo>
                  <a:pt x="15330" y="13578"/>
                </a:lnTo>
                <a:lnTo>
                  <a:pt x="15013" y="13505"/>
                </a:lnTo>
                <a:lnTo>
                  <a:pt x="14721" y="13505"/>
                </a:lnTo>
                <a:lnTo>
                  <a:pt x="14697" y="13529"/>
                </a:lnTo>
                <a:lnTo>
                  <a:pt x="14673" y="13578"/>
                </a:lnTo>
                <a:lnTo>
                  <a:pt x="14697" y="13602"/>
                </a:lnTo>
                <a:lnTo>
                  <a:pt x="14794" y="13651"/>
                </a:lnTo>
                <a:lnTo>
                  <a:pt x="14892" y="13724"/>
                </a:lnTo>
                <a:lnTo>
                  <a:pt x="15111" y="13821"/>
                </a:lnTo>
                <a:lnTo>
                  <a:pt x="15378" y="13967"/>
                </a:lnTo>
                <a:lnTo>
                  <a:pt x="15622" y="14138"/>
                </a:lnTo>
                <a:lnTo>
                  <a:pt x="15670" y="14162"/>
                </a:lnTo>
                <a:lnTo>
                  <a:pt x="15451" y="14405"/>
                </a:lnTo>
                <a:lnTo>
                  <a:pt x="15330" y="14357"/>
                </a:lnTo>
                <a:lnTo>
                  <a:pt x="15208" y="14332"/>
                </a:lnTo>
                <a:lnTo>
                  <a:pt x="15086" y="14332"/>
                </a:lnTo>
                <a:lnTo>
                  <a:pt x="14989" y="14308"/>
                </a:lnTo>
                <a:lnTo>
                  <a:pt x="14794" y="14259"/>
                </a:lnTo>
                <a:lnTo>
                  <a:pt x="14624" y="14186"/>
                </a:lnTo>
                <a:lnTo>
                  <a:pt x="14454" y="14089"/>
                </a:lnTo>
                <a:lnTo>
                  <a:pt x="14308" y="14016"/>
                </a:lnTo>
                <a:lnTo>
                  <a:pt x="14137" y="14016"/>
                </a:lnTo>
                <a:lnTo>
                  <a:pt x="14089" y="14040"/>
                </a:lnTo>
                <a:lnTo>
                  <a:pt x="14064" y="14089"/>
                </a:lnTo>
                <a:lnTo>
                  <a:pt x="14089" y="14162"/>
                </a:lnTo>
                <a:lnTo>
                  <a:pt x="14162" y="14259"/>
                </a:lnTo>
                <a:lnTo>
                  <a:pt x="14308" y="14405"/>
                </a:lnTo>
                <a:lnTo>
                  <a:pt x="14478" y="14527"/>
                </a:lnTo>
                <a:lnTo>
                  <a:pt x="14648" y="14600"/>
                </a:lnTo>
                <a:lnTo>
                  <a:pt x="14843" y="14697"/>
                </a:lnTo>
                <a:lnTo>
                  <a:pt x="14965" y="14746"/>
                </a:lnTo>
                <a:lnTo>
                  <a:pt x="15086" y="14770"/>
                </a:lnTo>
                <a:lnTo>
                  <a:pt x="14819" y="14989"/>
                </a:lnTo>
                <a:lnTo>
                  <a:pt x="14527" y="15208"/>
                </a:lnTo>
                <a:lnTo>
                  <a:pt x="14454" y="15208"/>
                </a:lnTo>
                <a:lnTo>
                  <a:pt x="14332" y="15184"/>
                </a:lnTo>
                <a:lnTo>
                  <a:pt x="14235" y="15111"/>
                </a:lnTo>
                <a:lnTo>
                  <a:pt x="14064" y="14965"/>
                </a:lnTo>
                <a:lnTo>
                  <a:pt x="13918" y="14843"/>
                </a:lnTo>
                <a:lnTo>
                  <a:pt x="13748" y="14722"/>
                </a:lnTo>
                <a:lnTo>
                  <a:pt x="13651" y="14673"/>
                </a:lnTo>
                <a:lnTo>
                  <a:pt x="13578" y="14624"/>
                </a:lnTo>
                <a:lnTo>
                  <a:pt x="13383" y="14624"/>
                </a:lnTo>
                <a:lnTo>
                  <a:pt x="13359" y="14649"/>
                </a:lnTo>
                <a:lnTo>
                  <a:pt x="13359" y="14697"/>
                </a:lnTo>
                <a:lnTo>
                  <a:pt x="13456" y="14868"/>
                </a:lnTo>
                <a:lnTo>
                  <a:pt x="13602" y="15014"/>
                </a:lnTo>
                <a:lnTo>
                  <a:pt x="13894" y="15306"/>
                </a:lnTo>
                <a:lnTo>
                  <a:pt x="13991" y="15403"/>
                </a:lnTo>
                <a:lnTo>
                  <a:pt x="14113" y="15476"/>
                </a:lnTo>
                <a:lnTo>
                  <a:pt x="13748" y="15671"/>
                </a:lnTo>
                <a:lnTo>
                  <a:pt x="13553" y="15598"/>
                </a:lnTo>
                <a:lnTo>
                  <a:pt x="13456" y="15549"/>
                </a:lnTo>
                <a:lnTo>
                  <a:pt x="13359" y="15476"/>
                </a:lnTo>
                <a:lnTo>
                  <a:pt x="13164" y="15306"/>
                </a:lnTo>
                <a:lnTo>
                  <a:pt x="12872" y="15062"/>
                </a:lnTo>
                <a:lnTo>
                  <a:pt x="12726" y="14941"/>
                </a:lnTo>
                <a:lnTo>
                  <a:pt x="12556" y="14843"/>
                </a:lnTo>
                <a:lnTo>
                  <a:pt x="12507" y="14868"/>
                </a:lnTo>
                <a:lnTo>
                  <a:pt x="12483" y="14916"/>
                </a:lnTo>
                <a:lnTo>
                  <a:pt x="12580" y="15135"/>
                </a:lnTo>
                <a:lnTo>
                  <a:pt x="12726" y="15330"/>
                </a:lnTo>
                <a:lnTo>
                  <a:pt x="12896" y="15525"/>
                </a:lnTo>
                <a:lnTo>
                  <a:pt x="13067" y="15695"/>
                </a:lnTo>
                <a:lnTo>
                  <a:pt x="13310" y="15865"/>
                </a:lnTo>
                <a:lnTo>
                  <a:pt x="12702" y="16084"/>
                </a:lnTo>
                <a:lnTo>
                  <a:pt x="12239" y="15719"/>
                </a:lnTo>
                <a:lnTo>
                  <a:pt x="11972" y="15476"/>
                </a:lnTo>
                <a:lnTo>
                  <a:pt x="11826" y="15354"/>
                </a:lnTo>
                <a:lnTo>
                  <a:pt x="11655" y="15257"/>
                </a:lnTo>
                <a:lnTo>
                  <a:pt x="11631" y="15257"/>
                </a:lnTo>
                <a:lnTo>
                  <a:pt x="11607" y="15281"/>
                </a:lnTo>
                <a:lnTo>
                  <a:pt x="11607" y="15354"/>
                </a:lnTo>
                <a:lnTo>
                  <a:pt x="11631" y="15427"/>
                </a:lnTo>
                <a:lnTo>
                  <a:pt x="11704" y="15573"/>
                </a:lnTo>
                <a:lnTo>
                  <a:pt x="11801" y="15719"/>
                </a:lnTo>
                <a:lnTo>
                  <a:pt x="11899" y="15841"/>
                </a:lnTo>
                <a:lnTo>
                  <a:pt x="12093" y="16036"/>
                </a:lnTo>
                <a:lnTo>
                  <a:pt x="12312" y="16206"/>
                </a:lnTo>
                <a:lnTo>
                  <a:pt x="11826" y="16303"/>
                </a:lnTo>
                <a:lnTo>
                  <a:pt x="11801" y="16303"/>
                </a:lnTo>
                <a:lnTo>
                  <a:pt x="11558" y="16036"/>
                </a:lnTo>
                <a:lnTo>
                  <a:pt x="11291" y="15768"/>
                </a:lnTo>
                <a:lnTo>
                  <a:pt x="11169" y="15671"/>
                </a:lnTo>
                <a:lnTo>
                  <a:pt x="11047" y="15573"/>
                </a:lnTo>
                <a:lnTo>
                  <a:pt x="10901" y="15500"/>
                </a:lnTo>
                <a:lnTo>
                  <a:pt x="10828" y="15476"/>
                </a:lnTo>
                <a:lnTo>
                  <a:pt x="10731" y="15476"/>
                </a:lnTo>
                <a:lnTo>
                  <a:pt x="10731" y="15500"/>
                </a:lnTo>
                <a:lnTo>
                  <a:pt x="10780" y="15646"/>
                </a:lnTo>
                <a:lnTo>
                  <a:pt x="10853" y="15768"/>
                </a:lnTo>
                <a:lnTo>
                  <a:pt x="11072" y="15987"/>
                </a:lnTo>
                <a:lnTo>
                  <a:pt x="11437" y="16376"/>
                </a:lnTo>
                <a:lnTo>
                  <a:pt x="11072" y="16425"/>
                </a:lnTo>
                <a:lnTo>
                  <a:pt x="10682" y="16474"/>
                </a:lnTo>
                <a:lnTo>
                  <a:pt x="10682" y="16401"/>
                </a:lnTo>
                <a:lnTo>
                  <a:pt x="10634" y="16328"/>
                </a:lnTo>
                <a:lnTo>
                  <a:pt x="10463" y="16133"/>
                </a:lnTo>
                <a:lnTo>
                  <a:pt x="10269" y="15938"/>
                </a:lnTo>
                <a:lnTo>
                  <a:pt x="10050" y="15768"/>
                </a:lnTo>
                <a:lnTo>
                  <a:pt x="9831" y="15598"/>
                </a:lnTo>
                <a:lnTo>
                  <a:pt x="9806" y="15598"/>
                </a:lnTo>
                <a:lnTo>
                  <a:pt x="9782" y="15622"/>
                </a:lnTo>
                <a:lnTo>
                  <a:pt x="9806" y="15744"/>
                </a:lnTo>
                <a:lnTo>
                  <a:pt x="9855" y="15865"/>
                </a:lnTo>
                <a:lnTo>
                  <a:pt x="9904" y="15987"/>
                </a:lnTo>
                <a:lnTo>
                  <a:pt x="9977" y="16084"/>
                </a:lnTo>
                <a:lnTo>
                  <a:pt x="10123" y="16303"/>
                </a:lnTo>
                <a:lnTo>
                  <a:pt x="10317" y="16474"/>
                </a:lnTo>
                <a:lnTo>
                  <a:pt x="9685" y="16474"/>
                </a:lnTo>
                <a:lnTo>
                  <a:pt x="9612" y="16352"/>
                </a:lnTo>
                <a:lnTo>
                  <a:pt x="9563" y="16255"/>
                </a:lnTo>
                <a:lnTo>
                  <a:pt x="9393" y="16060"/>
                </a:lnTo>
                <a:lnTo>
                  <a:pt x="9222" y="15817"/>
                </a:lnTo>
                <a:lnTo>
                  <a:pt x="9125" y="15695"/>
                </a:lnTo>
                <a:lnTo>
                  <a:pt x="9028" y="15598"/>
                </a:lnTo>
                <a:lnTo>
                  <a:pt x="8979" y="15598"/>
                </a:lnTo>
                <a:lnTo>
                  <a:pt x="8955" y="15622"/>
                </a:lnTo>
                <a:lnTo>
                  <a:pt x="8955" y="15744"/>
                </a:lnTo>
                <a:lnTo>
                  <a:pt x="8979" y="15865"/>
                </a:lnTo>
                <a:lnTo>
                  <a:pt x="9003" y="15987"/>
                </a:lnTo>
                <a:lnTo>
                  <a:pt x="9052" y="16109"/>
                </a:lnTo>
                <a:lnTo>
                  <a:pt x="9247" y="16449"/>
                </a:lnTo>
                <a:lnTo>
                  <a:pt x="9247" y="16449"/>
                </a:lnTo>
                <a:lnTo>
                  <a:pt x="8687" y="16376"/>
                </a:lnTo>
                <a:lnTo>
                  <a:pt x="8614" y="16376"/>
                </a:lnTo>
                <a:lnTo>
                  <a:pt x="8590" y="16328"/>
                </a:lnTo>
                <a:lnTo>
                  <a:pt x="8492" y="16230"/>
                </a:lnTo>
                <a:lnTo>
                  <a:pt x="8419" y="16109"/>
                </a:lnTo>
                <a:lnTo>
                  <a:pt x="8346" y="15841"/>
                </a:lnTo>
                <a:lnTo>
                  <a:pt x="8273" y="15646"/>
                </a:lnTo>
                <a:lnTo>
                  <a:pt x="8200" y="15573"/>
                </a:lnTo>
                <a:lnTo>
                  <a:pt x="8152" y="15549"/>
                </a:lnTo>
                <a:lnTo>
                  <a:pt x="8103" y="15549"/>
                </a:lnTo>
                <a:lnTo>
                  <a:pt x="8079" y="15598"/>
                </a:lnTo>
                <a:lnTo>
                  <a:pt x="8054" y="15646"/>
                </a:lnTo>
                <a:lnTo>
                  <a:pt x="8054" y="15792"/>
                </a:lnTo>
                <a:lnTo>
                  <a:pt x="8079" y="15938"/>
                </a:lnTo>
                <a:lnTo>
                  <a:pt x="8103" y="16060"/>
                </a:lnTo>
                <a:lnTo>
                  <a:pt x="8176" y="16279"/>
                </a:lnTo>
                <a:lnTo>
                  <a:pt x="7762" y="16157"/>
                </a:lnTo>
                <a:lnTo>
                  <a:pt x="7714" y="16084"/>
                </a:lnTo>
                <a:lnTo>
                  <a:pt x="7665" y="15963"/>
                </a:lnTo>
                <a:lnTo>
                  <a:pt x="7592" y="15817"/>
                </a:lnTo>
                <a:lnTo>
                  <a:pt x="7543" y="15695"/>
                </a:lnTo>
                <a:lnTo>
                  <a:pt x="7519" y="15549"/>
                </a:lnTo>
                <a:lnTo>
                  <a:pt x="7495" y="15549"/>
                </a:lnTo>
                <a:lnTo>
                  <a:pt x="7470" y="15671"/>
                </a:lnTo>
                <a:lnTo>
                  <a:pt x="7446" y="15792"/>
                </a:lnTo>
                <a:lnTo>
                  <a:pt x="7446" y="15938"/>
                </a:lnTo>
                <a:lnTo>
                  <a:pt x="7470" y="16060"/>
                </a:lnTo>
                <a:lnTo>
                  <a:pt x="6984" y="15841"/>
                </a:lnTo>
                <a:lnTo>
                  <a:pt x="6984" y="15792"/>
                </a:lnTo>
                <a:lnTo>
                  <a:pt x="6911" y="15646"/>
                </a:lnTo>
                <a:lnTo>
                  <a:pt x="6813" y="15549"/>
                </a:lnTo>
                <a:lnTo>
                  <a:pt x="6789" y="15549"/>
                </a:lnTo>
                <a:lnTo>
                  <a:pt x="6740" y="15622"/>
                </a:lnTo>
                <a:lnTo>
                  <a:pt x="6716" y="15695"/>
                </a:lnTo>
                <a:lnTo>
                  <a:pt x="6375" y="15476"/>
                </a:lnTo>
                <a:lnTo>
                  <a:pt x="6035" y="15233"/>
                </a:lnTo>
                <a:lnTo>
                  <a:pt x="5718" y="14965"/>
                </a:lnTo>
                <a:lnTo>
                  <a:pt x="5451" y="14649"/>
                </a:lnTo>
                <a:lnTo>
                  <a:pt x="5159" y="14284"/>
                </a:lnTo>
                <a:lnTo>
                  <a:pt x="4915" y="13894"/>
                </a:lnTo>
                <a:lnTo>
                  <a:pt x="4696" y="13505"/>
                </a:lnTo>
                <a:lnTo>
                  <a:pt x="4502" y="13091"/>
                </a:lnTo>
                <a:lnTo>
                  <a:pt x="4356" y="12653"/>
                </a:lnTo>
                <a:lnTo>
                  <a:pt x="4234" y="12215"/>
                </a:lnTo>
                <a:lnTo>
                  <a:pt x="4112" y="11777"/>
                </a:lnTo>
                <a:lnTo>
                  <a:pt x="4064" y="11315"/>
                </a:lnTo>
                <a:lnTo>
                  <a:pt x="4015" y="10926"/>
                </a:lnTo>
                <a:lnTo>
                  <a:pt x="3991" y="10561"/>
                </a:lnTo>
                <a:lnTo>
                  <a:pt x="4015" y="10171"/>
                </a:lnTo>
                <a:lnTo>
                  <a:pt x="4039" y="9782"/>
                </a:lnTo>
                <a:lnTo>
                  <a:pt x="4088" y="9393"/>
                </a:lnTo>
                <a:lnTo>
                  <a:pt x="4137" y="9028"/>
                </a:lnTo>
                <a:lnTo>
                  <a:pt x="4234" y="8663"/>
                </a:lnTo>
                <a:lnTo>
                  <a:pt x="4331" y="8274"/>
                </a:lnTo>
                <a:lnTo>
                  <a:pt x="4453" y="7909"/>
                </a:lnTo>
                <a:lnTo>
                  <a:pt x="4599" y="7568"/>
                </a:lnTo>
                <a:lnTo>
                  <a:pt x="4769" y="7227"/>
                </a:lnTo>
                <a:lnTo>
                  <a:pt x="4940" y="6887"/>
                </a:lnTo>
                <a:lnTo>
                  <a:pt x="5134" y="6546"/>
                </a:lnTo>
                <a:lnTo>
                  <a:pt x="5353" y="6230"/>
                </a:lnTo>
                <a:lnTo>
                  <a:pt x="5597" y="5913"/>
                </a:lnTo>
                <a:lnTo>
                  <a:pt x="5840" y="5621"/>
                </a:lnTo>
                <a:lnTo>
                  <a:pt x="6083" y="5354"/>
                </a:lnTo>
                <a:lnTo>
                  <a:pt x="6351" y="5110"/>
                </a:lnTo>
                <a:lnTo>
                  <a:pt x="6643" y="4891"/>
                </a:lnTo>
                <a:lnTo>
                  <a:pt x="6935" y="4721"/>
                </a:lnTo>
                <a:lnTo>
                  <a:pt x="7227" y="4526"/>
                </a:lnTo>
                <a:lnTo>
                  <a:pt x="7543" y="4380"/>
                </a:lnTo>
                <a:lnTo>
                  <a:pt x="8225" y="4088"/>
                </a:lnTo>
                <a:lnTo>
                  <a:pt x="8784" y="3845"/>
                </a:lnTo>
                <a:lnTo>
                  <a:pt x="9368" y="3675"/>
                </a:lnTo>
                <a:lnTo>
                  <a:pt x="9636" y="3602"/>
                </a:lnTo>
                <a:lnTo>
                  <a:pt x="9660" y="3650"/>
                </a:lnTo>
                <a:lnTo>
                  <a:pt x="9685" y="3699"/>
                </a:lnTo>
                <a:lnTo>
                  <a:pt x="9733" y="3723"/>
                </a:lnTo>
                <a:lnTo>
                  <a:pt x="9806" y="3723"/>
                </a:lnTo>
                <a:lnTo>
                  <a:pt x="10171" y="3626"/>
                </a:lnTo>
                <a:lnTo>
                  <a:pt x="10536" y="3577"/>
                </a:lnTo>
                <a:lnTo>
                  <a:pt x="10585" y="3626"/>
                </a:lnTo>
                <a:lnTo>
                  <a:pt x="10634" y="3650"/>
                </a:lnTo>
                <a:lnTo>
                  <a:pt x="10682" y="3626"/>
                </a:lnTo>
                <a:lnTo>
                  <a:pt x="10707" y="3602"/>
                </a:lnTo>
                <a:lnTo>
                  <a:pt x="10731" y="3577"/>
                </a:lnTo>
                <a:close/>
                <a:moveTo>
                  <a:pt x="9977" y="3237"/>
                </a:moveTo>
                <a:lnTo>
                  <a:pt x="9733" y="3261"/>
                </a:lnTo>
                <a:lnTo>
                  <a:pt x="9490" y="3310"/>
                </a:lnTo>
                <a:lnTo>
                  <a:pt x="9028" y="3431"/>
                </a:lnTo>
                <a:lnTo>
                  <a:pt x="8638" y="3577"/>
                </a:lnTo>
                <a:lnTo>
                  <a:pt x="7957" y="3821"/>
                </a:lnTo>
                <a:lnTo>
                  <a:pt x="7324" y="4113"/>
                </a:lnTo>
                <a:lnTo>
                  <a:pt x="7008" y="4283"/>
                </a:lnTo>
                <a:lnTo>
                  <a:pt x="6692" y="4453"/>
                </a:lnTo>
                <a:lnTo>
                  <a:pt x="6400" y="4648"/>
                </a:lnTo>
                <a:lnTo>
                  <a:pt x="6108" y="4867"/>
                </a:lnTo>
                <a:lnTo>
                  <a:pt x="5791" y="5159"/>
                </a:lnTo>
                <a:lnTo>
                  <a:pt x="5499" y="5451"/>
                </a:lnTo>
                <a:lnTo>
                  <a:pt x="5232" y="5767"/>
                </a:lnTo>
                <a:lnTo>
                  <a:pt x="4988" y="6108"/>
                </a:lnTo>
                <a:lnTo>
                  <a:pt x="4745" y="6473"/>
                </a:lnTo>
                <a:lnTo>
                  <a:pt x="4526" y="6838"/>
                </a:lnTo>
                <a:lnTo>
                  <a:pt x="4356" y="7203"/>
                </a:lnTo>
                <a:lnTo>
                  <a:pt x="4185" y="7592"/>
                </a:lnTo>
                <a:lnTo>
                  <a:pt x="4039" y="8006"/>
                </a:lnTo>
                <a:lnTo>
                  <a:pt x="3918" y="8420"/>
                </a:lnTo>
                <a:lnTo>
                  <a:pt x="3796" y="8833"/>
                </a:lnTo>
                <a:lnTo>
                  <a:pt x="3723" y="9247"/>
                </a:lnTo>
                <a:lnTo>
                  <a:pt x="3674" y="9660"/>
                </a:lnTo>
                <a:lnTo>
                  <a:pt x="3626" y="10074"/>
                </a:lnTo>
                <a:lnTo>
                  <a:pt x="3626" y="10488"/>
                </a:lnTo>
                <a:lnTo>
                  <a:pt x="3626" y="10901"/>
                </a:lnTo>
                <a:lnTo>
                  <a:pt x="3650" y="11315"/>
                </a:lnTo>
                <a:lnTo>
                  <a:pt x="3699" y="11704"/>
                </a:lnTo>
                <a:lnTo>
                  <a:pt x="3772" y="12094"/>
                </a:lnTo>
                <a:lnTo>
                  <a:pt x="3869" y="12483"/>
                </a:lnTo>
                <a:lnTo>
                  <a:pt x="3991" y="12872"/>
                </a:lnTo>
                <a:lnTo>
                  <a:pt x="4137" y="13262"/>
                </a:lnTo>
                <a:lnTo>
                  <a:pt x="4307" y="13627"/>
                </a:lnTo>
                <a:lnTo>
                  <a:pt x="4477" y="13967"/>
                </a:lnTo>
                <a:lnTo>
                  <a:pt x="4696" y="14332"/>
                </a:lnTo>
                <a:lnTo>
                  <a:pt x="4915" y="14649"/>
                </a:lnTo>
                <a:lnTo>
                  <a:pt x="5183" y="14965"/>
                </a:lnTo>
                <a:lnTo>
                  <a:pt x="5451" y="15257"/>
                </a:lnTo>
                <a:lnTo>
                  <a:pt x="5743" y="15525"/>
                </a:lnTo>
                <a:lnTo>
                  <a:pt x="6035" y="15768"/>
                </a:lnTo>
                <a:lnTo>
                  <a:pt x="6375" y="15987"/>
                </a:lnTo>
                <a:lnTo>
                  <a:pt x="6716" y="16182"/>
                </a:lnTo>
                <a:lnTo>
                  <a:pt x="6765" y="16230"/>
                </a:lnTo>
                <a:lnTo>
                  <a:pt x="6838" y="16230"/>
                </a:lnTo>
                <a:lnTo>
                  <a:pt x="6862" y="16255"/>
                </a:lnTo>
                <a:lnTo>
                  <a:pt x="7276" y="16425"/>
                </a:lnTo>
                <a:lnTo>
                  <a:pt x="7738" y="16595"/>
                </a:lnTo>
                <a:lnTo>
                  <a:pt x="8176" y="16717"/>
                </a:lnTo>
                <a:lnTo>
                  <a:pt x="8638" y="16814"/>
                </a:lnTo>
                <a:lnTo>
                  <a:pt x="9101" y="16887"/>
                </a:lnTo>
                <a:lnTo>
                  <a:pt x="9563" y="16936"/>
                </a:lnTo>
                <a:lnTo>
                  <a:pt x="10025" y="16960"/>
                </a:lnTo>
                <a:lnTo>
                  <a:pt x="10488" y="16936"/>
                </a:lnTo>
                <a:lnTo>
                  <a:pt x="10974" y="16912"/>
                </a:lnTo>
                <a:lnTo>
                  <a:pt x="11437" y="16839"/>
                </a:lnTo>
                <a:lnTo>
                  <a:pt x="11899" y="16766"/>
                </a:lnTo>
                <a:lnTo>
                  <a:pt x="12337" y="16644"/>
                </a:lnTo>
                <a:lnTo>
                  <a:pt x="12799" y="16522"/>
                </a:lnTo>
                <a:lnTo>
                  <a:pt x="13237" y="16352"/>
                </a:lnTo>
                <a:lnTo>
                  <a:pt x="13675" y="16182"/>
                </a:lnTo>
                <a:lnTo>
                  <a:pt x="14089" y="15963"/>
                </a:lnTo>
                <a:lnTo>
                  <a:pt x="14575" y="15671"/>
                </a:lnTo>
                <a:lnTo>
                  <a:pt x="15038" y="15354"/>
                </a:lnTo>
                <a:lnTo>
                  <a:pt x="15451" y="15014"/>
                </a:lnTo>
                <a:lnTo>
                  <a:pt x="15816" y="14624"/>
                </a:lnTo>
                <a:lnTo>
                  <a:pt x="16157" y="14186"/>
                </a:lnTo>
                <a:lnTo>
                  <a:pt x="16473" y="13748"/>
                </a:lnTo>
                <a:lnTo>
                  <a:pt x="16741" y="13286"/>
                </a:lnTo>
                <a:lnTo>
                  <a:pt x="16960" y="12799"/>
                </a:lnTo>
                <a:lnTo>
                  <a:pt x="17155" y="12288"/>
                </a:lnTo>
                <a:lnTo>
                  <a:pt x="17301" y="11777"/>
                </a:lnTo>
                <a:lnTo>
                  <a:pt x="17398" y="11242"/>
                </a:lnTo>
                <a:lnTo>
                  <a:pt x="17447" y="10707"/>
                </a:lnTo>
                <a:lnTo>
                  <a:pt x="17471" y="10147"/>
                </a:lnTo>
                <a:lnTo>
                  <a:pt x="17447" y="9587"/>
                </a:lnTo>
                <a:lnTo>
                  <a:pt x="17374" y="9052"/>
                </a:lnTo>
                <a:lnTo>
                  <a:pt x="17276" y="8493"/>
                </a:lnTo>
                <a:lnTo>
                  <a:pt x="17106" y="7957"/>
                </a:lnTo>
                <a:lnTo>
                  <a:pt x="16887" y="7422"/>
                </a:lnTo>
                <a:lnTo>
                  <a:pt x="16619" y="6911"/>
                </a:lnTo>
                <a:lnTo>
                  <a:pt x="16327" y="6400"/>
                </a:lnTo>
                <a:lnTo>
                  <a:pt x="15987" y="5938"/>
                </a:lnTo>
                <a:lnTo>
                  <a:pt x="15597" y="5500"/>
                </a:lnTo>
                <a:lnTo>
                  <a:pt x="15184" y="5110"/>
                </a:lnTo>
                <a:lnTo>
                  <a:pt x="14746" y="4745"/>
                </a:lnTo>
                <a:lnTo>
                  <a:pt x="14502" y="4551"/>
                </a:lnTo>
                <a:lnTo>
                  <a:pt x="14235" y="4380"/>
                </a:lnTo>
                <a:lnTo>
                  <a:pt x="13651" y="4088"/>
                </a:lnTo>
                <a:lnTo>
                  <a:pt x="13067" y="3796"/>
                </a:lnTo>
                <a:lnTo>
                  <a:pt x="12483" y="3577"/>
                </a:lnTo>
                <a:lnTo>
                  <a:pt x="11996" y="3431"/>
                </a:lnTo>
                <a:lnTo>
                  <a:pt x="11461" y="3334"/>
                </a:lnTo>
                <a:lnTo>
                  <a:pt x="11218" y="3285"/>
                </a:lnTo>
                <a:lnTo>
                  <a:pt x="10415" y="3285"/>
                </a:lnTo>
                <a:lnTo>
                  <a:pt x="10196" y="3237"/>
                </a:lnTo>
                <a:close/>
                <a:moveTo>
                  <a:pt x="13675" y="16912"/>
                </a:moveTo>
                <a:lnTo>
                  <a:pt x="13626" y="16936"/>
                </a:lnTo>
                <a:lnTo>
                  <a:pt x="13578" y="16984"/>
                </a:lnTo>
                <a:lnTo>
                  <a:pt x="13553" y="17057"/>
                </a:lnTo>
                <a:lnTo>
                  <a:pt x="13553" y="17106"/>
                </a:lnTo>
                <a:lnTo>
                  <a:pt x="13578" y="17252"/>
                </a:lnTo>
                <a:lnTo>
                  <a:pt x="13724" y="17495"/>
                </a:lnTo>
                <a:lnTo>
                  <a:pt x="13772" y="17666"/>
                </a:lnTo>
                <a:lnTo>
                  <a:pt x="13870" y="17812"/>
                </a:lnTo>
                <a:lnTo>
                  <a:pt x="13943" y="17885"/>
                </a:lnTo>
                <a:lnTo>
                  <a:pt x="13991" y="17958"/>
                </a:lnTo>
                <a:lnTo>
                  <a:pt x="14089" y="17982"/>
                </a:lnTo>
                <a:lnTo>
                  <a:pt x="14162" y="18006"/>
                </a:lnTo>
                <a:lnTo>
                  <a:pt x="14210" y="17982"/>
                </a:lnTo>
                <a:lnTo>
                  <a:pt x="14259" y="17958"/>
                </a:lnTo>
                <a:lnTo>
                  <a:pt x="14332" y="17885"/>
                </a:lnTo>
                <a:lnTo>
                  <a:pt x="14356" y="17787"/>
                </a:lnTo>
                <a:lnTo>
                  <a:pt x="14356" y="17739"/>
                </a:lnTo>
                <a:lnTo>
                  <a:pt x="14332" y="17690"/>
                </a:lnTo>
                <a:lnTo>
                  <a:pt x="14259" y="17593"/>
                </a:lnTo>
                <a:lnTo>
                  <a:pt x="14162" y="17495"/>
                </a:lnTo>
                <a:lnTo>
                  <a:pt x="13991" y="17228"/>
                </a:lnTo>
                <a:lnTo>
                  <a:pt x="13918" y="17082"/>
                </a:lnTo>
                <a:lnTo>
                  <a:pt x="13870" y="17033"/>
                </a:lnTo>
                <a:lnTo>
                  <a:pt x="13821" y="16960"/>
                </a:lnTo>
                <a:lnTo>
                  <a:pt x="13748" y="16936"/>
                </a:lnTo>
                <a:lnTo>
                  <a:pt x="13675" y="16912"/>
                </a:lnTo>
                <a:close/>
                <a:moveTo>
                  <a:pt x="7008" y="17009"/>
                </a:moveTo>
                <a:lnTo>
                  <a:pt x="6911" y="17057"/>
                </a:lnTo>
                <a:lnTo>
                  <a:pt x="6813" y="17155"/>
                </a:lnTo>
                <a:lnTo>
                  <a:pt x="6716" y="17374"/>
                </a:lnTo>
                <a:lnTo>
                  <a:pt x="6570" y="17666"/>
                </a:lnTo>
                <a:lnTo>
                  <a:pt x="6521" y="17812"/>
                </a:lnTo>
                <a:lnTo>
                  <a:pt x="6497" y="17885"/>
                </a:lnTo>
                <a:lnTo>
                  <a:pt x="6521" y="17958"/>
                </a:lnTo>
                <a:lnTo>
                  <a:pt x="6546" y="18006"/>
                </a:lnTo>
                <a:lnTo>
                  <a:pt x="6594" y="18055"/>
                </a:lnTo>
                <a:lnTo>
                  <a:pt x="6667" y="18079"/>
                </a:lnTo>
                <a:lnTo>
                  <a:pt x="6740" y="18079"/>
                </a:lnTo>
                <a:lnTo>
                  <a:pt x="6789" y="18055"/>
                </a:lnTo>
                <a:lnTo>
                  <a:pt x="6862" y="18006"/>
                </a:lnTo>
                <a:lnTo>
                  <a:pt x="6935" y="17885"/>
                </a:lnTo>
                <a:lnTo>
                  <a:pt x="7008" y="17739"/>
                </a:lnTo>
                <a:lnTo>
                  <a:pt x="7057" y="17593"/>
                </a:lnTo>
                <a:lnTo>
                  <a:pt x="7154" y="17349"/>
                </a:lnTo>
                <a:lnTo>
                  <a:pt x="7178" y="17228"/>
                </a:lnTo>
                <a:lnTo>
                  <a:pt x="7178" y="17106"/>
                </a:lnTo>
                <a:lnTo>
                  <a:pt x="7154" y="17057"/>
                </a:lnTo>
                <a:lnTo>
                  <a:pt x="7105" y="17033"/>
                </a:lnTo>
                <a:lnTo>
                  <a:pt x="7057" y="17009"/>
                </a:lnTo>
                <a:close/>
                <a:moveTo>
                  <a:pt x="5694" y="16328"/>
                </a:moveTo>
                <a:lnTo>
                  <a:pt x="5597" y="16352"/>
                </a:lnTo>
                <a:lnTo>
                  <a:pt x="5524" y="16425"/>
                </a:lnTo>
                <a:lnTo>
                  <a:pt x="5159" y="16887"/>
                </a:lnTo>
                <a:lnTo>
                  <a:pt x="4745" y="17349"/>
                </a:lnTo>
                <a:lnTo>
                  <a:pt x="4307" y="17787"/>
                </a:lnTo>
                <a:lnTo>
                  <a:pt x="3869" y="18225"/>
                </a:lnTo>
                <a:lnTo>
                  <a:pt x="3820" y="18250"/>
                </a:lnTo>
                <a:lnTo>
                  <a:pt x="3820" y="18298"/>
                </a:lnTo>
                <a:lnTo>
                  <a:pt x="3820" y="18347"/>
                </a:lnTo>
                <a:lnTo>
                  <a:pt x="3845" y="18396"/>
                </a:lnTo>
                <a:lnTo>
                  <a:pt x="3893" y="18444"/>
                </a:lnTo>
                <a:lnTo>
                  <a:pt x="3942" y="18469"/>
                </a:lnTo>
                <a:lnTo>
                  <a:pt x="3991" y="18469"/>
                </a:lnTo>
                <a:lnTo>
                  <a:pt x="4161" y="18420"/>
                </a:lnTo>
                <a:lnTo>
                  <a:pt x="4283" y="18347"/>
                </a:lnTo>
                <a:lnTo>
                  <a:pt x="4429" y="18250"/>
                </a:lnTo>
                <a:lnTo>
                  <a:pt x="4550" y="18152"/>
                </a:lnTo>
                <a:lnTo>
                  <a:pt x="4794" y="17909"/>
                </a:lnTo>
                <a:lnTo>
                  <a:pt x="5013" y="17690"/>
                </a:lnTo>
                <a:lnTo>
                  <a:pt x="5499" y="17203"/>
                </a:lnTo>
                <a:lnTo>
                  <a:pt x="5718" y="16936"/>
                </a:lnTo>
                <a:lnTo>
                  <a:pt x="5937" y="16668"/>
                </a:lnTo>
                <a:lnTo>
                  <a:pt x="5986" y="16571"/>
                </a:lnTo>
                <a:lnTo>
                  <a:pt x="5962" y="16498"/>
                </a:lnTo>
                <a:lnTo>
                  <a:pt x="5937" y="16425"/>
                </a:lnTo>
                <a:lnTo>
                  <a:pt x="5864" y="16376"/>
                </a:lnTo>
                <a:lnTo>
                  <a:pt x="5791" y="16328"/>
                </a:lnTo>
                <a:close/>
                <a:moveTo>
                  <a:pt x="15013" y="15987"/>
                </a:moveTo>
                <a:lnTo>
                  <a:pt x="14965" y="16011"/>
                </a:lnTo>
                <a:lnTo>
                  <a:pt x="14940" y="16084"/>
                </a:lnTo>
                <a:lnTo>
                  <a:pt x="14940" y="16133"/>
                </a:lnTo>
                <a:lnTo>
                  <a:pt x="14989" y="16303"/>
                </a:lnTo>
                <a:lnTo>
                  <a:pt x="15038" y="16449"/>
                </a:lnTo>
                <a:lnTo>
                  <a:pt x="15208" y="16717"/>
                </a:lnTo>
                <a:lnTo>
                  <a:pt x="15427" y="17082"/>
                </a:lnTo>
                <a:lnTo>
                  <a:pt x="15524" y="17252"/>
                </a:lnTo>
                <a:lnTo>
                  <a:pt x="15646" y="17422"/>
                </a:lnTo>
                <a:lnTo>
                  <a:pt x="16108" y="17933"/>
                </a:lnTo>
                <a:lnTo>
                  <a:pt x="16327" y="18225"/>
                </a:lnTo>
                <a:lnTo>
                  <a:pt x="16400" y="18371"/>
                </a:lnTo>
                <a:lnTo>
                  <a:pt x="16473" y="18517"/>
                </a:lnTo>
                <a:lnTo>
                  <a:pt x="16522" y="18590"/>
                </a:lnTo>
                <a:lnTo>
                  <a:pt x="16595" y="18639"/>
                </a:lnTo>
                <a:lnTo>
                  <a:pt x="16668" y="18688"/>
                </a:lnTo>
                <a:lnTo>
                  <a:pt x="16765" y="18688"/>
                </a:lnTo>
                <a:lnTo>
                  <a:pt x="16838" y="18663"/>
                </a:lnTo>
                <a:lnTo>
                  <a:pt x="16887" y="18615"/>
                </a:lnTo>
                <a:lnTo>
                  <a:pt x="16936" y="18566"/>
                </a:lnTo>
                <a:lnTo>
                  <a:pt x="16936" y="18469"/>
                </a:lnTo>
                <a:lnTo>
                  <a:pt x="16911" y="18298"/>
                </a:lnTo>
                <a:lnTo>
                  <a:pt x="16838" y="18128"/>
                </a:lnTo>
                <a:lnTo>
                  <a:pt x="16765" y="17982"/>
                </a:lnTo>
                <a:lnTo>
                  <a:pt x="16668" y="17836"/>
                </a:lnTo>
                <a:lnTo>
                  <a:pt x="16449" y="17568"/>
                </a:lnTo>
                <a:lnTo>
                  <a:pt x="16206" y="17325"/>
                </a:lnTo>
                <a:lnTo>
                  <a:pt x="16060" y="17155"/>
                </a:lnTo>
                <a:lnTo>
                  <a:pt x="15938" y="16984"/>
                </a:lnTo>
                <a:lnTo>
                  <a:pt x="15695" y="16595"/>
                </a:lnTo>
                <a:lnTo>
                  <a:pt x="15573" y="16401"/>
                </a:lnTo>
                <a:lnTo>
                  <a:pt x="15427" y="16230"/>
                </a:lnTo>
                <a:lnTo>
                  <a:pt x="15281" y="16109"/>
                </a:lnTo>
                <a:lnTo>
                  <a:pt x="15086" y="15987"/>
                </a:lnTo>
                <a:close/>
                <a:moveTo>
                  <a:pt x="10439" y="17666"/>
                </a:moveTo>
                <a:lnTo>
                  <a:pt x="10342" y="17787"/>
                </a:lnTo>
                <a:lnTo>
                  <a:pt x="10293" y="17909"/>
                </a:lnTo>
                <a:lnTo>
                  <a:pt x="10244" y="18055"/>
                </a:lnTo>
                <a:lnTo>
                  <a:pt x="10244" y="18201"/>
                </a:lnTo>
                <a:lnTo>
                  <a:pt x="10196" y="18517"/>
                </a:lnTo>
                <a:lnTo>
                  <a:pt x="10196" y="18688"/>
                </a:lnTo>
                <a:lnTo>
                  <a:pt x="10244" y="18834"/>
                </a:lnTo>
                <a:lnTo>
                  <a:pt x="10293" y="18882"/>
                </a:lnTo>
                <a:lnTo>
                  <a:pt x="10342" y="18907"/>
                </a:lnTo>
                <a:lnTo>
                  <a:pt x="10415" y="18882"/>
                </a:lnTo>
                <a:lnTo>
                  <a:pt x="10463" y="18858"/>
                </a:lnTo>
                <a:lnTo>
                  <a:pt x="10512" y="18809"/>
                </a:lnTo>
                <a:lnTo>
                  <a:pt x="10561" y="18736"/>
                </a:lnTo>
                <a:lnTo>
                  <a:pt x="10585" y="18615"/>
                </a:lnTo>
                <a:lnTo>
                  <a:pt x="10585" y="18323"/>
                </a:lnTo>
                <a:lnTo>
                  <a:pt x="10609" y="18031"/>
                </a:lnTo>
                <a:lnTo>
                  <a:pt x="10609" y="17885"/>
                </a:lnTo>
                <a:lnTo>
                  <a:pt x="10585" y="17739"/>
                </a:lnTo>
                <a:lnTo>
                  <a:pt x="10561" y="17690"/>
                </a:lnTo>
                <a:lnTo>
                  <a:pt x="10536" y="17666"/>
                </a:lnTo>
                <a:close/>
                <a:moveTo>
                  <a:pt x="8638" y="17349"/>
                </a:moveTo>
                <a:lnTo>
                  <a:pt x="8492" y="17471"/>
                </a:lnTo>
                <a:lnTo>
                  <a:pt x="8395" y="17593"/>
                </a:lnTo>
                <a:lnTo>
                  <a:pt x="8322" y="17739"/>
                </a:lnTo>
                <a:lnTo>
                  <a:pt x="8249" y="17909"/>
                </a:lnTo>
                <a:lnTo>
                  <a:pt x="8176" y="18250"/>
                </a:lnTo>
                <a:lnTo>
                  <a:pt x="8103" y="18590"/>
                </a:lnTo>
                <a:lnTo>
                  <a:pt x="7908" y="19369"/>
                </a:lnTo>
                <a:lnTo>
                  <a:pt x="7860" y="19758"/>
                </a:lnTo>
                <a:lnTo>
                  <a:pt x="7835" y="19953"/>
                </a:lnTo>
                <a:lnTo>
                  <a:pt x="7835" y="20148"/>
                </a:lnTo>
                <a:lnTo>
                  <a:pt x="7860" y="20221"/>
                </a:lnTo>
                <a:lnTo>
                  <a:pt x="7908" y="20269"/>
                </a:lnTo>
                <a:lnTo>
                  <a:pt x="7933" y="20318"/>
                </a:lnTo>
                <a:lnTo>
                  <a:pt x="8006" y="20342"/>
                </a:lnTo>
                <a:lnTo>
                  <a:pt x="8103" y="20342"/>
                </a:lnTo>
                <a:lnTo>
                  <a:pt x="8176" y="20318"/>
                </a:lnTo>
                <a:lnTo>
                  <a:pt x="8200" y="20245"/>
                </a:lnTo>
                <a:lnTo>
                  <a:pt x="8273" y="20099"/>
                </a:lnTo>
                <a:lnTo>
                  <a:pt x="8346" y="19929"/>
                </a:lnTo>
                <a:lnTo>
                  <a:pt x="8419" y="19588"/>
                </a:lnTo>
                <a:lnTo>
                  <a:pt x="8517" y="18882"/>
                </a:lnTo>
                <a:lnTo>
                  <a:pt x="8614" y="18517"/>
                </a:lnTo>
                <a:lnTo>
                  <a:pt x="8711" y="18152"/>
                </a:lnTo>
                <a:lnTo>
                  <a:pt x="8760" y="17958"/>
                </a:lnTo>
                <a:lnTo>
                  <a:pt x="8784" y="17763"/>
                </a:lnTo>
                <a:lnTo>
                  <a:pt x="8784" y="17593"/>
                </a:lnTo>
                <a:lnTo>
                  <a:pt x="8784" y="17422"/>
                </a:lnTo>
                <a:lnTo>
                  <a:pt x="8760" y="17374"/>
                </a:lnTo>
                <a:lnTo>
                  <a:pt x="8711" y="17349"/>
                </a:lnTo>
                <a:close/>
                <a:moveTo>
                  <a:pt x="12093" y="17374"/>
                </a:moveTo>
                <a:lnTo>
                  <a:pt x="12045" y="17398"/>
                </a:lnTo>
                <a:lnTo>
                  <a:pt x="11996" y="17398"/>
                </a:lnTo>
                <a:lnTo>
                  <a:pt x="11947" y="17447"/>
                </a:lnTo>
                <a:lnTo>
                  <a:pt x="11923" y="17495"/>
                </a:lnTo>
                <a:lnTo>
                  <a:pt x="11923" y="17544"/>
                </a:lnTo>
                <a:lnTo>
                  <a:pt x="11947" y="17836"/>
                </a:lnTo>
                <a:lnTo>
                  <a:pt x="11972" y="18152"/>
                </a:lnTo>
                <a:lnTo>
                  <a:pt x="12093" y="18761"/>
                </a:lnTo>
                <a:lnTo>
                  <a:pt x="12166" y="19199"/>
                </a:lnTo>
                <a:lnTo>
                  <a:pt x="12215" y="19661"/>
                </a:lnTo>
                <a:lnTo>
                  <a:pt x="12239" y="19904"/>
                </a:lnTo>
                <a:lnTo>
                  <a:pt x="12288" y="20123"/>
                </a:lnTo>
                <a:lnTo>
                  <a:pt x="12337" y="20342"/>
                </a:lnTo>
                <a:lnTo>
                  <a:pt x="12434" y="20561"/>
                </a:lnTo>
                <a:lnTo>
                  <a:pt x="12483" y="20610"/>
                </a:lnTo>
                <a:lnTo>
                  <a:pt x="12556" y="20659"/>
                </a:lnTo>
                <a:lnTo>
                  <a:pt x="12629" y="20659"/>
                </a:lnTo>
                <a:lnTo>
                  <a:pt x="12702" y="20634"/>
                </a:lnTo>
                <a:lnTo>
                  <a:pt x="12775" y="20610"/>
                </a:lnTo>
                <a:lnTo>
                  <a:pt x="12823" y="20537"/>
                </a:lnTo>
                <a:lnTo>
                  <a:pt x="12848" y="20464"/>
                </a:lnTo>
                <a:lnTo>
                  <a:pt x="12848" y="20391"/>
                </a:lnTo>
                <a:lnTo>
                  <a:pt x="12750" y="19953"/>
                </a:lnTo>
                <a:lnTo>
                  <a:pt x="12702" y="19491"/>
                </a:lnTo>
                <a:lnTo>
                  <a:pt x="12629" y="19053"/>
                </a:lnTo>
                <a:lnTo>
                  <a:pt x="12556" y="18639"/>
                </a:lnTo>
                <a:lnTo>
                  <a:pt x="12483" y="18323"/>
                </a:lnTo>
                <a:lnTo>
                  <a:pt x="12434" y="18031"/>
                </a:lnTo>
                <a:lnTo>
                  <a:pt x="12361" y="17739"/>
                </a:lnTo>
                <a:lnTo>
                  <a:pt x="12288" y="17593"/>
                </a:lnTo>
                <a:lnTo>
                  <a:pt x="12239" y="17471"/>
                </a:lnTo>
                <a:lnTo>
                  <a:pt x="12191" y="17422"/>
                </a:lnTo>
                <a:lnTo>
                  <a:pt x="12142" y="17398"/>
                </a:lnTo>
                <a:lnTo>
                  <a:pt x="12093" y="17374"/>
                </a:lnTo>
                <a:close/>
              </a:path>
            </a:pathLst>
          </a:custGeom>
          <a:solidFill>
            <a:srgbClr val="FFFF0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" name="Google Shape;465;p40"/>
          <p:cNvSpPr/>
          <p:nvPr/>
        </p:nvSpPr>
        <p:spPr>
          <a:xfrm>
            <a:off x="8566638" y="2454442"/>
            <a:ext cx="1501388" cy="844273"/>
          </a:xfrm>
          <a:custGeom>
            <a:avLst/>
            <a:gdLst/>
            <a:ahLst/>
            <a:cxnLst/>
            <a:rect l="l" t="t" r="r" b="b"/>
            <a:pathLst>
              <a:path w="19978" h="12216" extrusionOk="0">
                <a:moveTo>
                  <a:pt x="8128" y="560"/>
                </a:moveTo>
                <a:lnTo>
                  <a:pt x="8517" y="609"/>
                </a:lnTo>
                <a:lnTo>
                  <a:pt x="8055" y="925"/>
                </a:lnTo>
                <a:lnTo>
                  <a:pt x="7617" y="1193"/>
                </a:lnTo>
                <a:lnTo>
                  <a:pt x="7422" y="1339"/>
                </a:lnTo>
                <a:lnTo>
                  <a:pt x="7325" y="1436"/>
                </a:lnTo>
                <a:lnTo>
                  <a:pt x="7252" y="1534"/>
                </a:lnTo>
                <a:lnTo>
                  <a:pt x="7252" y="1582"/>
                </a:lnTo>
                <a:lnTo>
                  <a:pt x="7252" y="1655"/>
                </a:lnTo>
                <a:lnTo>
                  <a:pt x="7300" y="1680"/>
                </a:lnTo>
                <a:lnTo>
                  <a:pt x="7349" y="1704"/>
                </a:lnTo>
                <a:lnTo>
                  <a:pt x="7471" y="1704"/>
                </a:lnTo>
                <a:lnTo>
                  <a:pt x="7592" y="1680"/>
                </a:lnTo>
                <a:lnTo>
                  <a:pt x="7836" y="1582"/>
                </a:lnTo>
                <a:lnTo>
                  <a:pt x="8055" y="1436"/>
                </a:lnTo>
                <a:lnTo>
                  <a:pt x="8274" y="1315"/>
                </a:lnTo>
                <a:lnTo>
                  <a:pt x="8711" y="1023"/>
                </a:lnTo>
                <a:lnTo>
                  <a:pt x="9149" y="731"/>
                </a:lnTo>
                <a:lnTo>
                  <a:pt x="9393" y="828"/>
                </a:lnTo>
                <a:lnTo>
                  <a:pt x="9660" y="925"/>
                </a:lnTo>
                <a:lnTo>
                  <a:pt x="9320" y="1071"/>
                </a:lnTo>
                <a:lnTo>
                  <a:pt x="9003" y="1217"/>
                </a:lnTo>
                <a:lnTo>
                  <a:pt x="8736" y="1339"/>
                </a:lnTo>
                <a:lnTo>
                  <a:pt x="8492" y="1509"/>
                </a:lnTo>
                <a:lnTo>
                  <a:pt x="8371" y="1607"/>
                </a:lnTo>
                <a:lnTo>
                  <a:pt x="8274" y="1728"/>
                </a:lnTo>
                <a:lnTo>
                  <a:pt x="8201" y="1850"/>
                </a:lnTo>
                <a:lnTo>
                  <a:pt x="8152" y="1996"/>
                </a:lnTo>
                <a:lnTo>
                  <a:pt x="8152" y="2045"/>
                </a:lnTo>
                <a:lnTo>
                  <a:pt x="8176" y="2045"/>
                </a:lnTo>
                <a:lnTo>
                  <a:pt x="8201" y="2069"/>
                </a:lnTo>
                <a:lnTo>
                  <a:pt x="8225" y="2069"/>
                </a:lnTo>
                <a:lnTo>
                  <a:pt x="8492" y="1947"/>
                </a:lnTo>
                <a:lnTo>
                  <a:pt x="8711" y="1801"/>
                </a:lnTo>
                <a:lnTo>
                  <a:pt x="8955" y="1680"/>
                </a:lnTo>
                <a:lnTo>
                  <a:pt x="9198" y="1558"/>
                </a:lnTo>
                <a:lnTo>
                  <a:pt x="9417" y="1485"/>
                </a:lnTo>
                <a:lnTo>
                  <a:pt x="9660" y="1412"/>
                </a:lnTo>
                <a:lnTo>
                  <a:pt x="9904" y="1339"/>
                </a:lnTo>
                <a:lnTo>
                  <a:pt x="10123" y="1266"/>
                </a:lnTo>
                <a:lnTo>
                  <a:pt x="10463" y="1558"/>
                </a:lnTo>
                <a:lnTo>
                  <a:pt x="10269" y="1582"/>
                </a:lnTo>
                <a:lnTo>
                  <a:pt x="10050" y="1631"/>
                </a:lnTo>
                <a:lnTo>
                  <a:pt x="9660" y="1777"/>
                </a:lnTo>
                <a:lnTo>
                  <a:pt x="9490" y="1874"/>
                </a:lnTo>
                <a:lnTo>
                  <a:pt x="9295" y="1947"/>
                </a:lnTo>
                <a:lnTo>
                  <a:pt x="9101" y="2045"/>
                </a:lnTo>
                <a:lnTo>
                  <a:pt x="8955" y="2191"/>
                </a:lnTo>
                <a:lnTo>
                  <a:pt x="8930" y="2239"/>
                </a:lnTo>
                <a:lnTo>
                  <a:pt x="8930" y="2264"/>
                </a:lnTo>
                <a:lnTo>
                  <a:pt x="8930" y="2337"/>
                </a:lnTo>
                <a:lnTo>
                  <a:pt x="9003" y="2410"/>
                </a:lnTo>
                <a:lnTo>
                  <a:pt x="9076" y="2410"/>
                </a:lnTo>
                <a:lnTo>
                  <a:pt x="9320" y="2361"/>
                </a:lnTo>
                <a:lnTo>
                  <a:pt x="9539" y="2288"/>
                </a:lnTo>
                <a:lnTo>
                  <a:pt x="9977" y="2093"/>
                </a:lnTo>
                <a:lnTo>
                  <a:pt x="10147" y="2045"/>
                </a:lnTo>
                <a:lnTo>
                  <a:pt x="10317" y="1947"/>
                </a:lnTo>
                <a:lnTo>
                  <a:pt x="10463" y="1850"/>
                </a:lnTo>
                <a:lnTo>
                  <a:pt x="10585" y="1704"/>
                </a:lnTo>
                <a:lnTo>
                  <a:pt x="10804" y="1972"/>
                </a:lnTo>
                <a:lnTo>
                  <a:pt x="10390" y="2191"/>
                </a:lnTo>
                <a:lnTo>
                  <a:pt x="10196" y="2288"/>
                </a:lnTo>
                <a:lnTo>
                  <a:pt x="10001" y="2385"/>
                </a:lnTo>
                <a:lnTo>
                  <a:pt x="9904" y="2434"/>
                </a:lnTo>
                <a:lnTo>
                  <a:pt x="9831" y="2507"/>
                </a:lnTo>
                <a:lnTo>
                  <a:pt x="9758" y="2604"/>
                </a:lnTo>
                <a:lnTo>
                  <a:pt x="9709" y="2702"/>
                </a:lnTo>
                <a:lnTo>
                  <a:pt x="9709" y="2726"/>
                </a:lnTo>
                <a:lnTo>
                  <a:pt x="9733" y="2750"/>
                </a:lnTo>
                <a:lnTo>
                  <a:pt x="9782" y="2775"/>
                </a:lnTo>
                <a:lnTo>
                  <a:pt x="10001" y="2775"/>
                </a:lnTo>
                <a:lnTo>
                  <a:pt x="10220" y="2702"/>
                </a:lnTo>
                <a:lnTo>
                  <a:pt x="10634" y="2507"/>
                </a:lnTo>
                <a:lnTo>
                  <a:pt x="10853" y="2434"/>
                </a:lnTo>
                <a:lnTo>
                  <a:pt x="11072" y="2361"/>
                </a:lnTo>
                <a:lnTo>
                  <a:pt x="11096" y="2361"/>
                </a:lnTo>
                <a:lnTo>
                  <a:pt x="11145" y="2458"/>
                </a:lnTo>
                <a:lnTo>
                  <a:pt x="10926" y="2556"/>
                </a:lnTo>
                <a:lnTo>
                  <a:pt x="10707" y="2677"/>
                </a:lnTo>
                <a:lnTo>
                  <a:pt x="10269" y="2945"/>
                </a:lnTo>
                <a:lnTo>
                  <a:pt x="10244" y="2994"/>
                </a:lnTo>
                <a:lnTo>
                  <a:pt x="10244" y="3042"/>
                </a:lnTo>
                <a:lnTo>
                  <a:pt x="10269" y="3067"/>
                </a:lnTo>
                <a:lnTo>
                  <a:pt x="10317" y="3091"/>
                </a:lnTo>
                <a:lnTo>
                  <a:pt x="10561" y="3067"/>
                </a:lnTo>
                <a:lnTo>
                  <a:pt x="10804" y="2994"/>
                </a:lnTo>
                <a:lnTo>
                  <a:pt x="11047" y="2896"/>
                </a:lnTo>
                <a:lnTo>
                  <a:pt x="11291" y="2775"/>
                </a:lnTo>
                <a:lnTo>
                  <a:pt x="11388" y="3091"/>
                </a:lnTo>
                <a:lnTo>
                  <a:pt x="11291" y="3091"/>
                </a:lnTo>
                <a:lnTo>
                  <a:pt x="11218" y="3115"/>
                </a:lnTo>
                <a:lnTo>
                  <a:pt x="11047" y="3164"/>
                </a:lnTo>
                <a:lnTo>
                  <a:pt x="10853" y="3286"/>
                </a:lnTo>
                <a:lnTo>
                  <a:pt x="10780" y="3334"/>
                </a:lnTo>
                <a:lnTo>
                  <a:pt x="10707" y="3432"/>
                </a:lnTo>
                <a:lnTo>
                  <a:pt x="10707" y="3505"/>
                </a:lnTo>
                <a:lnTo>
                  <a:pt x="10731" y="3553"/>
                </a:lnTo>
                <a:lnTo>
                  <a:pt x="10780" y="3602"/>
                </a:lnTo>
                <a:lnTo>
                  <a:pt x="10828" y="3602"/>
                </a:lnTo>
                <a:lnTo>
                  <a:pt x="10999" y="3553"/>
                </a:lnTo>
                <a:lnTo>
                  <a:pt x="11169" y="3505"/>
                </a:lnTo>
                <a:lnTo>
                  <a:pt x="11339" y="3456"/>
                </a:lnTo>
                <a:lnTo>
                  <a:pt x="11412" y="3432"/>
                </a:lnTo>
                <a:lnTo>
                  <a:pt x="11461" y="3383"/>
                </a:lnTo>
                <a:lnTo>
                  <a:pt x="11534" y="3602"/>
                </a:lnTo>
                <a:lnTo>
                  <a:pt x="11461" y="3626"/>
                </a:lnTo>
                <a:lnTo>
                  <a:pt x="11388" y="3675"/>
                </a:lnTo>
                <a:lnTo>
                  <a:pt x="11291" y="3724"/>
                </a:lnTo>
                <a:lnTo>
                  <a:pt x="11193" y="3772"/>
                </a:lnTo>
                <a:lnTo>
                  <a:pt x="11193" y="3821"/>
                </a:lnTo>
                <a:lnTo>
                  <a:pt x="11193" y="3845"/>
                </a:lnTo>
                <a:lnTo>
                  <a:pt x="11291" y="3894"/>
                </a:lnTo>
                <a:lnTo>
                  <a:pt x="11412" y="3943"/>
                </a:lnTo>
                <a:lnTo>
                  <a:pt x="11534" y="3943"/>
                </a:lnTo>
                <a:lnTo>
                  <a:pt x="11631" y="3894"/>
                </a:lnTo>
                <a:lnTo>
                  <a:pt x="11680" y="3967"/>
                </a:lnTo>
                <a:lnTo>
                  <a:pt x="11777" y="4016"/>
                </a:lnTo>
                <a:lnTo>
                  <a:pt x="11850" y="4040"/>
                </a:lnTo>
                <a:lnTo>
                  <a:pt x="11948" y="4040"/>
                </a:lnTo>
                <a:lnTo>
                  <a:pt x="12021" y="4016"/>
                </a:lnTo>
                <a:lnTo>
                  <a:pt x="12094" y="3967"/>
                </a:lnTo>
                <a:lnTo>
                  <a:pt x="12142" y="3894"/>
                </a:lnTo>
                <a:lnTo>
                  <a:pt x="12142" y="3797"/>
                </a:lnTo>
                <a:lnTo>
                  <a:pt x="12069" y="3359"/>
                </a:lnTo>
                <a:lnTo>
                  <a:pt x="11972" y="2945"/>
                </a:lnTo>
                <a:lnTo>
                  <a:pt x="12240" y="2726"/>
                </a:lnTo>
                <a:lnTo>
                  <a:pt x="12507" y="2531"/>
                </a:lnTo>
                <a:lnTo>
                  <a:pt x="12653" y="2458"/>
                </a:lnTo>
                <a:lnTo>
                  <a:pt x="12824" y="2410"/>
                </a:lnTo>
                <a:lnTo>
                  <a:pt x="12994" y="2361"/>
                </a:lnTo>
                <a:lnTo>
                  <a:pt x="13164" y="2337"/>
                </a:lnTo>
                <a:lnTo>
                  <a:pt x="13383" y="2337"/>
                </a:lnTo>
                <a:lnTo>
                  <a:pt x="13627" y="2385"/>
                </a:lnTo>
                <a:lnTo>
                  <a:pt x="13481" y="2458"/>
                </a:lnTo>
                <a:lnTo>
                  <a:pt x="13359" y="2556"/>
                </a:lnTo>
                <a:lnTo>
                  <a:pt x="13262" y="2702"/>
                </a:lnTo>
                <a:lnTo>
                  <a:pt x="13237" y="2775"/>
                </a:lnTo>
                <a:lnTo>
                  <a:pt x="13213" y="2848"/>
                </a:lnTo>
                <a:lnTo>
                  <a:pt x="13213" y="2896"/>
                </a:lnTo>
                <a:lnTo>
                  <a:pt x="13237" y="2921"/>
                </a:lnTo>
                <a:lnTo>
                  <a:pt x="13286" y="2945"/>
                </a:lnTo>
                <a:lnTo>
                  <a:pt x="13310" y="2921"/>
                </a:lnTo>
                <a:lnTo>
                  <a:pt x="13602" y="2750"/>
                </a:lnTo>
                <a:lnTo>
                  <a:pt x="13870" y="2604"/>
                </a:lnTo>
                <a:lnTo>
                  <a:pt x="14065" y="2507"/>
                </a:lnTo>
                <a:lnTo>
                  <a:pt x="14308" y="2629"/>
                </a:lnTo>
                <a:lnTo>
                  <a:pt x="14551" y="2750"/>
                </a:lnTo>
                <a:lnTo>
                  <a:pt x="14405" y="2775"/>
                </a:lnTo>
                <a:lnTo>
                  <a:pt x="14259" y="2823"/>
                </a:lnTo>
                <a:lnTo>
                  <a:pt x="14113" y="2872"/>
                </a:lnTo>
                <a:lnTo>
                  <a:pt x="13967" y="2945"/>
                </a:lnTo>
                <a:lnTo>
                  <a:pt x="13846" y="3018"/>
                </a:lnTo>
                <a:lnTo>
                  <a:pt x="13724" y="3115"/>
                </a:lnTo>
                <a:lnTo>
                  <a:pt x="13627" y="3213"/>
                </a:lnTo>
                <a:lnTo>
                  <a:pt x="13554" y="3310"/>
                </a:lnTo>
                <a:lnTo>
                  <a:pt x="13554" y="3359"/>
                </a:lnTo>
                <a:lnTo>
                  <a:pt x="13554" y="3407"/>
                </a:lnTo>
                <a:lnTo>
                  <a:pt x="13602" y="3456"/>
                </a:lnTo>
                <a:lnTo>
                  <a:pt x="13651" y="3480"/>
                </a:lnTo>
                <a:lnTo>
                  <a:pt x="13797" y="3456"/>
                </a:lnTo>
                <a:lnTo>
                  <a:pt x="13943" y="3407"/>
                </a:lnTo>
                <a:lnTo>
                  <a:pt x="14211" y="3286"/>
                </a:lnTo>
                <a:lnTo>
                  <a:pt x="14381" y="3237"/>
                </a:lnTo>
                <a:lnTo>
                  <a:pt x="14527" y="3188"/>
                </a:lnTo>
                <a:lnTo>
                  <a:pt x="14697" y="3140"/>
                </a:lnTo>
                <a:lnTo>
                  <a:pt x="14843" y="3091"/>
                </a:lnTo>
                <a:lnTo>
                  <a:pt x="14892" y="3067"/>
                </a:lnTo>
                <a:lnTo>
                  <a:pt x="14916" y="3018"/>
                </a:lnTo>
                <a:lnTo>
                  <a:pt x="15038" y="3140"/>
                </a:lnTo>
                <a:lnTo>
                  <a:pt x="14770" y="3213"/>
                </a:lnTo>
                <a:lnTo>
                  <a:pt x="14551" y="3261"/>
                </a:lnTo>
                <a:lnTo>
                  <a:pt x="14332" y="3359"/>
                </a:lnTo>
                <a:lnTo>
                  <a:pt x="14211" y="3432"/>
                </a:lnTo>
                <a:lnTo>
                  <a:pt x="14113" y="3505"/>
                </a:lnTo>
                <a:lnTo>
                  <a:pt x="14040" y="3578"/>
                </a:lnTo>
                <a:lnTo>
                  <a:pt x="13992" y="3675"/>
                </a:lnTo>
                <a:lnTo>
                  <a:pt x="13967" y="3748"/>
                </a:lnTo>
                <a:lnTo>
                  <a:pt x="13992" y="3821"/>
                </a:lnTo>
                <a:lnTo>
                  <a:pt x="14040" y="3845"/>
                </a:lnTo>
                <a:lnTo>
                  <a:pt x="14113" y="3845"/>
                </a:lnTo>
                <a:lnTo>
                  <a:pt x="14551" y="3724"/>
                </a:lnTo>
                <a:lnTo>
                  <a:pt x="14989" y="3602"/>
                </a:lnTo>
                <a:lnTo>
                  <a:pt x="15184" y="3578"/>
                </a:lnTo>
                <a:lnTo>
                  <a:pt x="15379" y="3505"/>
                </a:lnTo>
                <a:lnTo>
                  <a:pt x="15452" y="3602"/>
                </a:lnTo>
                <a:lnTo>
                  <a:pt x="15208" y="3675"/>
                </a:lnTo>
                <a:lnTo>
                  <a:pt x="15014" y="3748"/>
                </a:lnTo>
                <a:lnTo>
                  <a:pt x="14843" y="3845"/>
                </a:lnTo>
                <a:lnTo>
                  <a:pt x="14673" y="3967"/>
                </a:lnTo>
                <a:lnTo>
                  <a:pt x="14503" y="4089"/>
                </a:lnTo>
                <a:lnTo>
                  <a:pt x="14478" y="4113"/>
                </a:lnTo>
                <a:lnTo>
                  <a:pt x="14478" y="4162"/>
                </a:lnTo>
                <a:lnTo>
                  <a:pt x="14503" y="4210"/>
                </a:lnTo>
                <a:lnTo>
                  <a:pt x="14551" y="4259"/>
                </a:lnTo>
                <a:lnTo>
                  <a:pt x="14600" y="4259"/>
                </a:lnTo>
                <a:lnTo>
                  <a:pt x="15452" y="4016"/>
                </a:lnTo>
                <a:lnTo>
                  <a:pt x="15671" y="3967"/>
                </a:lnTo>
                <a:lnTo>
                  <a:pt x="15768" y="4186"/>
                </a:lnTo>
                <a:lnTo>
                  <a:pt x="15549" y="4259"/>
                </a:lnTo>
                <a:lnTo>
                  <a:pt x="15330" y="4332"/>
                </a:lnTo>
                <a:lnTo>
                  <a:pt x="15111" y="4429"/>
                </a:lnTo>
                <a:lnTo>
                  <a:pt x="14916" y="4551"/>
                </a:lnTo>
                <a:lnTo>
                  <a:pt x="14892" y="4600"/>
                </a:lnTo>
                <a:lnTo>
                  <a:pt x="14916" y="4648"/>
                </a:lnTo>
                <a:lnTo>
                  <a:pt x="14941" y="4697"/>
                </a:lnTo>
                <a:lnTo>
                  <a:pt x="15014" y="4697"/>
                </a:lnTo>
                <a:lnTo>
                  <a:pt x="15354" y="4624"/>
                </a:lnTo>
                <a:lnTo>
                  <a:pt x="15719" y="4551"/>
                </a:lnTo>
                <a:lnTo>
                  <a:pt x="15500" y="4648"/>
                </a:lnTo>
                <a:lnTo>
                  <a:pt x="15281" y="4746"/>
                </a:lnTo>
                <a:lnTo>
                  <a:pt x="15257" y="4770"/>
                </a:lnTo>
                <a:lnTo>
                  <a:pt x="15233" y="4819"/>
                </a:lnTo>
                <a:lnTo>
                  <a:pt x="15233" y="4867"/>
                </a:lnTo>
                <a:lnTo>
                  <a:pt x="15281" y="4940"/>
                </a:lnTo>
                <a:lnTo>
                  <a:pt x="15354" y="4940"/>
                </a:lnTo>
                <a:lnTo>
                  <a:pt x="15841" y="4867"/>
                </a:lnTo>
                <a:lnTo>
                  <a:pt x="15841" y="4989"/>
                </a:lnTo>
                <a:lnTo>
                  <a:pt x="15695" y="5013"/>
                </a:lnTo>
                <a:lnTo>
                  <a:pt x="15598" y="5038"/>
                </a:lnTo>
                <a:lnTo>
                  <a:pt x="15525" y="5086"/>
                </a:lnTo>
                <a:lnTo>
                  <a:pt x="15379" y="5208"/>
                </a:lnTo>
                <a:lnTo>
                  <a:pt x="15354" y="5281"/>
                </a:lnTo>
                <a:lnTo>
                  <a:pt x="15379" y="5330"/>
                </a:lnTo>
                <a:lnTo>
                  <a:pt x="15427" y="5378"/>
                </a:lnTo>
                <a:lnTo>
                  <a:pt x="15476" y="5378"/>
                </a:lnTo>
                <a:lnTo>
                  <a:pt x="15622" y="5354"/>
                </a:lnTo>
                <a:lnTo>
                  <a:pt x="15768" y="5378"/>
                </a:lnTo>
                <a:lnTo>
                  <a:pt x="15768" y="5427"/>
                </a:lnTo>
                <a:lnTo>
                  <a:pt x="15768" y="5524"/>
                </a:lnTo>
                <a:lnTo>
                  <a:pt x="15792" y="5622"/>
                </a:lnTo>
                <a:lnTo>
                  <a:pt x="15865" y="5695"/>
                </a:lnTo>
                <a:lnTo>
                  <a:pt x="15938" y="5768"/>
                </a:lnTo>
                <a:lnTo>
                  <a:pt x="16036" y="5792"/>
                </a:lnTo>
                <a:lnTo>
                  <a:pt x="16133" y="5792"/>
                </a:lnTo>
                <a:lnTo>
                  <a:pt x="16206" y="5768"/>
                </a:lnTo>
                <a:lnTo>
                  <a:pt x="16279" y="5695"/>
                </a:lnTo>
                <a:lnTo>
                  <a:pt x="16328" y="5695"/>
                </a:lnTo>
                <a:lnTo>
                  <a:pt x="16619" y="5622"/>
                </a:lnTo>
                <a:lnTo>
                  <a:pt x="16911" y="5597"/>
                </a:lnTo>
                <a:lnTo>
                  <a:pt x="17179" y="5597"/>
                </a:lnTo>
                <a:lnTo>
                  <a:pt x="17422" y="5646"/>
                </a:lnTo>
                <a:lnTo>
                  <a:pt x="17276" y="5695"/>
                </a:lnTo>
                <a:lnTo>
                  <a:pt x="17106" y="5768"/>
                </a:lnTo>
                <a:lnTo>
                  <a:pt x="16936" y="5865"/>
                </a:lnTo>
                <a:lnTo>
                  <a:pt x="16814" y="5987"/>
                </a:lnTo>
                <a:lnTo>
                  <a:pt x="16765" y="6060"/>
                </a:lnTo>
                <a:lnTo>
                  <a:pt x="16717" y="6133"/>
                </a:lnTo>
                <a:lnTo>
                  <a:pt x="16717" y="6206"/>
                </a:lnTo>
                <a:lnTo>
                  <a:pt x="16765" y="6279"/>
                </a:lnTo>
                <a:lnTo>
                  <a:pt x="16838" y="6303"/>
                </a:lnTo>
                <a:lnTo>
                  <a:pt x="16911" y="6279"/>
                </a:lnTo>
                <a:lnTo>
                  <a:pt x="17179" y="6157"/>
                </a:lnTo>
                <a:lnTo>
                  <a:pt x="17447" y="6060"/>
                </a:lnTo>
                <a:lnTo>
                  <a:pt x="17739" y="6011"/>
                </a:lnTo>
                <a:lnTo>
                  <a:pt x="17909" y="5962"/>
                </a:lnTo>
                <a:lnTo>
                  <a:pt x="18031" y="5914"/>
                </a:lnTo>
                <a:lnTo>
                  <a:pt x="18298" y="6133"/>
                </a:lnTo>
                <a:lnTo>
                  <a:pt x="18152" y="6181"/>
                </a:lnTo>
                <a:lnTo>
                  <a:pt x="17933" y="6254"/>
                </a:lnTo>
                <a:lnTo>
                  <a:pt x="17739" y="6352"/>
                </a:lnTo>
                <a:lnTo>
                  <a:pt x="17544" y="6473"/>
                </a:lnTo>
                <a:lnTo>
                  <a:pt x="17349" y="6595"/>
                </a:lnTo>
                <a:lnTo>
                  <a:pt x="17325" y="6668"/>
                </a:lnTo>
                <a:lnTo>
                  <a:pt x="17325" y="6741"/>
                </a:lnTo>
                <a:lnTo>
                  <a:pt x="17374" y="6790"/>
                </a:lnTo>
                <a:lnTo>
                  <a:pt x="17422" y="6814"/>
                </a:lnTo>
                <a:lnTo>
                  <a:pt x="17641" y="6765"/>
                </a:lnTo>
                <a:lnTo>
                  <a:pt x="17860" y="6717"/>
                </a:lnTo>
                <a:lnTo>
                  <a:pt x="18274" y="6595"/>
                </a:lnTo>
                <a:lnTo>
                  <a:pt x="18639" y="6473"/>
                </a:lnTo>
                <a:lnTo>
                  <a:pt x="18761" y="6644"/>
                </a:lnTo>
                <a:lnTo>
                  <a:pt x="18493" y="6717"/>
                </a:lnTo>
                <a:lnTo>
                  <a:pt x="18250" y="6814"/>
                </a:lnTo>
                <a:lnTo>
                  <a:pt x="18006" y="6960"/>
                </a:lnTo>
                <a:lnTo>
                  <a:pt x="17812" y="7130"/>
                </a:lnTo>
                <a:lnTo>
                  <a:pt x="17787" y="7155"/>
                </a:lnTo>
                <a:lnTo>
                  <a:pt x="17787" y="7179"/>
                </a:lnTo>
                <a:lnTo>
                  <a:pt x="17812" y="7252"/>
                </a:lnTo>
                <a:lnTo>
                  <a:pt x="17860" y="7276"/>
                </a:lnTo>
                <a:lnTo>
                  <a:pt x="17933" y="7276"/>
                </a:lnTo>
                <a:lnTo>
                  <a:pt x="18177" y="7179"/>
                </a:lnTo>
                <a:lnTo>
                  <a:pt x="18444" y="7130"/>
                </a:lnTo>
                <a:lnTo>
                  <a:pt x="18955" y="7033"/>
                </a:lnTo>
                <a:lnTo>
                  <a:pt x="19004" y="7106"/>
                </a:lnTo>
                <a:lnTo>
                  <a:pt x="18785" y="7155"/>
                </a:lnTo>
                <a:lnTo>
                  <a:pt x="18566" y="7203"/>
                </a:lnTo>
                <a:lnTo>
                  <a:pt x="18371" y="7301"/>
                </a:lnTo>
                <a:lnTo>
                  <a:pt x="18177" y="7398"/>
                </a:lnTo>
                <a:lnTo>
                  <a:pt x="18177" y="7447"/>
                </a:lnTo>
                <a:lnTo>
                  <a:pt x="18177" y="7471"/>
                </a:lnTo>
                <a:lnTo>
                  <a:pt x="18201" y="7471"/>
                </a:lnTo>
                <a:lnTo>
                  <a:pt x="18396" y="7495"/>
                </a:lnTo>
                <a:lnTo>
                  <a:pt x="18590" y="7495"/>
                </a:lnTo>
                <a:lnTo>
                  <a:pt x="18955" y="7447"/>
                </a:lnTo>
                <a:lnTo>
                  <a:pt x="19126" y="7422"/>
                </a:lnTo>
                <a:lnTo>
                  <a:pt x="19174" y="7544"/>
                </a:lnTo>
                <a:lnTo>
                  <a:pt x="18980" y="7568"/>
                </a:lnTo>
                <a:lnTo>
                  <a:pt x="18761" y="7617"/>
                </a:lnTo>
                <a:lnTo>
                  <a:pt x="18444" y="7714"/>
                </a:lnTo>
                <a:lnTo>
                  <a:pt x="18396" y="7763"/>
                </a:lnTo>
                <a:lnTo>
                  <a:pt x="18371" y="7836"/>
                </a:lnTo>
                <a:lnTo>
                  <a:pt x="18371" y="7909"/>
                </a:lnTo>
                <a:lnTo>
                  <a:pt x="18396" y="7933"/>
                </a:lnTo>
                <a:lnTo>
                  <a:pt x="18444" y="7957"/>
                </a:lnTo>
                <a:lnTo>
                  <a:pt x="18809" y="7982"/>
                </a:lnTo>
                <a:lnTo>
                  <a:pt x="19296" y="7982"/>
                </a:lnTo>
                <a:lnTo>
                  <a:pt x="19320" y="8201"/>
                </a:lnTo>
                <a:lnTo>
                  <a:pt x="19272" y="8201"/>
                </a:lnTo>
                <a:lnTo>
                  <a:pt x="19101" y="8176"/>
                </a:lnTo>
                <a:lnTo>
                  <a:pt x="18907" y="8201"/>
                </a:lnTo>
                <a:lnTo>
                  <a:pt x="18736" y="8225"/>
                </a:lnTo>
                <a:lnTo>
                  <a:pt x="18566" y="8274"/>
                </a:lnTo>
                <a:lnTo>
                  <a:pt x="18542" y="8298"/>
                </a:lnTo>
                <a:lnTo>
                  <a:pt x="18517" y="8322"/>
                </a:lnTo>
                <a:lnTo>
                  <a:pt x="18493" y="8420"/>
                </a:lnTo>
                <a:lnTo>
                  <a:pt x="18542" y="8468"/>
                </a:lnTo>
                <a:lnTo>
                  <a:pt x="18566" y="8493"/>
                </a:lnTo>
                <a:lnTo>
                  <a:pt x="18907" y="8493"/>
                </a:lnTo>
                <a:lnTo>
                  <a:pt x="19223" y="8517"/>
                </a:lnTo>
                <a:lnTo>
                  <a:pt x="19345" y="8541"/>
                </a:lnTo>
                <a:lnTo>
                  <a:pt x="19345" y="8833"/>
                </a:lnTo>
                <a:lnTo>
                  <a:pt x="19199" y="8785"/>
                </a:lnTo>
                <a:lnTo>
                  <a:pt x="18882" y="8785"/>
                </a:lnTo>
                <a:lnTo>
                  <a:pt x="18736" y="8809"/>
                </a:lnTo>
                <a:lnTo>
                  <a:pt x="18688" y="8833"/>
                </a:lnTo>
                <a:lnTo>
                  <a:pt x="18663" y="8858"/>
                </a:lnTo>
                <a:lnTo>
                  <a:pt x="18663" y="8931"/>
                </a:lnTo>
                <a:lnTo>
                  <a:pt x="18688" y="9004"/>
                </a:lnTo>
                <a:lnTo>
                  <a:pt x="18712" y="9004"/>
                </a:lnTo>
                <a:lnTo>
                  <a:pt x="18761" y="9028"/>
                </a:lnTo>
                <a:lnTo>
                  <a:pt x="18882" y="9028"/>
                </a:lnTo>
                <a:lnTo>
                  <a:pt x="19028" y="9077"/>
                </a:lnTo>
                <a:lnTo>
                  <a:pt x="19150" y="9125"/>
                </a:lnTo>
                <a:lnTo>
                  <a:pt x="19296" y="9174"/>
                </a:lnTo>
                <a:lnTo>
                  <a:pt x="19199" y="9466"/>
                </a:lnTo>
                <a:lnTo>
                  <a:pt x="18980" y="9417"/>
                </a:lnTo>
                <a:lnTo>
                  <a:pt x="18736" y="9417"/>
                </a:lnTo>
                <a:lnTo>
                  <a:pt x="18688" y="9442"/>
                </a:lnTo>
                <a:lnTo>
                  <a:pt x="18663" y="9466"/>
                </a:lnTo>
                <a:lnTo>
                  <a:pt x="18663" y="9515"/>
                </a:lnTo>
                <a:lnTo>
                  <a:pt x="18663" y="9563"/>
                </a:lnTo>
                <a:lnTo>
                  <a:pt x="18663" y="9612"/>
                </a:lnTo>
                <a:lnTo>
                  <a:pt x="18712" y="9636"/>
                </a:lnTo>
                <a:lnTo>
                  <a:pt x="18736" y="9661"/>
                </a:lnTo>
                <a:lnTo>
                  <a:pt x="18907" y="9709"/>
                </a:lnTo>
                <a:lnTo>
                  <a:pt x="19053" y="9758"/>
                </a:lnTo>
                <a:lnTo>
                  <a:pt x="18955" y="9928"/>
                </a:lnTo>
                <a:lnTo>
                  <a:pt x="18834" y="10099"/>
                </a:lnTo>
                <a:lnTo>
                  <a:pt x="18663" y="10074"/>
                </a:lnTo>
                <a:lnTo>
                  <a:pt x="18444" y="10074"/>
                </a:lnTo>
                <a:lnTo>
                  <a:pt x="18420" y="10099"/>
                </a:lnTo>
                <a:lnTo>
                  <a:pt x="18396" y="10172"/>
                </a:lnTo>
                <a:lnTo>
                  <a:pt x="18420" y="10220"/>
                </a:lnTo>
                <a:lnTo>
                  <a:pt x="18444" y="10245"/>
                </a:lnTo>
                <a:lnTo>
                  <a:pt x="18493" y="10245"/>
                </a:lnTo>
                <a:lnTo>
                  <a:pt x="18663" y="10269"/>
                </a:lnTo>
                <a:lnTo>
                  <a:pt x="18542" y="10391"/>
                </a:lnTo>
                <a:lnTo>
                  <a:pt x="18371" y="10512"/>
                </a:lnTo>
                <a:lnTo>
                  <a:pt x="18274" y="10464"/>
                </a:lnTo>
                <a:lnTo>
                  <a:pt x="18225" y="10439"/>
                </a:lnTo>
                <a:lnTo>
                  <a:pt x="18152" y="10439"/>
                </a:lnTo>
                <a:lnTo>
                  <a:pt x="18104" y="10488"/>
                </a:lnTo>
                <a:lnTo>
                  <a:pt x="18079" y="10537"/>
                </a:lnTo>
                <a:lnTo>
                  <a:pt x="18079" y="10610"/>
                </a:lnTo>
                <a:lnTo>
                  <a:pt x="18104" y="10658"/>
                </a:lnTo>
                <a:lnTo>
                  <a:pt x="17739" y="10829"/>
                </a:lnTo>
                <a:lnTo>
                  <a:pt x="17349" y="10950"/>
                </a:lnTo>
                <a:lnTo>
                  <a:pt x="16960" y="11023"/>
                </a:lnTo>
                <a:lnTo>
                  <a:pt x="16546" y="11096"/>
                </a:lnTo>
                <a:lnTo>
                  <a:pt x="16133" y="11121"/>
                </a:lnTo>
                <a:lnTo>
                  <a:pt x="15719" y="11145"/>
                </a:lnTo>
                <a:lnTo>
                  <a:pt x="14916" y="11169"/>
                </a:lnTo>
                <a:lnTo>
                  <a:pt x="13140" y="11194"/>
                </a:lnTo>
                <a:lnTo>
                  <a:pt x="12264" y="11242"/>
                </a:lnTo>
                <a:lnTo>
                  <a:pt x="11364" y="11340"/>
                </a:lnTo>
                <a:lnTo>
                  <a:pt x="10244" y="11461"/>
                </a:lnTo>
                <a:lnTo>
                  <a:pt x="9125" y="11559"/>
                </a:lnTo>
                <a:lnTo>
                  <a:pt x="8565" y="11583"/>
                </a:lnTo>
                <a:lnTo>
                  <a:pt x="8006" y="11583"/>
                </a:lnTo>
                <a:lnTo>
                  <a:pt x="7446" y="11559"/>
                </a:lnTo>
                <a:lnTo>
                  <a:pt x="6862" y="11510"/>
                </a:lnTo>
                <a:lnTo>
                  <a:pt x="5086" y="11364"/>
                </a:lnTo>
                <a:lnTo>
                  <a:pt x="4210" y="11242"/>
                </a:lnTo>
                <a:lnTo>
                  <a:pt x="3772" y="11169"/>
                </a:lnTo>
                <a:lnTo>
                  <a:pt x="3334" y="11072"/>
                </a:lnTo>
                <a:lnTo>
                  <a:pt x="2993" y="10999"/>
                </a:lnTo>
                <a:lnTo>
                  <a:pt x="2653" y="10877"/>
                </a:lnTo>
                <a:lnTo>
                  <a:pt x="2336" y="10756"/>
                </a:lnTo>
                <a:lnTo>
                  <a:pt x="2020" y="10610"/>
                </a:lnTo>
                <a:lnTo>
                  <a:pt x="1704" y="10439"/>
                </a:lnTo>
                <a:lnTo>
                  <a:pt x="1436" y="10245"/>
                </a:lnTo>
                <a:lnTo>
                  <a:pt x="1168" y="10001"/>
                </a:lnTo>
                <a:lnTo>
                  <a:pt x="949" y="9734"/>
                </a:lnTo>
                <a:lnTo>
                  <a:pt x="852" y="9588"/>
                </a:lnTo>
                <a:lnTo>
                  <a:pt x="779" y="9417"/>
                </a:lnTo>
                <a:lnTo>
                  <a:pt x="706" y="9271"/>
                </a:lnTo>
                <a:lnTo>
                  <a:pt x="657" y="9101"/>
                </a:lnTo>
                <a:lnTo>
                  <a:pt x="633" y="8931"/>
                </a:lnTo>
                <a:lnTo>
                  <a:pt x="609" y="8760"/>
                </a:lnTo>
                <a:lnTo>
                  <a:pt x="633" y="8420"/>
                </a:lnTo>
                <a:lnTo>
                  <a:pt x="682" y="8103"/>
                </a:lnTo>
                <a:lnTo>
                  <a:pt x="803" y="7763"/>
                </a:lnTo>
                <a:lnTo>
                  <a:pt x="949" y="7447"/>
                </a:lnTo>
                <a:lnTo>
                  <a:pt x="1120" y="7155"/>
                </a:lnTo>
                <a:lnTo>
                  <a:pt x="1387" y="6814"/>
                </a:lnTo>
                <a:lnTo>
                  <a:pt x="1679" y="6498"/>
                </a:lnTo>
                <a:lnTo>
                  <a:pt x="1996" y="6230"/>
                </a:lnTo>
                <a:lnTo>
                  <a:pt x="2336" y="5962"/>
                </a:lnTo>
                <a:lnTo>
                  <a:pt x="2336" y="5962"/>
                </a:lnTo>
                <a:lnTo>
                  <a:pt x="2117" y="6279"/>
                </a:lnTo>
                <a:lnTo>
                  <a:pt x="1898" y="6571"/>
                </a:lnTo>
                <a:lnTo>
                  <a:pt x="1874" y="6644"/>
                </a:lnTo>
                <a:lnTo>
                  <a:pt x="1898" y="6717"/>
                </a:lnTo>
                <a:lnTo>
                  <a:pt x="1947" y="6765"/>
                </a:lnTo>
                <a:lnTo>
                  <a:pt x="2044" y="6765"/>
                </a:lnTo>
                <a:lnTo>
                  <a:pt x="2117" y="6741"/>
                </a:lnTo>
                <a:lnTo>
                  <a:pt x="2190" y="6692"/>
                </a:lnTo>
                <a:lnTo>
                  <a:pt x="2336" y="6595"/>
                </a:lnTo>
                <a:lnTo>
                  <a:pt x="2458" y="6449"/>
                </a:lnTo>
                <a:lnTo>
                  <a:pt x="2555" y="6303"/>
                </a:lnTo>
                <a:lnTo>
                  <a:pt x="2847" y="5987"/>
                </a:lnTo>
                <a:lnTo>
                  <a:pt x="3164" y="5695"/>
                </a:lnTo>
                <a:lnTo>
                  <a:pt x="3188" y="5646"/>
                </a:lnTo>
                <a:lnTo>
                  <a:pt x="3212" y="5646"/>
                </a:lnTo>
                <a:lnTo>
                  <a:pt x="3091" y="5792"/>
                </a:lnTo>
                <a:lnTo>
                  <a:pt x="2847" y="6133"/>
                </a:lnTo>
                <a:lnTo>
                  <a:pt x="2774" y="6303"/>
                </a:lnTo>
                <a:lnTo>
                  <a:pt x="2677" y="6498"/>
                </a:lnTo>
                <a:lnTo>
                  <a:pt x="2677" y="6546"/>
                </a:lnTo>
                <a:lnTo>
                  <a:pt x="2726" y="6546"/>
                </a:lnTo>
                <a:lnTo>
                  <a:pt x="2896" y="6449"/>
                </a:lnTo>
                <a:lnTo>
                  <a:pt x="3066" y="6327"/>
                </a:lnTo>
                <a:lnTo>
                  <a:pt x="3212" y="6206"/>
                </a:lnTo>
                <a:lnTo>
                  <a:pt x="3334" y="6035"/>
                </a:lnTo>
                <a:lnTo>
                  <a:pt x="3480" y="5889"/>
                </a:lnTo>
                <a:lnTo>
                  <a:pt x="3626" y="5695"/>
                </a:lnTo>
                <a:lnTo>
                  <a:pt x="3650" y="5719"/>
                </a:lnTo>
                <a:lnTo>
                  <a:pt x="3699" y="5816"/>
                </a:lnTo>
                <a:lnTo>
                  <a:pt x="3577" y="5938"/>
                </a:lnTo>
                <a:lnTo>
                  <a:pt x="3456" y="6108"/>
                </a:lnTo>
                <a:lnTo>
                  <a:pt x="3407" y="6230"/>
                </a:lnTo>
                <a:lnTo>
                  <a:pt x="3407" y="6327"/>
                </a:lnTo>
                <a:lnTo>
                  <a:pt x="3407" y="6352"/>
                </a:lnTo>
                <a:lnTo>
                  <a:pt x="3456" y="6376"/>
                </a:lnTo>
                <a:lnTo>
                  <a:pt x="3529" y="6376"/>
                </a:lnTo>
                <a:lnTo>
                  <a:pt x="3626" y="6327"/>
                </a:lnTo>
                <a:lnTo>
                  <a:pt x="3772" y="6206"/>
                </a:lnTo>
                <a:lnTo>
                  <a:pt x="3869" y="6108"/>
                </a:lnTo>
                <a:lnTo>
                  <a:pt x="3967" y="6157"/>
                </a:lnTo>
                <a:lnTo>
                  <a:pt x="4064" y="6181"/>
                </a:lnTo>
                <a:lnTo>
                  <a:pt x="4186" y="6157"/>
                </a:lnTo>
                <a:lnTo>
                  <a:pt x="4283" y="6084"/>
                </a:lnTo>
                <a:lnTo>
                  <a:pt x="4307" y="6035"/>
                </a:lnTo>
                <a:lnTo>
                  <a:pt x="4307" y="5987"/>
                </a:lnTo>
                <a:lnTo>
                  <a:pt x="4137" y="5719"/>
                </a:lnTo>
                <a:lnTo>
                  <a:pt x="4015" y="5403"/>
                </a:lnTo>
                <a:lnTo>
                  <a:pt x="3918" y="5062"/>
                </a:lnTo>
                <a:lnTo>
                  <a:pt x="3845" y="4697"/>
                </a:lnTo>
                <a:lnTo>
                  <a:pt x="3821" y="4356"/>
                </a:lnTo>
                <a:lnTo>
                  <a:pt x="3821" y="3991"/>
                </a:lnTo>
                <a:lnTo>
                  <a:pt x="3845" y="3651"/>
                </a:lnTo>
                <a:lnTo>
                  <a:pt x="3894" y="3334"/>
                </a:lnTo>
                <a:lnTo>
                  <a:pt x="3942" y="3115"/>
                </a:lnTo>
                <a:lnTo>
                  <a:pt x="4015" y="2896"/>
                </a:lnTo>
                <a:lnTo>
                  <a:pt x="4113" y="2677"/>
                </a:lnTo>
                <a:lnTo>
                  <a:pt x="4210" y="2483"/>
                </a:lnTo>
                <a:lnTo>
                  <a:pt x="4332" y="2288"/>
                </a:lnTo>
                <a:lnTo>
                  <a:pt x="4478" y="2093"/>
                </a:lnTo>
                <a:lnTo>
                  <a:pt x="4599" y="1923"/>
                </a:lnTo>
                <a:lnTo>
                  <a:pt x="4770" y="1753"/>
                </a:lnTo>
                <a:lnTo>
                  <a:pt x="5110" y="1461"/>
                </a:lnTo>
                <a:lnTo>
                  <a:pt x="5475" y="1193"/>
                </a:lnTo>
                <a:lnTo>
                  <a:pt x="5865" y="974"/>
                </a:lnTo>
                <a:lnTo>
                  <a:pt x="6303" y="828"/>
                </a:lnTo>
                <a:lnTo>
                  <a:pt x="6716" y="706"/>
                </a:lnTo>
                <a:lnTo>
                  <a:pt x="7179" y="633"/>
                </a:lnTo>
                <a:lnTo>
                  <a:pt x="7008" y="731"/>
                </a:lnTo>
                <a:lnTo>
                  <a:pt x="6789" y="852"/>
                </a:lnTo>
                <a:lnTo>
                  <a:pt x="6546" y="998"/>
                </a:lnTo>
                <a:lnTo>
                  <a:pt x="6424" y="1071"/>
                </a:lnTo>
                <a:lnTo>
                  <a:pt x="6327" y="1169"/>
                </a:lnTo>
                <a:lnTo>
                  <a:pt x="6278" y="1266"/>
                </a:lnTo>
                <a:lnTo>
                  <a:pt x="6230" y="1363"/>
                </a:lnTo>
                <a:lnTo>
                  <a:pt x="6254" y="1412"/>
                </a:lnTo>
                <a:lnTo>
                  <a:pt x="6303" y="1461"/>
                </a:lnTo>
                <a:lnTo>
                  <a:pt x="6400" y="1485"/>
                </a:lnTo>
                <a:lnTo>
                  <a:pt x="6522" y="1461"/>
                </a:lnTo>
                <a:lnTo>
                  <a:pt x="6643" y="1436"/>
                </a:lnTo>
                <a:lnTo>
                  <a:pt x="6765" y="1363"/>
                </a:lnTo>
                <a:lnTo>
                  <a:pt x="7033" y="1217"/>
                </a:lnTo>
                <a:lnTo>
                  <a:pt x="7203" y="1096"/>
                </a:lnTo>
                <a:lnTo>
                  <a:pt x="7811" y="779"/>
                </a:lnTo>
                <a:lnTo>
                  <a:pt x="7982" y="682"/>
                </a:lnTo>
                <a:lnTo>
                  <a:pt x="8055" y="633"/>
                </a:lnTo>
                <a:lnTo>
                  <a:pt x="8128" y="560"/>
                </a:lnTo>
                <a:close/>
                <a:moveTo>
                  <a:pt x="7933" y="1"/>
                </a:moveTo>
                <a:lnTo>
                  <a:pt x="7349" y="49"/>
                </a:lnTo>
                <a:lnTo>
                  <a:pt x="6789" y="147"/>
                </a:lnTo>
                <a:lnTo>
                  <a:pt x="6254" y="268"/>
                </a:lnTo>
                <a:lnTo>
                  <a:pt x="5767" y="439"/>
                </a:lnTo>
                <a:lnTo>
                  <a:pt x="5524" y="536"/>
                </a:lnTo>
                <a:lnTo>
                  <a:pt x="5281" y="658"/>
                </a:lnTo>
                <a:lnTo>
                  <a:pt x="5062" y="804"/>
                </a:lnTo>
                <a:lnTo>
                  <a:pt x="4843" y="950"/>
                </a:lnTo>
                <a:lnTo>
                  <a:pt x="4624" y="1120"/>
                </a:lnTo>
                <a:lnTo>
                  <a:pt x="4429" y="1315"/>
                </a:lnTo>
                <a:lnTo>
                  <a:pt x="4259" y="1509"/>
                </a:lnTo>
                <a:lnTo>
                  <a:pt x="4088" y="1728"/>
                </a:lnTo>
                <a:lnTo>
                  <a:pt x="3942" y="1947"/>
                </a:lnTo>
                <a:lnTo>
                  <a:pt x="3796" y="2166"/>
                </a:lnTo>
                <a:lnTo>
                  <a:pt x="3675" y="2410"/>
                </a:lnTo>
                <a:lnTo>
                  <a:pt x="3577" y="2653"/>
                </a:lnTo>
                <a:lnTo>
                  <a:pt x="3480" y="2896"/>
                </a:lnTo>
                <a:lnTo>
                  <a:pt x="3407" y="3164"/>
                </a:lnTo>
                <a:lnTo>
                  <a:pt x="3358" y="3407"/>
                </a:lnTo>
                <a:lnTo>
                  <a:pt x="3310" y="3675"/>
                </a:lnTo>
                <a:lnTo>
                  <a:pt x="3310" y="3870"/>
                </a:lnTo>
                <a:lnTo>
                  <a:pt x="3334" y="4210"/>
                </a:lnTo>
                <a:lnTo>
                  <a:pt x="3383" y="4624"/>
                </a:lnTo>
                <a:lnTo>
                  <a:pt x="3480" y="5086"/>
                </a:lnTo>
                <a:lnTo>
                  <a:pt x="3285" y="5086"/>
                </a:lnTo>
                <a:lnTo>
                  <a:pt x="3115" y="5111"/>
                </a:lnTo>
                <a:lnTo>
                  <a:pt x="2726" y="5184"/>
                </a:lnTo>
                <a:lnTo>
                  <a:pt x="2409" y="5305"/>
                </a:lnTo>
                <a:lnTo>
                  <a:pt x="2166" y="5427"/>
                </a:lnTo>
                <a:lnTo>
                  <a:pt x="1825" y="5622"/>
                </a:lnTo>
                <a:lnTo>
                  <a:pt x="1485" y="5889"/>
                </a:lnTo>
                <a:lnTo>
                  <a:pt x="1193" y="6157"/>
                </a:lnTo>
                <a:lnTo>
                  <a:pt x="901" y="6473"/>
                </a:lnTo>
                <a:lnTo>
                  <a:pt x="657" y="6814"/>
                </a:lnTo>
                <a:lnTo>
                  <a:pt x="439" y="7179"/>
                </a:lnTo>
                <a:lnTo>
                  <a:pt x="268" y="7544"/>
                </a:lnTo>
                <a:lnTo>
                  <a:pt x="122" y="7909"/>
                </a:lnTo>
                <a:lnTo>
                  <a:pt x="25" y="8274"/>
                </a:lnTo>
                <a:lnTo>
                  <a:pt x="1" y="8614"/>
                </a:lnTo>
                <a:lnTo>
                  <a:pt x="1" y="8931"/>
                </a:lnTo>
                <a:lnTo>
                  <a:pt x="74" y="9247"/>
                </a:lnTo>
                <a:lnTo>
                  <a:pt x="171" y="9539"/>
                </a:lnTo>
                <a:lnTo>
                  <a:pt x="293" y="9807"/>
                </a:lnTo>
                <a:lnTo>
                  <a:pt x="487" y="10074"/>
                </a:lnTo>
                <a:lnTo>
                  <a:pt x="682" y="10318"/>
                </a:lnTo>
                <a:lnTo>
                  <a:pt x="925" y="10561"/>
                </a:lnTo>
                <a:lnTo>
                  <a:pt x="1168" y="10756"/>
                </a:lnTo>
                <a:lnTo>
                  <a:pt x="1436" y="10950"/>
                </a:lnTo>
                <a:lnTo>
                  <a:pt x="1728" y="11121"/>
                </a:lnTo>
                <a:lnTo>
                  <a:pt x="2020" y="11267"/>
                </a:lnTo>
                <a:lnTo>
                  <a:pt x="2336" y="11413"/>
                </a:lnTo>
                <a:lnTo>
                  <a:pt x="2628" y="11534"/>
                </a:lnTo>
                <a:lnTo>
                  <a:pt x="2945" y="11632"/>
                </a:lnTo>
                <a:lnTo>
                  <a:pt x="3334" y="11729"/>
                </a:lnTo>
                <a:lnTo>
                  <a:pt x="3723" y="11802"/>
                </a:lnTo>
                <a:lnTo>
                  <a:pt x="4526" y="11924"/>
                </a:lnTo>
                <a:lnTo>
                  <a:pt x="6132" y="12070"/>
                </a:lnTo>
                <a:lnTo>
                  <a:pt x="7276" y="12167"/>
                </a:lnTo>
                <a:lnTo>
                  <a:pt x="7836" y="12191"/>
                </a:lnTo>
                <a:lnTo>
                  <a:pt x="8395" y="12216"/>
                </a:lnTo>
                <a:lnTo>
                  <a:pt x="8955" y="12191"/>
                </a:lnTo>
                <a:lnTo>
                  <a:pt x="9514" y="12167"/>
                </a:lnTo>
                <a:lnTo>
                  <a:pt x="10098" y="12118"/>
                </a:lnTo>
                <a:lnTo>
                  <a:pt x="10658" y="12070"/>
                </a:lnTo>
                <a:lnTo>
                  <a:pt x="11583" y="11948"/>
                </a:lnTo>
                <a:lnTo>
                  <a:pt x="12507" y="11875"/>
                </a:lnTo>
                <a:lnTo>
                  <a:pt x="13432" y="11826"/>
                </a:lnTo>
                <a:lnTo>
                  <a:pt x="14357" y="11802"/>
                </a:lnTo>
                <a:lnTo>
                  <a:pt x="15208" y="11802"/>
                </a:lnTo>
                <a:lnTo>
                  <a:pt x="16060" y="11753"/>
                </a:lnTo>
                <a:lnTo>
                  <a:pt x="16498" y="11729"/>
                </a:lnTo>
                <a:lnTo>
                  <a:pt x="16911" y="11656"/>
                </a:lnTo>
                <a:lnTo>
                  <a:pt x="17325" y="11583"/>
                </a:lnTo>
                <a:lnTo>
                  <a:pt x="17739" y="11486"/>
                </a:lnTo>
                <a:lnTo>
                  <a:pt x="18079" y="11364"/>
                </a:lnTo>
                <a:lnTo>
                  <a:pt x="18396" y="11218"/>
                </a:lnTo>
                <a:lnTo>
                  <a:pt x="18688" y="11048"/>
                </a:lnTo>
                <a:lnTo>
                  <a:pt x="18931" y="10853"/>
                </a:lnTo>
                <a:lnTo>
                  <a:pt x="19174" y="10634"/>
                </a:lnTo>
                <a:lnTo>
                  <a:pt x="19369" y="10415"/>
                </a:lnTo>
                <a:lnTo>
                  <a:pt x="19539" y="10147"/>
                </a:lnTo>
                <a:lnTo>
                  <a:pt x="19685" y="9880"/>
                </a:lnTo>
                <a:lnTo>
                  <a:pt x="19807" y="9588"/>
                </a:lnTo>
                <a:lnTo>
                  <a:pt x="19904" y="9296"/>
                </a:lnTo>
                <a:lnTo>
                  <a:pt x="19953" y="8979"/>
                </a:lnTo>
                <a:lnTo>
                  <a:pt x="19977" y="8663"/>
                </a:lnTo>
                <a:lnTo>
                  <a:pt x="19977" y="8322"/>
                </a:lnTo>
                <a:lnTo>
                  <a:pt x="19953" y="8006"/>
                </a:lnTo>
                <a:lnTo>
                  <a:pt x="19880" y="7665"/>
                </a:lnTo>
                <a:lnTo>
                  <a:pt x="19783" y="7325"/>
                </a:lnTo>
                <a:lnTo>
                  <a:pt x="19710" y="7057"/>
                </a:lnTo>
                <a:lnTo>
                  <a:pt x="19588" y="6790"/>
                </a:lnTo>
                <a:lnTo>
                  <a:pt x="19442" y="6546"/>
                </a:lnTo>
                <a:lnTo>
                  <a:pt x="19296" y="6303"/>
                </a:lnTo>
                <a:lnTo>
                  <a:pt x="19126" y="6060"/>
                </a:lnTo>
                <a:lnTo>
                  <a:pt x="18955" y="5865"/>
                </a:lnTo>
                <a:lnTo>
                  <a:pt x="18761" y="5670"/>
                </a:lnTo>
                <a:lnTo>
                  <a:pt x="18542" y="5476"/>
                </a:lnTo>
                <a:lnTo>
                  <a:pt x="18323" y="5330"/>
                </a:lnTo>
                <a:lnTo>
                  <a:pt x="18104" y="5208"/>
                </a:lnTo>
                <a:lnTo>
                  <a:pt x="17860" y="5086"/>
                </a:lnTo>
                <a:lnTo>
                  <a:pt x="17593" y="5013"/>
                </a:lnTo>
                <a:lnTo>
                  <a:pt x="17325" y="4965"/>
                </a:lnTo>
                <a:lnTo>
                  <a:pt x="17057" y="4940"/>
                </a:lnTo>
                <a:lnTo>
                  <a:pt x="16790" y="4965"/>
                </a:lnTo>
                <a:lnTo>
                  <a:pt x="16522" y="5013"/>
                </a:lnTo>
                <a:lnTo>
                  <a:pt x="16522" y="4794"/>
                </a:lnTo>
                <a:lnTo>
                  <a:pt x="16522" y="4600"/>
                </a:lnTo>
                <a:lnTo>
                  <a:pt x="16473" y="4381"/>
                </a:lnTo>
                <a:lnTo>
                  <a:pt x="16425" y="4186"/>
                </a:lnTo>
                <a:lnTo>
                  <a:pt x="16352" y="3991"/>
                </a:lnTo>
                <a:lnTo>
                  <a:pt x="16279" y="3797"/>
                </a:lnTo>
                <a:lnTo>
                  <a:pt x="16182" y="3602"/>
                </a:lnTo>
                <a:lnTo>
                  <a:pt x="16060" y="3407"/>
                </a:lnTo>
                <a:lnTo>
                  <a:pt x="15792" y="3067"/>
                </a:lnTo>
                <a:lnTo>
                  <a:pt x="15500" y="2750"/>
                </a:lnTo>
                <a:lnTo>
                  <a:pt x="15184" y="2483"/>
                </a:lnTo>
                <a:lnTo>
                  <a:pt x="14843" y="2239"/>
                </a:lnTo>
                <a:lnTo>
                  <a:pt x="14673" y="2142"/>
                </a:lnTo>
                <a:lnTo>
                  <a:pt x="14478" y="2045"/>
                </a:lnTo>
                <a:lnTo>
                  <a:pt x="14284" y="1972"/>
                </a:lnTo>
                <a:lnTo>
                  <a:pt x="14089" y="1899"/>
                </a:lnTo>
                <a:lnTo>
                  <a:pt x="13870" y="1850"/>
                </a:lnTo>
                <a:lnTo>
                  <a:pt x="13651" y="1801"/>
                </a:lnTo>
                <a:lnTo>
                  <a:pt x="13432" y="1777"/>
                </a:lnTo>
                <a:lnTo>
                  <a:pt x="13213" y="1777"/>
                </a:lnTo>
                <a:lnTo>
                  <a:pt x="12994" y="1801"/>
                </a:lnTo>
                <a:lnTo>
                  <a:pt x="12775" y="1826"/>
                </a:lnTo>
                <a:lnTo>
                  <a:pt x="12580" y="1899"/>
                </a:lnTo>
                <a:lnTo>
                  <a:pt x="12386" y="1972"/>
                </a:lnTo>
                <a:lnTo>
                  <a:pt x="12215" y="2069"/>
                </a:lnTo>
                <a:lnTo>
                  <a:pt x="12069" y="2191"/>
                </a:lnTo>
                <a:lnTo>
                  <a:pt x="11923" y="2361"/>
                </a:lnTo>
                <a:lnTo>
                  <a:pt x="11802" y="2531"/>
                </a:lnTo>
                <a:lnTo>
                  <a:pt x="11656" y="2239"/>
                </a:lnTo>
                <a:lnTo>
                  <a:pt x="11485" y="1947"/>
                </a:lnTo>
                <a:lnTo>
                  <a:pt x="11291" y="1680"/>
                </a:lnTo>
                <a:lnTo>
                  <a:pt x="11072" y="1412"/>
                </a:lnTo>
                <a:lnTo>
                  <a:pt x="10828" y="1169"/>
                </a:lnTo>
                <a:lnTo>
                  <a:pt x="10585" y="925"/>
                </a:lnTo>
                <a:lnTo>
                  <a:pt x="10317" y="731"/>
                </a:lnTo>
                <a:lnTo>
                  <a:pt x="10050" y="536"/>
                </a:lnTo>
                <a:lnTo>
                  <a:pt x="9806" y="390"/>
                </a:lnTo>
                <a:lnTo>
                  <a:pt x="9563" y="268"/>
                </a:lnTo>
                <a:lnTo>
                  <a:pt x="9320" y="195"/>
                </a:lnTo>
                <a:lnTo>
                  <a:pt x="9052" y="122"/>
                </a:lnTo>
                <a:lnTo>
                  <a:pt x="8784" y="74"/>
                </a:lnTo>
                <a:lnTo>
                  <a:pt x="8492" y="25"/>
                </a:lnTo>
                <a:lnTo>
                  <a:pt x="8225" y="1"/>
                </a:lnTo>
                <a:close/>
              </a:path>
            </a:pathLst>
          </a:custGeom>
          <a:solidFill>
            <a:srgbClr val="6D9EEB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" name="Google Shape;445;p40"/>
          <p:cNvSpPr/>
          <p:nvPr/>
        </p:nvSpPr>
        <p:spPr>
          <a:xfrm>
            <a:off x="10453037" y="2483317"/>
            <a:ext cx="914400" cy="885523"/>
          </a:xfrm>
          <a:custGeom>
            <a:avLst/>
            <a:gdLst/>
            <a:ahLst/>
            <a:cxnLst/>
            <a:rect l="l" t="t" r="r" b="b"/>
            <a:pathLst>
              <a:path w="11730" h="20002" extrusionOk="0">
                <a:moveTo>
                  <a:pt x="6425" y="414"/>
                </a:moveTo>
                <a:lnTo>
                  <a:pt x="6571" y="439"/>
                </a:lnTo>
                <a:lnTo>
                  <a:pt x="6692" y="487"/>
                </a:lnTo>
                <a:lnTo>
                  <a:pt x="6814" y="560"/>
                </a:lnTo>
                <a:lnTo>
                  <a:pt x="6936" y="633"/>
                </a:lnTo>
                <a:lnTo>
                  <a:pt x="7033" y="731"/>
                </a:lnTo>
                <a:lnTo>
                  <a:pt x="7130" y="828"/>
                </a:lnTo>
                <a:lnTo>
                  <a:pt x="7179" y="950"/>
                </a:lnTo>
                <a:lnTo>
                  <a:pt x="7228" y="1096"/>
                </a:lnTo>
                <a:lnTo>
                  <a:pt x="7252" y="1242"/>
                </a:lnTo>
                <a:lnTo>
                  <a:pt x="7276" y="1534"/>
                </a:lnTo>
                <a:lnTo>
                  <a:pt x="7228" y="1801"/>
                </a:lnTo>
                <a:lnTo>
                  <a:pt x="7155" y="2093"/>
                </a:lnTo>
                <a:lnTo>
                  <a:pt x="7033" y="2385"/>
                </a:lnTo>
                <a:lnTo>
                  <a:pt x="6790" y="2945"/>
                </a:lnTo>
                <a:lnTo>
                  <a:pt x="6522" y="3480"/>
                </a:lnTo>
                <a:lnTo>
                  <a:pt x="6303" y="3456"/>
                </a:lnTo>
                <a:lnTo>
                  <a:pt x="5938" y="3456"/>
                </a:lnTo>
                <a:lnTo>
                  <a:pt x="5646" y="2629"/>
                </a:lnTo>
                <a:lnTo>
                  <a:pt x="5427" y="2069"/>
                </a:lnTo>
                <a:lnTo>
                  <a:pt x="5305" y="1826"/>
                </a:lnTo>
                <a:lnTo>
                  <a:pt x="5208" y="1631"/>
                </a:lnTo>
                <a:lnTo>
                  <a:pt x="5184" y="1388"/>
                </a:lnTo>
                <a:lnTo>
                  <a:pt x="5208" y="1266"/>
                </a:lnTo>
                <a:lnTo>
                  <a:pt x="5232" y="1169"/>
                </a:lnTo>
                <a:lnTo>
                  <a:pt x="5281" y="1047"/>
                </a:lnTo>
                <a:lnTo>
                  <a:pt x="5330" y="925"/>
                </a:lnTo>
                <a:lnTo>
                  <a:pt x="5403" y="828"/>
                </a:lnTo>
                <a:lnTo>
                  <a:pt x="5500" y="731"/>
                </a:lnTo>
                <a:lnTo>
                  <a:pt x="5622" y="633"/>
                </a:lnTo>
                <a:lnTo>
                  <a:pt x="5743" y="536"/>
                </a:lnTo>
                <a:lnTo>
                  <a:pt x="5865" y="487"/>
                </a:lnTo>
                <a:lnTo>
                  <a:pt x="6011" y="439"/>
                </a:lnTo>
                <a:lnTo>
                  <a:pt x="6157" y="414"/>
                </a:lnTo>
                <a:close/>
                <a:moveTo>
                  <a:pt x="9052" y="1339"/>
                </a:moveTo>
                <a:lnTo>
                  <a:pt x="9198" y="1388"/>
                </a:lnTo>
                <a:lnTo>
                  <a:pt x="9344" y="1436"/>
                </a:lnTo>
                <a:lnTo>
                  <a:pt x="9490" y="1534"/>
                </a:lnTo>
                <a:lnTo>
                  <a:pt x="9588" y="1631"/>
                </a:lnTo>
                <a:lnTo>
                  <a:pt x="9709" y="1753"/>
                </a:lnTo>
                <a:lnTo>
                  <a:pt x="9782" y="1874"/>
                </a:lnTo>
                <a:lnTo>
                  <a:pt x="9855" y="2020"/>
                </a:lnTo>
                <a:lnTo>
                  <a:pt x="9904" y="2166"/>
                </a:lnTo>
                <a:lnTo>
                  <a:pt x="9928" y="2312"/>
                </a:lnTo>
                <a:lnTo>
                  <a:pt x="9928" y="2483"/>
                </a:lnTo>
                <a:lnTo>
                  <a:pt x="9928" y="2629"/>
                </a:lnTo>
                <a:lnTo>
                  <a:pt x="9904" y="2775"/>
                </a:lnTo>
                <a:lnTo>
                  <a:pt x="9831" y="2945"/>
                </a:lnTo>
                <a:lnTo>
                  <a:pt x="9758" y="3067"/>
                </a:lnTo>
                <a:lnTo>
                  <a:pt x="9661" y="3213"/>
                </a:lnTo>
                <a:lnTo>
                  <a:pt x="9442" y="3383"/>
                </a:lnTo>
                <a:lnTo>
                  <a:pt x="9198" y="3553"/>
                </a:lnTo>
                <a:lnTo>
                  <a:pt x="8931" y="3675"/>
                </a:lnTo>
                <a:lnTo>
                  <a:pt x="8615" y="3796"/>
                </a:lnTo>
                <a:lnTo>
                  <a:pt x="8323" y="3869"/>
                </a:lnTo>
                <a:lnTo>
                  <a:pt x="8006" y="3967"/>
                </a:lnTo>
                <a:lnTo>
                  <a:pt x="7447" y="4088"/>
                </a:lnTo>
                <a:lnTo>
                  <a:pt x="7349" y="3942"/>
                </a:lnTo>
                <a:lnTo>
                  <a:pt x="7228" y="3821"/>
                </a:lnTo>
                <a:lnTo>
                  <a:pt x="7106" y="3724"/>
                </a:lnTo>
                <a:lnTo>
                  <a:pt x="6960" y="3626"/>
                </a:lnTo>
                <a:lnTo>
                  <a:pt x="7228" y="3091"/>
                </a:lnTo>
                <a:lnTo>
                  <a:pt x="7447" y="2531"/>
                </a:lnTo>
                <a:lnTo>
                  <a:pt x="7568" y="2288"/>
                </a:lnTo>
                <a:lnTo>
                  <a:pt x="7690" y="2069"/>
                </a:lnTo>
                <a:lnTo>
                  <a:pt x="7836" y="1874"/>
                </a:lnTo>
                <a:lnTo>
                  <a:pt x="7982" y="1704"/>
                </a:lnTo>
                <a:lnTo>
                  <a:pt x="8177" y="1558"/>
                </a:lnTo>
                <a:lnTo>
                  <a:pt x="8371" y="1436"/>
                </a:lnTo>
                <a:lnTo>
                  <a:pt x="8590" y="1363"/>
                </a:lnTo>
                <a:lnTo>
                  <a:pt x="8858" y="1339"/>
                </a:lnTo>
                <a:close/>
                <a:moveTo>
                  <a:pt x="3991" y="1242"/>
                </a:moveTo>
                <a:lnTo>
                  <a:pt x="4162" y="1266"/>
                </a:lnTo>
                <a:lnTo>
                  <a:pt x="4308" y="1315"/>
                </a:lnTo>
                <a:lnTo>
                  <a:pt x="4454" y="1412"/>
                </a:lnTo>
                <a:lnTo>
                  <a:pt x="4575" y="1534"/>
                </a:lnTo>
                <a:lnTo>
                  <a:pt x="4697" y="1704"/>
                </a:lnTo>
                <a:lnTo>
                  <a:pt x="4819" y="1874"/>
                </a:lnTo>
                <a:lnTo>
                  <a:pt x="4916" y="2312"/>
                </a:lnTo>
                <a:lnTo>
                  <a:pt x="5086" y="2775"/>
                </a:lnTo>
                <a:lnTo>
                  <a:pt x="5184" y="2994"/>
                </a:lnTo>
                <a:lnTo>
                  <a:pt x="5305" y="3213"/>
                </a:lnTo>
                <a:lnTo>
                  <a:pt x="5427" y="3407"/>
                </a:lnTo>
                <a:lnTo>
                  <a:pt x="5573" y="3578"/>
                </a:lnTo>
                <a:lnTo>
                  <a:pt x="5476" y="3626"/>
                </a:lnTo>
                <a:lnTo>
                  <a:pt x="5305" y="3724"/>
                </a:lnTo>
                <a:lnTo>
                  <a:pt x="5135" y="3845"/>
                </a:lnTo>
                <a:lnTo>
                  <a:pt x="5013" y="4015"/>
                </a:lnTo>
                <a:lnTo>
                  <a:pt x="4892" y="4186"/>
                </a:lnTo>
                <a:lnTo>
                  <a:pt x="4794" y="4113"/>
                </a:lnTo>
                <a:lnTo>
                  <a:pt x="4697" y="4040"/>
                </a:lnTo>
                <a:lnTo>
                  <a:pt x="4478" y="3894"/>
                </a:lnTo>
                <a:lnTo>
                  <a:pt x="4016" y="3699"/>
                </a:lnTo>
                <a:lnTo>
                  <a:pt x="3578" y="3432"/>
                </a:lnTo>
                <a:lnTo>
                  <a:pt x="3213" y="3213"/>
                </a:lnTo>
                <a:lnTo>
                  <a:pt x="3115" y="3164"/>
                </a:lnTo>
                <a:lnTo>
                  <a:pt x="3018" y="3091"/>
                </a:lnTo>
                <a:lnTo>
                  <a:pt x="2969" y="2994"/>
                </a:lnTo>
                <a:lnTo>
                  <a:pt x="2921" y="2896"/>
                </a:lnTo>
                <a:lnTo>
                  <a:pt x="2921" y="2799"/>
                </a:lnTo>
                <a:lnTo>
                  <a:pt x="2921" y="2677"/>
                </a:lnTo>
                <a:lnTo>
                  <a:pt x="2969" y="2434"/>
                </a:lnTo>
                <a:lnTo>
                  <a:pt x="3067" y="2118"/>
                </a:lnTo>
                <a:lnTo>
                  <a:pt x="3213" y="1826"/>
                </a:lnTo>
                <a:lnTo>
                  <a:pt x="3310" y="1680"/>
                </a:lnTo>
                <a:lnTo>
                  <a:pt x="3432" y="1558"/>
                </a:lnTo>
                <a:lnTo>
                  <a:pt x="3529" y="1436"/>
                </a:lnTo>
                <a:lnTo>
                  <a:pt x="3675" y="1339"/>
                </a:lnTo>
                <a:lnTo>
                  <a:pt x="3845" y="1266"/>
                </a:lnTo>
                <a:lnTo>
                  <a:pt x="3991" y="1242"/>
                </a:lnTo>
                <a:close/>
                <a:moveTo>
                  <a:pt x="6157" y="3967"/>
                </a:moveTo>
                <a:lnTo>
                  <a:pt x="6181" y="4015"/>
                </a:lnTo>
                <a:lnTo>
                  <a:pt x="6084" y="4088"/>
                </a:lnTo>
                <a:lnTo>
                  <a:pt x="5962" y="4161"/>
                </a:lnTo>
                <a:lnTo>
                  <a:pt x="5768" y="4380"/>
                </a:lnTo>
                <a:lnTo>
                  <a:pt x="5597" y="4624"/>
                </a:lnTo>
                <a:lnTo>
                  <a:pt x="5451" y="4843"/>
                </a:lnTo>
                <a:lnTo>
                  <a:pt x="5305" y="5110"/>
                </a:lnTo>
                <a:lnTo>
                  <a:pt x="5281" y="4989"/>
                </a:lnTo>
                <a:lnTo>
                  <a:pt x="5281" y="4867"/>
                </a:lnTo>
                <a:lnTo>
                  <a:pt x="5281" y="4745"/>
                </a:lnTo>
                <a:lnTo>
                  <a:pt x="5330" y="4624"/>
                </a:lnTo>
                <a:lnTo>
                  <a:pt x="5378" y="4526"/>
                </a:lnTo>
                <a:lnTo>
                  <a:pt x="5524" y="4307"/>
                </a:lnTo>
                <a:lnTo>
                  <a:pt x="5695" y="4137"/>
                </a:lnTo>
                <a:lnTo>
                  <a:pt x="5816" y="4064"/>
                </a:lnTo>
                <a:lnTo>
                  <a:pt x="5914" y="4015"/>
                </a:lnTo>
                <a:lnTo>
                  <a:pt x="6035" y="3991"/>
                </a:lnTo>
                <a:lnTo>
                  <a:pt x="6157" y="3967"/>
                </a:lnTo>
                <a:close/>
                <a:moveTo>
                  <a:pt x="6425" y="4064"/>
                </a:moveTo>
                <a:lnTo>
                  <a:pt x="6595" y="4113"/>
                </a:lnTo>
                <a:lnTo>
                  <a:pt x="6741" y="4186"/>
                </a:lnTo>
                <a:lnTo>
                  <a:pt x="6571" y="4307"/>
                </a:lnTo>
                <a:lnTo>
                  <a:pt x="6400" y="4453"/>
                </a:lnTo>
                <a:lnTo>
                  <a:pt x="6254" y="4624"/>
                </a:lnTo>
                <a:lnTo>
                  <a:pt x="6108" y="4794"/>
                </a:lnTo>
                <a:lnTo>
                  <a:pt x="5987" y="4964"/>
                </a:lnTo>
                <a:lnTo>
                  <a:pt x="5841" y="5208"/>
                </a:lnTo>
                <a:lnTo>
                  <a:pt x="5743" y="5427"/>
                </a:lnTo>
                <a:lnTo>
                  <a:pt x="5695" y="5548"/>
                </a:lnTo>
                <a:lnTo>
                  <a:pt x="5670" y="5670"/>
                </a:lnTo>
                <a:lnTo>
                  <a:pt x="5573" y="5597"/>
                </a:lnTo>
                <a:lnTo>
                  <a:pt x="5500" y="5500"/>
                </a:lnTo>
                <a:lnTo>
                  <a:pt x="5549" y="5281"/>
                </a:lnTo>
                <a:lnTo>
                  <a:pt x="5646" y="5062"/>
                </a:lnTo>
                <a:lnTo>
                  <a:pt x="5768" y="4867"/>
                </a:lnTo>
                <a:lnTo>
                  <a:pt x="5914" y="4672"/>
                </a:lnTo>
                <a:lnTo>
                  <a:pt x="6157" y="4405"/>
                </a:lnTo>
                <a:lnTo>
                  <a:pt x="6303" y="4210"/>
                </a:lnTo>
                <a:lnTo>
                  <a:pt x="6425" y="4064"/>
                </a:lnTo>
                <a:close/>
                <a:moveTo>
                  <a:pt x="7009" y="4551"/>
                </a:moveTo>
                <a:lnTo>
                  <a:pt x="7033" y="4721"/>
                </a:lnTo>
                <a:lnTo>
                  <a:pt x="7009" y="4891"/>
                </a:lnTo>
                <a:lnTo>
                  <a:pt x="6960" y="5062"/>
                </a:lnTo>
                <a:lnTo>
                  <a:pt x="6887" y="5232"/>
                </a:lnTo>
                <a:lnTo>
                  <a:pt x="6790" y="5378"/>
                </a:lnTo>
                <a:lnTo>
                  <a:pt x="6644" y="5524"/>
                </a:lnTo>
                <a:lnTo>
                  <a:pt x="6498" y="5646"/>
                </a:lnTo>
                <a:lnTo>
                  <a:pt x="6327" y="5743"/>
                </a:lnTo>
                <a:lnTo>
                  <a:pt x="6376" y="5597"/>
                </a:lnTo>
                <a:lnTo>
                  <a:pt x="6692" y="4989"/>
                </a:lnTo>
                <a:lnTo>
                  <a:pt x="7009" y="4551"/>
                </a:lnTo>
                <a:close/>
                <a:moveTo>
                  <a:pt x="6814" y="4234"/>
                </a:moveTo>
                <a:lnTo>
                  <a:pt x="6911" y="4332"/>
                </a:lnTo>
                <a:lnTo>
                  <a:pt x="6790" y="4453"/>
                </a:lnTo>
                <a:lnTo>
                  <a:pt x="6692" y="4575"/>
                </a:lnTo>
                <a:lnTo>
                  <a:pt x="6571" y="4745"/>
                </a:lnTo>
                <a:lnTo>
                  <a:pt x="6376" y="5086"/>
                </a:lnTo>
                <a:lnTo>
                  <a:pt x="6206" y="5427"/>
                </a:lnTo>
                <a:lnTo>
                  <a:pt x="6108" y="5597"/>
                </a:lnTo>
                <a:lnTo>
                  <a:pt x="6011" y="5792"/>
                </a:lnTo>
                <a:lnTo>
                  <a:pt x="5865" y="5767"/>
                </a:lnTo>
                <a:lnTo>
                  <a:pt x="5962" y="5597"/>
                </a:lnTo>
                <a:lnTo>
                  <a:pt x="6035" y="5427"/>
                </a:lnTo>
                <a:lnTo>
                  <a:pt x="6108" y="5256"/>
                </a:lnTo>
                <a:lnTo>
                  <a:pt x="6181" y="5086"/>
                </a:lnTo>
                <a:lnTo>
                  <a:pt x="6303" y="4843"/>
                </a:lnTo>
                <a:lnTo>
                  <a:pt x="6473" y="4624"/>
                </a:lnTo>
                <a:lnTo>
                  <a:pt x="6619" y="4429"/>
                </a:lnTo>
                <a:lnTo>
                  <a:pt x="6814" y="4234"/>
                </a:lnTo>
                <a:close/>
                <a:moveTo>
                  <a:pt x="2848" y="3821"/>
                </a:moveTo>
                <a:lnTo>
                  <a:pt x="3067" y="3845"/>
                </a:lnTo>
                <a:lnTo>
                  <a:pt x="3310" y="3894"/>
                </a:lnTo>
                <a:lnTo>
                  <a:pt x="3456" y="3942"/>
                </a:lnTo>
                <a:lnTo>
                  <a:pt x="3626" y="4040"/>
                </a:lnTo>
                <a:lnTo>
                  <a:pt x="4016" y="4234"/>
                </a:lnTo>
                <a:lnTo>
                  <a:pt x="4210" y="4332"/>
                </a:lnTo>
                <a:lnTo>
                  <a:pt x="4405" y="4405"/>
                </a:lnTo>
                <a:lnTo>
                  <a:pt x="4575" y="4453"/>
                </a:lnTo>
                <a:lnTo>
                  <a:pt x="4770" y="4478"/>
                </a:lnTo>
                <a:lnTo>
                  <a:pt x="4697" y="4745"/>
                </a:lnTo>
                <a:lnTo>
                  <a:pt x="4697" y="4891"/>
                </a:lnTo>
                <a:lnTo>
                  <a:pt x="4697" y="5062"/>
                </a:lnTo>
                <a:lnTo>
                  <a:pt x="4527" y="5086"/>
                </a:lnTo>
                <a:lnTo>
                  <a:pt x="4356" y="5135"/>
                </a:lnTo>
                <a:lnTo>
                  <a:pt x="4186" y="5183"/>
                </a:lnTo>
                <a:lnTo>
                  <a:pt x="4040" y="5281"/>
                </a:lnTo>
                <a:lnTo>
                  <a:pt x="3724" y="5451"/>
                </a:lnTo>
                <a:lnTo>
                  <a:pt x="3432" y="5646"/>
                </a:lnTo>
                <a:lnTo>
                  <a:pt x="2896" y="5986"/>
                </a:lnTo>
                <a:lnTo>
                  <a:pt x="2604" y="6011"/>
                </a:lnTo>
                <a:lnTo>
                  <a:pt x="2312" y="6035"/>
                </a:lnTo>
                <a:lnTo>
                  <a:pt x="2191" y="6035"/>
                </a:lnTo>
                <a:lnTo>
                  <a:pt x="2069" y="5986"/>
                </a:lnTo>
                <a:lnTo>
                  <a:pt x="1947" y="5889"/>
                </a:lnTo>
                <a:lnTo>
                  <a:pt x="1826" y="5767"/>
                </a:lnTo>
                <a:lnTo>
                  <a:pt x="1753" y="5621"/>
                </a:lnTo>
                <a:lnTo>
                  <a:pt x="1680" y="5451"/>
                </a:lnTo>
                <a:lnTo>
                  <a:pt x="1655" y="5305"/>
                </a:lnTo>
                <a:lnTo>
                  <a:pt x="1631" y="5135"/>
                </a:lnTo>
                <a:lnTo>
                  <a:pt x="1631" y="4964"/>
                </a:lnTo>
                <a:lnTo>
                  <a:pt x="1655" y="4794"/>
                </a:lnTo>
                <a:lnTo>
                  <a:pt x="1704" y="4624"/>
                </a:lnTo>
                <a:lnTo>
                  <a:pt x="1753" y="4478"/>
                </a:lnTo>
                <a:lnTo>
                  <a:pt x="1874" y="4259"/>
                </a:lnTo>
                <a:lnTo>
                  <a:pt x="2020" y="4113"/>
                </a:lnTo>
                <a:lnTo>
                  <a:pt x="2215" y="3991"/>
                </a:lnTo>
                <a:lnTo>
                  <a:pt x="2410" y="3894"/>
                </a:lnTo>
                <a:lnTo>
                  <a:pt x="2629" y="3845"/>
                </a:lnTo>
                <a:lnTo>
                  <a:pt x="2848" y="3821"/>
                </a:lnTo>
                <a:close/>
                <a:moveTo>
                  <a:pt x="10220" y="3869"/>
                </a:moveTo>
                <a:lnTo>
                  <a:pt x="10488" y="3918"/>
                </a:lnTo>
                <a:lnTo>
                  <a:pt x="10658" y="3991"/>
                </a:lnTo>
                <a:lnTo>
                  <a:pt x="10756" y="4088"/>
                </a:lnTo>
                <a:lnTo>
                  <a:pt x="10853" y="4234"/>
                </a:lnTo>
                <a:lnTo>
                  <a:pt x="10902" y="4380"/>
                </a:lnTo>
                <a:lnTo>
                  <a:pt x="10950" y="4551"/>
                </a:lnTo>
                <a:lnTo>
                  <a:pt x="10975" y="4697"/>
                </a:lnTo>
                <a:lnTo>
                  <a:pt x="10975" y="5013"/>
                </a:lnTo>
                <a:lnTo>
                  <a:pt x="10950" y="5183"/>
                </a:lnTo>
                <a:lnTo>
                  <a:pt x="10902" y="5354"/>
                </a:lnTo>
                <a:lnTo>
                  <a:pt x="10853" y="5548"/>
                </a:lnTo>
                <a:lnTo>
                  <a:pt x="10780" y="5694"/>
                </a:lnTo>
                <a:lnTo>
                  <a:pt x="10683" y="5865"/>
                </a:lnTo>
                <a:lnTo>
                  <a:pt x="10561" y="6011"/>
                </a:lnTo>
                <a:lnTo>
                  <a:pt x="10439" y="6108"/>
                </a:lnTo>
                <a:lnTo>
                  <a:pt x="10293" y="6205"/>
                </a:lnTo>
                <a:lnTo>
                  <a:pt x="10123" y="6230"/>
                </a:lnTo>
                <a:lnTo>
                  <a:pt x="9953" y="6254"/>
                </a:lnTo>
                <a:lnTo>
                  <a:pt x="9782" y="6230"/>
                </a:lnTo>
                <a:lnTo>
                  <a:pt x="9612" y="6181"/>
                </a:lnTo>
                <a:lnTo>
                  <a:pt x="9344" y="6035"/>
                </a:lnTo>
                <a:lnTo>
                  <a:pt x="9052" y="5889"/>
                </a:lnTo>
                <a:lnTo>
                  <a:pt x="8833" y="5792"/>
                </a:lnTo>
                <a:lnTo>
                  <a:pt x="8590" y="5646"/>
                </a:lnTo>
                <a:lnTo>
                  <a:pt x="8347" y="5475"/>
                </a:lnTo>
                <a:lnTo>
                  <a:pt x="8104" y="5305"/>
                </a:lnTo>
                <a:lnTo>
                  <a:pt x="7860" y="5183"/>
                </a:lnTo>
                <a:lnTo>
                  <a:pt x="7714" y="5135"/>
                </a:lnTo>
                <a:lnTo>
                  <a:pt x="7593" y="5110"/>
                </a:lnTo>
                <a:lnTo>
                  <a:pt x="7617" y="5062"/>
                </a:lnTo>
                <a:lnTo>
                  <a:pt x="7641" y="4867"/>
                </a:lnTo>
                <a:lnTo>
                  <a:pt x="7641" y="4672"/>
                </a:lnTo>
                <a:lnTo>
                  <a:pt x="7812" y="4502"/>
                </a:lnTo>
                <a:lnTo>
                  <a:pt x="8225" y="4405"/>
                </a:lnTo>
                <a:lnTo>
                  <a:pt x="8639" y="4283"/>
                </a:lnTo>
                <a:lnTo>
                  <a:pt x="9052" y="4137"/>
                </a:lnTo>
                <a:lnTo>
                  <a:pt x="9417" y="3967"/>
                </a:lnTo>
                <a:lnTo>
                  <a:pt x="9685" y="3894"/>
                </a:lnTo>
                <a:lnTo>
                  <a:pt x="9953" y="3869"/>
                </a:lnTo>
                <a:close/>
                <a:moveTo>
                  <a:pt x="7349" y="5646"/>
                </a:moveTo>
                <a:lnTo>
                  <a:pt x="7617" y="5767"/>
                </a:lnTo>
                <a:lnTo>
                  <a:pt x="7885" y="5913"/>
                </a:lnTo>
                <a:lnTo>
                  <a:pt x="8152" y="6059"/>
                </a:lnTo>
                <a:lnTo>
                  <a:pt x="8444" y="6205"/>
                </a:lnTo>
                <a:lnTo>
                  <a:pt x="8542" y="6278"/>
                </a:lnTo>
                <a:lnTo>
                  <a:pt x="8882" y="6424"/>
                </a:lnTo>
                <a:lnTo>
                  <a:pt x="9198" y="6546"/>
                </a:lnTo>
                <a:lnTo>
                  <a:pt x="9369" y="6643"/>
                </a:lnTo>
                <a:lnTo>
                  <a:pt x="9515" y="6741"/>
                </a:lnTo>
                <a:lnTo>
                  <a:pt x="9612" y="6838"/>
                </a:lnTo>
                <a:lnTo>
                  <a:pt x="9709" y="6984"/>
                </a:lnTo>
                <a:lnTo>
                  <a:pt x="9782" y="7106"/>
                </a:lnTo>
                <a:lnTo>
                  <a:pt x="9855" y="7252"/>
                </a:lnTo>
                <a:lnTo>
                  <a:pt x="9880" y="7398"/>
                </a:lnTo>
                <a:lnTo>
                  <a:pt x="9880" y="7568"/>
                </a:lnTo>
                <a:lnTo>
                  <a:pt x="9855" y="7738"/>
                </a:lnTo>
                <a:lnTo>
                  <a:pt x="9807" y="7860"/>
                </a:lnTo>
                <a:lnTo>
                  <a:pt x="9734" y="7957"/>
                </a:lnTo>
                <a:lnTo>
                  <a:pt x="9636" y="8055"/>
                </a:lnTo>
                <a:lnTo>
                  <a:pt x="9539" y="8152"/>
                </a:lnTo>
                <a:lnTo>
                  <a:pt x="9296" y="8274"/>
                </a:lnTo>
                <a:lnTo>
                  <a:pt x="9052" y="8347"/>
                </a:lnTo>
                <a:lnTo>
                  <a:pt x="8931" y="8371"/>
                </a:lnTo>
                <a:lnTo>
                  <a:pt x="8809" y="8395"/>
                </a:lnTo>
                <a:lnTo>
                  <a:pt x="8688" y="8371"/>
                </a:lnTo>
                <a:lnTo>
                  <a:pt x="8590" y="8371"/>
                </a:lnTo>
                <a:lnTo>
                  <a:pt x="8396" y="8298"/>
                </a:lnTo>
                <a:lnTo>
                  <a:pt x="8201" y="8176"/>
                </a:lnTo>
                <a:lnTo>
                  <a:pt x="8055" y="8006"/>
                </a:lnTo>
                <a:lnTo>
                  <a:pt x="7909" y="7836"/>
                </a:lnTo>
                <a:lnTo>
                  <a:pt x="7787" y="7641"/>
                </a:lnTo>
                <a:lnTo>
                  <a:pt x="7666" y="7446"/>
                </a:lnTo>
                <a:lnTo>
                  <a:pt x="7568" y="7227"/>
                </a:lnTo>
                <a:lnTo>
                  <a:pt x="7495" y="6984"/>
                </a:lnTo>
                <a:lnTo>
                  <a:pt x="7349" y="6546"/>
                </a:lnTo>
                <a:lnTo>
                  <a:pt x="7276" y="6205"/>
                </a:lnTo>
                <a:lnTo>
                  <a:pt x="7228" y="6035"/>
                </a:lnTo>
                <a:lnTo>
                  <a:pt x="7155" y="5889"/>
                </a:lnTo>
                <a:lnTo>
                  <a:pt x="7349" y="5646"/>
                </a:lnTo>
                <a:close/>
                <a:moveTo>
                  <a:pt x="4721" y="5256"/>
                </a:moveTo>
                <a:lnTo>
                  <a:pt x="4819" y="5475"/>
                </a:lnTo>
                <a:lnTo>
                  <a:pt x="4916" y="5719"/>
                </a:lnTo>
                <a:lnTo>
                  <a:pt x="5062" y="5913"/>
                </a:lnTo>
                <a:lnTo>
                  <a:pt x="5257" y="6084"/>
                </a:lnTo>
                <a:lnTo>
                  <a:pt x="5184" y="6351"/>
                </a:lnTo>
                <a:lnTo>
                  <a:pt x="5159" y="6668"/>
                </a:lnTo>
                <a:lnTo>
                  <a:pt x="5135" y="6935"/>
                </a:lnTo>
                <a:lnTo>
                  <a:pt x="5013" y="7325"/>
                </a:lnTo>
                <a:lnTo>
                  <a:pt x="4916" y="7690"/>
                </a:lnTo>
                <a:lnTo>
                  <a:pt x="4867" y="7787"/>
                </a:lnTo>
                <a:lnTo>
                  <a:pt x="4721" y="8030"/>
                </a:lnTo>
                <a:lnTo>
                  <a:pt x="4527" y="8225"/>
                </a:lnTo>
                <a:lnTo>
                  <a:pt x="4308" y="8395"/>
                </a:lnTo>
                <a:lnTo>
                  <a:pt x="4064" y="8493"/>
                </a:lnTo>
                <a:lnTo>
                  <a:pt x="3943" y="8541"/>
                </a:lnTo>
                <a:lnTo>
                  <a:pt x="3797" y="8566"/>
                </a:lnTo>
                <a:lnTo>
                  <a:pt x="3553" y="8566"/>
                </a:lnTo>
                <a:lnTo>
                  <a:pt x="3407" y="8541"/>
                </a:lnTo>
                <a:lnTo>
                  <a:pt x="3286" y="8493"/>
                </a:lnTo>
                <a:lnTo>
                  <a:pt x="3164" y="8420"/>
                </a:lnTo>
                <a:lnTo>
                  <a:pt x="3067" y="8322"/>
                </a:lnTo>
                <a:lnTo>
                  <a:pt x="2969" y="8225"/>
                </a:lnTo>
                <a:lnTo>
                  <a:pt x="2872" y="8128"/>
                </a:lnTo>
                <a:lnTo>
                  <a:pt x="2750" y="7884"/>
                </a:lnTo>
                <a:lnTo>
                  <a:pt x="2677" y="7641"/>
                </a:lnTo>
                <a:lnTo>
                  <a:pt x="2677" y="7398"/>
                </a:lnTo>
                <a:lnTo>
                  <a:pt x="2702" y="7154"/>
                </a:lnTo>
                <a:lnTo>
                  <a:pt x="2775" y="6911"/>
                </a:lnTo>
                <a:lnTo>
                  <a:pt x="2896" y="6692"/>
                </a:lnTo>
                <a:lnTo>
                  <a:pt x="3091" y="6497"/>
                </a:lnTo>
                <a:lnTo>
                  <a:pt x="3261" y="6327"/>
                </a:lnTo>
                <a:lnTo>
                  <a:pt x="3480" y="6157"/>
                </a:lnTo>
                <a:lnTo>
                  <a:pt x="3894" y="5865"/>
                </a:lnTo>
                <a:lnTo>
                  <a:pt x="4332" y="5573"/>
                </a:lnTo>
                <a:lnTo>
                  <a:pt x="4721" y="5256"/>
                </a:lnTo>
                <a:close/>
                <a:moveTo>
                  <a:pt x="6619" y="6278"/>
                </a:moveTo>
                <a:lnTo>
                  <a:pt x="6741" y="6522"/>
                </a:lnTo>
                <a:lnTo>
                  <a:pt x="6838" y="6789"/>
                </a:lnTo>
                <a:lnTo>
                  <a:pt x="6984" y="7252"/>
                </a:lnTo>
                <a:lnTo>
                  <a:pt x="7130" y="7690"/>
                </a:lnTo>
                <a:lnTo>
                  <a:pt x="7325" y="8201"/>
                </a:lnTo>
                <a:lnTo>
                  <a:pt x="7398" y="8444"/>
                </a:lnTo>
                <a:lnTo>
                  <a:pt x="7422" y="8712"/>
                </a:lnTo>
                <a:lnTo>
                  <a:pt x="7422" y="8906"/>
                </a:lnTo>
                <a:lnTo>
                  <a:pt x="7349" y="9052"/>
                </a:lnTo>
                <a:lnTo>
                  <a:pt x="7276" y="9174"/>
                </a:lnTo>
                <a:lnTo>
                  <a:pt x="7155" y="9296"/>
                </a:lnTo>
                <a:lnTo>
                  <a:pt x="7009" y="9369"/>
                </a:lnTo>
                <a:lnTo>
                  <a:pt x="6863" y="9417"/>
                </a:lnTo>
                <a:lnTo>
                  <a:pt x="6692" y="9442"/>
                </a:lnTo>
                <a:lnTo>
                  <a:pt x="6522" y="9442"/>
                </a:lnTo>
                <a:lnTo>
                  <a:pt x="6279" y="9417"/>
                </a:lnTo>
                <a:lnTo>
                  <a:pt x="6060" y="9369"/>
                </a:lnTo>
                <a:lnTo>
                  <a:pt x="5841" y="9296"/>
                </a:lnTo>
                <a:lnTo>
                  <a:pt x="5622" y="9174"/>
                </a:lnTo>
                <a:lnTo>
                  <a:pt x="5500" y="9077"/>
                </a:lnTo>
                <a:lnTo>
                  <a:pt x="5378" y="8979"/>
                </a:lnTo>
                <a:lnTo>
                  <a:pt x="5305" y="8858"/>
                </a:lnTo>
                <a:lnTo>
                  <a:pt x="5257" y="8736"/>
                </a:lnTo>
                <a:lnTo>
                  <a:pt x="5232" y="8590"/>
                </a:lnTo>
                <a:lnTo>
                  <a:pt x="5232" y="8444"/>
                </a:lnTo>
                <a:lnTo>
                  <a:pt x="5257" y="8128"/>
                </a:lnTo>
                <a:lnTo>
                  <a:pt x="5354" y="7957"/>
                </a:lnTo>
                <a:lnTo>
                  <a:pt x="5451" y="7763"/>
                </a:lnTo>
                <a:lnTo>
                  <a:pt x="5500" y="7568"/>
                </a:lnTo>
                <a:lnTo>
                  <a:pt x="5549" y="7398"/>
                </a:lnTo>
                <a:lnTo>
                  <a:pt x="5622" y="7008"/>
                </a:lnTo>
                <a:lnTo>
                  <a:pt x="5695" y="6741"/>
                </a:lnTo>
                <a:lnTo>
                  <a:pt x="5841" y="6376"/>
                </a:lnTo>
                <a:lnTo>
                  <a:pt x="6011" y="6400"/>
                </a:lnTo>
                <a:lnTo>
                  <a:pt x="6181" y="6400"/>
                </a:lnTo>
                <a:lnTo>
                  <a:pt x="6400" y="6351"/>
                </a:lnTo>
                <a:lnTo>
                  <a:pt x="6619" y="6278"/>
                </a:lnTo>
                <a:close/>
                <a:moveTo>
                  <a:pt x="11194" y="9734"/>
                </a:moveTo>
                <a:lnTo>
                  <a:pt x="11194" y="9782"/>
                </a:lnTo>
                <a:lnTo>
                  <a:pt x="10999" y="10512"/>
                </a:lnTo>
                <a:lnTo>
                  <a:pt x="10756" y="11461"/>
                </a:lnTo>
                <a:lnTo>
                  <a:pt x="10634" y="11923"/>
                </a:lnTo>
                <a:lnTo>
                  <a:pt x="10488" y="12361"/>
                </a:lnTo>
                <a:lnTo>
                  <a:pt x="10366" y="12653"/>
                </a:lnTo>
                <a:lnTo>
                  <a:pt x="10220" y="12897"/>
                </a:lnTo>
                <a:lnTo>
                  <a:pt x="10050" y="13116"/>
                </a:lnTo>
                <a:lnTo>
                  <a:pt x="9831" y="13335"/>
                </a:lnTo>
                <a:lnTo>
                  <a:pt x="9612" y="13529"/>
                </a:lnTo>
                <a:lnTo>
                  <a:pt x="9369" y="13675"/>
                </a:lnTo>
                <a:lnTo>
                  <a:pt x="9101" y="13821"/>
                </a:lnTo>
                <a:lnTo>
                  <a:pt x="8833" y="13943"/>
                </a:lnTo>
                <a:lnTo>
                  <a:pt x="8615" y="14016"/>
                </a:lnTo>
                <a:lnTo>
                  <a:pt x="8371" y="14040"/>
                </a:lnTo>
                <a:lnTo>
                  <a:pt x="8128" y="14040"/>
                </a:lnTo>
                <a:lnTo>
                  <a:pt x="7885" y="14016"/>
                </a:lnTo>
                <a:lnTo>
                  <a:pt x="7812" y="13992"/>
                </a:lnTo>
                <a:lnTo>
                  <a:pt x="8055" y="13846"/>
                </a:lnTo>
                <a:lnTo>
                  <a:pt x="8298" y="13675"/>
                </a:lnTo>
                <a:lnTo>
                  <a:pt x="8688" y="13359"/>
                </a:lnTo>
                <a:lnTo>
                  <a:pt x="8906" y="13140"/>
                </a:lnTo>
                <a:lnTo>
                  <a:pt x="9150" y="12897"/>
                </a:lnTo>
                <a:lnTo>
                  <a:pt x="9393" y="12629"/>
                </a:lnTo>
                <a:lnTo>
                  <a:pt x="9612" y="12313"/>
                </a:lnTo>
                <a:lnTo>
                  <a:pt x="9807" y="12021"/>
                </a:lnTo>
                <a:lnTo>
                  <a:pt x="9953" y="11680"/>
                </a:lnTo>
                <a:lnTo>
                  <a:pt x="10074" y="11364"/>
                </a:lnTo>
                <a:lnTo>
                  <a:pt x="10099" y="11194"/>
                </a:lnTo>
                <a:lnTo>
                  <a:pt x="10099" y="11048"/>
                </a:lnTo>
                <a:lnTo>
                  <a:pt x="10099" y="10975"/>
                </a:lnTo>
                <a:lnTo>
                  <a:pt x="10050" y="10902"/>
                </a:lnTo>
                <a:lnTo>
                  <a:pt x="10001" y="10853"/>
                </a:lnTo>
                <a:lnTo>
                  <a:pt x="9953" y="10829"/>
                </a:lnTo>
                <a:lnTo>
                  <a:pt x="9880" y="10829"/>
                </a:lnTo>
                <a:lnTo>
                  <a:pt x="9807" y="10853"/>
                </a:lnTo>
                <a:lnTo>
                  <a:pt x="9734" y="10877"/>
                </a:lnTo>
                <a:lnTo>
                  <a:pt x="9685" y="10926"/>
                </a:lnTo>
                <a:lnTo>
                  <a:pt x="9539" y="11169"/>
                </a:lnTo>
                <a:lnTo>
                  <a:pt x="9417" y="11413"/>
                </a:lnTo>
                <a:lnTo>
                  <a:pt x="9296" y="11680"/>
                </a:lnTo>
                <a:lnTo>
                  <a:pt x="9174" y="11923"/>
                </a:lnTo>
                <a:lnTo>
                  <a:pt x="9004" y="12167"/>
                </a:lnTo>
                <a:lnTo>
                  <a:pt x="8809" y="12410"/>
                </a:lnTo>
                <a:lnTo>
                  <a:pt x="8615" y="12653"/>
                </a:lnTo>
                <a:lnTo>
                  <a:pt x="8396" y="12872"/>
                </a:lnTo>
                <a:lnTo>
                  <a:pt x="8152" y="13067"/>
                </a:lnTo>
                <a:lnTo>
                  <a:pt x="7909" y="13262"/>
                </a:lnTo>
                <a:lnTo>
                  <a:pt x="7666" y="13432"/>
                </a:lnTo>
                <a:lnTo>
                  <a:pt x="7398" y="13578"/>
                </a:lnTo>
                <a:lnTo>
                  <a:pt x="7301" y="13627"/>
                </a:lnTo>
                <a:lnTo>
                  <a:pt x="7276" y="13432"/>
                </a:lnTo>
                <a:lnTo>
                  <a:pt x="7252" y="13262"/>
                </a:lnTo>
                <a:lnTo>
                  <a:pt x="7252" y="13018"/>
                </a:lnTo>
                <a:lnTo>
                  <a:pt x="7252" y="12799"/>
                </a:lnTo>
                <a:lnTo>
                  <a:pt x="7325" y="12337"/>
                </a:lnTo>
                <a:lnTo>
                  <a:pt x="7422" y="11972"/>
                </a:lnTo>
                <a:lnTo>
                  <a:pt x="7544" y="11607"/>
                </a:lnTo>
                <a:lnTo>
                  <a:pt x="7617" y="11461"/>
                </a:lnTo>
                <a:lnTo>
                  <a:pt x="7714" y="11291"/>
                </a:lnTo>
                <a:lnTo>
                  <a:pt x="7836" y="11145"/>
                </a:lnTo>
                <a:lnTo>
                  <a:pt x="7982" y="11023"/>
                </a:lnTo>
                <a:lnTo>
                  <a:pt x="8323" y="10756"/>
                </a:lnTo>
                <a:lnTo>
                  <a:pt x="8688" y="10512"/>
                </a:lnTo>
                <a:lnTo>
                  <a:pt x="9077" y="10318"/>
                </a:lnTo>
                <a:lnTo>
                  <a:pt x="9490" y="10147"/>
                </a:lnTo>
                <a:lnTo>
                  <a:pt x="9904" y="10001"/>
                </a:lnTo>
                <a:lnTo>
                  <a:pt x="10342" y="9880"/>
                </a:lnTo>
                <a:lnTo>
                  <a:pt x="10780" y="9782"/>
                </a:lnTo>
                <a:lnTo>
                  <a:pt x="11194" y="9734"/>
                </a:lnTo>
                <a:close/>
                <a:moveTo>
                  <a:pt x="390" y="11218"/>
                </a:moveTo>
                <a:lnTo>
                  <a:pt x="731" y="11267"/>
                </a:lnTo>
                <a:lnTo>
                  <a:pt x="1071" y="11291"/>
                </a:lnTo>
                <a:lnTo>
                  <a:pt x="1412" y="11315"/>
                </a:lnTo>
                <a:lnTo>
                  <a:pt x="1753" y="11364"/>
                </a:lnTo>
                <a:lnTo>
                  <a:pt x="2239" y="11437"/>
                </a:lnTo>
                <a:lnTo>
                  <a:pt x="2702" y="11583"/>
                </a:lnTo>
                <a:lnTo>
                  <a:pt x="3164" y="11729"/>
                </a:lnTo>
                <a:lnTo>
                  <a:pt x="3602" y="11948"/>
                </a:lnTo>
                <a:lnTo>
                  <a:pt x="3797" y="12069"/>
                </a:lnTo>
                <a:lnTo>
                  <a:pt x="3991" y="12215"/>
                </a:lnTo>
                <a:lnTo>
                  <a:pt x="4162" y="12361"/>
                </a:lnTo>
                <a:lnTo>
                  <a:pt x="4332" y="12556"/>
                </a:lnTo>
                <a:lnTo>
                  <a:pt x="4478" y="12726"/>
                </a:lnTo>
                <a:lnTo>
                  <a:pt x="4624" y="12921"/>
                </a:lnTo>
                <a:lnTo>
                  <a:pt x="4867" y="13335"/>
                </a:lnTo>
                <a:lnTo>
                  <a:pt x="4989" y="13578"/>
                </a:lnTo>
                <a:lnTo>
                  <a:pt x="5038" y="13797"/>
                </a:lnTo>
                <a:lnTo>
                  <a:pt x="5062" y="14040"/>
                </a:lnTo>
                <a:lnTo>
                  <a:pt x="5038" y="14284"/>
                </a:lnTo>
                <a:lnTo>
                  <a:pt x="4989" y="14746"/>
                </a:lnTo>
                <a:lnTo>
                  <a:pt x="4916" y="15233"/>
                </a:lnTo>
                <a:lnTo>
                  <a:pt x="4746" y="15160"/>
                </a:lnTo>
                <a:lnTo>
                  <a:pt x="4551" y="15062"/>
                </a:lnTo>
                <a:lnTo>
                  <a:pt x="4210" y="14843"/>
                </a:lnTo>
                <a:lnTo>
                  <a:pt x="3870" y="14576"/>
                </a:lnTo>
                <a:lnTo>
                  <a:pt x="3529" y="14284"/>
                </a:lnTo>
                <a:lnTo>
                  <a:pt x="3091" y="13919"/>
                </a:lnTo>
                <a:lnTo>
                  <a:pt x="2702" y="13529"/>
                </a:lnTo>
                <a:lnTo>
                  <a:pt x="2531" y="13335"/>
                </a:lnTo>
                <a:lnTo>
                  <a:pt x="2385" y="13116"/>
                </a:lnTo>
                <a:lnTo>
                  <a:pt x="2239" y="12897"/>
                </a:lnTo>
                <a:lnTo>
                  <a:pt x="2069" y="12726"/>
                </a:lnTo>
                <a:lnTo>
                  <a:pt x="2020" y="12702"/>
                </a:lnTo>
                <a:lnTo>
                  <a:pt x="1972" y="12702"/>
                </a:lnTo>
                <a:lnTo>
                  <a:pt x="1923" y="12726"/>
                </a:lnTo>
                <a:lnTo>
                  <a:pt x="1899" y="12775"/>
                </a:lnTo>
                <a:lnTo>
                  <a:pt x="1874" y="12921"/>
                </a:lnTo>
                <a:lnTo>
                  <a:pt x="1874" y="13043"/>
                </a:lnTo>
                <a:lnTo>
                  <a:pt x="1899" y="13189"/>
                </a:lnTo>
                <a:lnTo>
                  <a:pt x="1947" y="13335"/>
                </a:lnTo>
                <a:lnTo>
                  <a:pt x="2020" y="13456"/>
                </a:lnTo>
                <a:lnTo>
                  <a:pt x="2118" y="13602"/>
                </a:lnTo>
                <a:lnTo>
                  <a:pt x="2337" y="13870"/>
                </a:lnTo>
                <a:lnTo>
                  <a:pt x="2580" y="14113"/>
                </a:lnTo>
                <a:lnTo>
                  <a:pt x="2823" y="14357"/>
                </a:lnTo>
                <a:lnTo>
                  <a:pt x="3261" y="14722"/>
                </a:lnTo>
                <a:lnTo>
                  <a:pt x="3578" y="14989"/>
                </a:lnTo>
                <a:lnTo>
                  <a:pt x="3918" y="15257"/>
                </a:lnTo>
                <a:lnTo>
                  <a:pt x="4259" y="15476"/>
                </a:lnTo>
                <a:lnTo>
                  <a:pt x="4600" y="15671"/>
                </a:lnTo>
                <a:lnTo>
                  <a:pt x="4210" y="15841"/>
                </a:lnTo>
                <a:lnTo>
                  <a:pt x="3797" y="15938"/>
                </a:lnTo>
                <a:lnTo>
                  <a:pt x="3383" y="15987"/>
                </a:lnTo>
                <a:lnTo>
                  <a:pt x="3188" y="16011"/>
                </a:lnTo>
                <a:lnTo>
                  <a:pt x="2994" y="15987"/>
                </a:lnTo>
                <a:lnTo>
                  <a:pt x="2799" y="15963"/>
                </a:lnTo>
                <a:lnTo>
                  <a:pt x="2604" y="15914"/>
                </a:lnTo>
                <a:lnTo>
                  <a:pt x="2410" y="15865"/>
                </a:lnTo>
                <a:lnTo>
                  <a:pt x="2215" y="15768"/>
                </a:lnTo>
                <a:lnTo>
                  <a:pt x="2045" y="15671"/>
                </a:lnTo>
                <a:lnTo>
                  <a:pt x="1850" y="15549"/>
                </a:lnTo>
                <a:lnTo>
                  <a:pt x="1680" y="15403"/>
                </a:lnTo>
                <a:lnTo>
                  <a:pt x="1509" y="15233"/>
                </a:lnTo>
                <a:lnTo>
                  <a:pt x="1339" y="15038"/>
                </a:lnTo>
                <a:lnTo>
                  <a:pt x="1193" y="14819"/>
                </a:lnTo>
                <a:lnTo>
                  <a:pt x="1071" y="14600"/>
                </a:lnTo>
                <a:lnTo>
                  <a:pt x="950" y="14357"/>
                </a:lnTo>
                <a:lnTo>
                  <a:pt x="852" y="14113"/>
                </a:lnTo>
                <a:lnTo>
                  <a:pt x="779" y="13846"/>
                </a:lnTo>
                <a:lnTo>
                  <a:pt x="658" y="13335"/>
                </a:lnTo>
                <a:lnTo>
                  <a:pt x="585" y="12799"/>
                </a:lnTo>
                <a:lnTo>
                  <a:pt x="512" y="12288"/>
                </a:lnTo>
                <a:lnTo>
                  <a:pt x="463" y="11753"/>
                </a:lnTo>
                <a:lnTo>
                  <a:pt x="390" y="11218"/>
                </a:lnTo>
                <a:close/>
                <a:moveTo>
                  <a:pt x="6230" y="1"/>
                </a:moveTo>
                <a:lnTo>
                  <a:pt x="5914" y="25"/>
                </a:lnTo>
                <a:lnTo>
                  <a:pt x="5622" y="122"/>
                </a:lnTo>
                <a:lnTo>
                  <a:pt x="5451" y="195"/>
                </a:lnTo>
                <a:lnTo>
                  <a:pt x="5305" y="293"/>
                </a:lnTo>
                <a:lnTo>
                  <a:pt x="5159" y="390"/>
                </a:lnTo>
                <a:lnTo>
                  <a:pt x="5062" y="536"/>
                </a:lnTo>
                <a:lnTo>
                  <a:pt x="4965" y="658"/>
                </a:lnTo>
                <a:lnTo>
                  <a:pt x="4892" y="804"/>
                </a:lnTo>
                <a:lnTo>
                  <a:pt x="4843" y="974"/>
                </a:lnTo>
                <a:lnTo>
                  <a:pt x="4794" y="1120"/>
                </a:lnTo>
                <a:lnTo>
                  <a:pt x="4648" y="998"/>
                </a:lnTo>
                <a:lnTo>
                  <a:pt x="4454" y="877"/>
                </a:lnTo>
                <a:lnTo>
                  <a:pt x="4283" y="804"/>
                </a:lnTo>
                <a:lnTo>
                  <a:pt x="4089" y="779"/>
                </a:lnTo>
                <a:lnTo>
                  <a:pt x="3894" y="779"/>
                </a:lnTo>
                <a:lnTo>
                  <a:pt x="3675" y="804"/>
                </a:lnTo>
                <a:lnTo>
                  <a:pt x="3480" y="877"/>
                </a:lnTo>
                <a:lnTo>
                  <a:pt x="3286" y="998"/>
                </a:lnTo>
                <a:lnTo>
                  <a:pt x="3115" y="1144"/>
                </a:lnTo>
                <a:lnTo>
                  <a:pt x="2945" y="1315"/>
                </a:lnTo>
                <a:lnTo>
                  <a:pt x="2799" y="1509"/>
                </a:lnTo>
                <a:lnTo>
                  <a:pt x="2677" y="1704"/>
                </a:lnTo>
                <a:lnTo>
                  <a:pt x="2580" y="1923"/>
                </a:lnTo>
                <a:lnTo>
                  <a:pt x="2507" y="2142"/>
                </a:lnTo>
                <a:lnTo>
                  <a:pt x="2458" y="2385"/>
                </a:lnTo>
                <a:lnTo>
                  <a:pt x="2410" y="2604"/>
                </a:lnTo>
                <a:lnTo>
                  <a:pt x="2410" y="2799"/>
                </a:lnTo>
                <a:lnTo>
                  <a:pt x="2434" y="2994"/>
                </a:lnTo>
                <a:lnTo>
                  <a:pt x="2483" y="3188"/>
                </a:lnTo>
                <a:lnTo>
                  <a:pt x="2556" y="3359"/>
                </a:lnTo>
                <a:lnTo>
                  <a:pt x="2312" y="3407"/>
                </a:lnTo>
                <a:lnTo>
                  <a:pt x="2093" y="3480"/>
                </a:lnTo>
                <a:lnTo>
                  <a:pt x="1899" y="3602"/>
                </a:lnTo>
                <a:lnTo>
                  <a:pt x="1728" y="3748"/>
                </a:lnTo>
                <a:lnTo>
                  <a:pt x="1558" y="3918"/>
                </a:lnTo>
                <a:lnTo>
                  <a:pt x="1436" y="4113"/>
                </a:lnTo>
                <a:lnTo>
                  <a:pt x="1315" y="4307"/>
                </a:lnTo>
                <a:lnTo>
                  <a:pt x="1217" y="4526"/>
                </a:lnTo>
                <a:lnTo>
                  <a:pt x="1169" y="4745"/>
                </a:lnTo>
                <a:lnTo>
                  <a:pt x="1144" y="4964"/>
                </a:lnTo>
                <a:lnTo>
                  <a:pt x="1144" y="5183"/>
                </a:lnTo>
                <a:lnTo>
                  <a:pt x="1169" y="5402"/>
                </a:lnTo>
                <a:lnTo>
                  <a:pt x="1242" y="5597"/>
                </a:lnTo>
                <a:lnTo>
                  <a:pt x="1315" y="5816"/>
                </a:lnTo>
                <a:lnTo>
                  <a:pt x="1412" y="5986"/>
                </a:lnTo>
                <a:lnTo>
                  <a:pt x="1534" y="6181"/>
                </a:lnTo>
                <a:lnTo>
                  <a:pt x="1607" y="6254"/>
                </a:lnTo>
                <a:lnTo>
                  <a:pt x="1704" y="6327"/>
                </a:lnTo>
                <a:lnTo>
                  <a:pt x="1899" y="6449"/>
                </a:lnTo>
                <a:lnTo>
                  <a:pt x="2142" y="6522"/>
                </a:lnTo>
                <a:lnTo>
                  <a:pt x="2385" y="6570"/>
                </a:lnTo>
                <a:lnTo>
                  <a:pt x="2264" y="6814"/>
                </a:lnTo>
                <a:lnTo>
                  <a:pt x="2191" y="7081"/>
                </a:lnTo>
                <a:lnTo>
                  <a:pt x="2166" y="7349"/>
                </a:lnTo>
                <a:lnTo>
                  <a:pt x="2191" y="7617"/>
                </a:lnTo>
                <a:lnTo>
                  <a:pt x="2239" y="7884"/>
                </a:lnTo>
                <a:lnTo>
                  <a:pt x="2337" y="8152"/>
                </a:lnTo>
                <a:lnTo>
                  <a:pt x="2458" y="8395"/>
                </a:lnTo>
                <a:lnTo>
                  <a:pt x="2629" y="8614"/>
                </a:lnTo>
                <a:lnTo>
                  <a:pt x="2750" y="8712"/>
                </a:lnTo>
                <a:lnTo>
                  <a:pt x="2848" y="8809"/>
                </a:lnTo>
                <a:lnTo>
                  <a:pt x="2969" y="8906"/>
                </a:lnTo>
                <a:lnTo>
                  <a:pt x="3115" y="8955"/>
                </a:lnTo>
                <a:lnTo>
                  <a:pt x="3237" y="9004"/>
                </a:lnTo>
                <a:lnTo>
                  <a:pt x="3359" y="9052"/>
                </a:lnTo>
                <a:lnTo>
                  <a:pt x="3651" y="9077"/>
                </a:lnTo>
                <a:lnTo>
                  <a:pt x="3918" y="9052"/>
                </a:lnTo>
                <a:lnTo>
                  <a:pt x="4186" y="9004"/>
                </a:lnTo>
                <a:lnTo>
                  <a:pt x="4478" y="8882"/>
                </a:lnTo>
                <a:lnTo>
                  <a:pt x="4721" y="8736"/>
                </a:lnTo>
                <a:lnTo>
                  <a:pt x="4794" y="8687"/>
                </a:lnTo>
                <a:lnTo>
                  <a:pt x="4843" y="8906"/>
                </a:lnTo>
                <a:lnTo>
                  <a:pt x="4940" y="9101"/>
                </a:lnTo>
                <a:lnTo>
                  <a:pt x="5062" y="9296"/>
                </a:lnTo>
                <a:lnTo>
                  <a:pt x="5232" y="9442"/>
                </a:lnTo>
                <a:lnTo>
                  <a:pt x="5403" y="9588"/>
                </a:lnTo>
                <a:lnTo>
                  <a:pt x="5622" y="9685"/>
                </a:lnTo>
                <a:lnTo>
                  <a:pt x="5841" y="9782"/>
                </a:lnTo>
                <a:lnTo>
                  <a:pt x="6084" y="9855"/>
                </a:lnTo>
                <a:lnTo>
                  <a:pt x="6011" y="10074"/>
                </a:lnTo>
                <a:lnTo>
                  <a:pt x="5987" y="10293"/>
                </a:lnTo>
                <a:lnTo>
                  <a:pt x="5962" y="10537"/>
                </a:lnTo>
                <a:lnTo>
                  <a:pt x="5962" y="10780"/>
                </a:lnTo>
                <a:lnTo>
                  <a:pt x="5987" y="11267"/>
                </a:lnTo>
                <a:lnTo>
                  <a:pt x="6011" y="11705"/>
                </a:lnTo>
                <a:lnTo>
                  <a:pt x="5987" y="12459"/>
                </a:lnTo>
                <a:lnTo>
                  <a:pt x="5962" y="13213"/>
                </a:lnTo>
                <a:lnTo>
                  <a:pt x="5889" y="13943"/>
                </a:lnTo>
                <a:lnTo>
                  <a:pt x="5792" y="14697"/>
                </a:lnTo>
                <a:lnTo>
                  <a:pt x="5670" y="15403"/>
                </a:lnTo>
                <a:lnTo>
                  <a:pt x="5451" y="15379"/>
                </a:lnTo>
                <a:lnTo>
                  <a:pt x="5524" y="14843"/>
                </a:lnTo>
                <a:lnTo>
                  <a:pt x="5573" y="14308"/>
                </a:lnTo>
                <a:lnTo>
                  <a:pt x="5573" y="14065"/>
                </a:lnTo>
                <a:lnTo>
                  <a:pt x="5549" y="13797"/>
                </a:lnTo>
                <a:lnTo>
                  <a:pt x="5500" y="13529"/>
                </a:lnTo>
                <a:lnTo>
                  <a:pt x="5403" y="13262"/>
                </a:lnTo>
                <a:lnTo>
                  <a:pt x="5305" y="13043"/>
                </a:lnTo>
                <a:lnTo>
                  <a:pt x="5159" y="12799"/>
                </a:lnTo>
                <a:lnTo>
                  <a:pt x="5013" y="12580"/>
                </a:lnTo>
                <a:lnTo>
                  <a:pt x="4843" y="12361"/>
                </a:lnTo>
                <a:lnTo>
                  <a:pt x="4673" y="12167"/>
                </a:lnTo>
                <a:lnTo>
                  <a:pt x="4478" y="11972"/>
                </a:lnTo>
                <a:lnTo>
                  <a:pt x="4259" y="11802"/>
                </a:lnTo>
                <a:lnTo>
                  <a:pt x="4064" y="11656"/>
                </a:lnTo>
                <a:lnTo>
                  <a:pt x="3845" y="11510"/>
                </a:lnTo>
                <a:lnTo>
                  <a:pt x="3626" y="11388"/>
                </a:lnTo>
                <a:lnTo>
                  <a:pt x="3383" y="11291"/>
                </a:lnTo>
                <a:lnTo>
                  <a:pt x="3140" y="11218"/>
                </a:lnTo>
                <a:lnTo>
                  <a:pt x="2653" y="11072"/>
                </a:lnTo>
                <a:lnTo>
                  <a:pt x="2142" y="10975"/>
                </a:lnTo>
                <a:lnTo>
                  <a:pt x="1655" y="10877"/>
                </a:lnTo>
                <a:lnTo>
                  <a:pt x="1120" y="10804"/>
                </a:lnTo>
                <a:lnTo>
                  <a:pt x="852" y="10780"/>
                </a:lnTo>
                <a:lnTo>
                  <a:pt x="585" y="10780"/>
                </a:lnTo>
                <a:lnTo>
                  <a:pt x="342" y="10804"/>
                </a:lnTo>
                <a:lnTo>
                  <a:pt x="98" y="10877"/>
                </a:lnTo>
                <a:lnTo>
                  <a:pt x="25" y="10926"/>
                </a:lnTo>
                <a:lnTo>
                  <a:pt x="1" y="10999"/>
                </a:lnTo>
                <a:lnTo>
                  <a:pt x="1" y="11072"/>
                </a:lnTo>
                <a:lnTo>
                  <a:pt x="50" y="11145"/>
                </a:lnTo>
                <a:lnTo>
                  <a:pt x="25" y="11437"/>
                </a:lnTo>
                <a:lnTo>
                  <a:pt x="1" y="11729"/>
                </a:lnTo>
                <a:lnTo>
                  <a:pt x="1" y="12045"/>
                </a:lnTo>
                <a:lnTo>
                  <a:pt x="1" y="12337"/>
                </a:lnTo>
                <a:lnTo>
                  <a:pt x="25" y="12678"/>
                </a:lnTo>
                <a:lnTo>
                  <a:pt x="74" y="12994"/>
                </a:lnTo>
                <a:lnTo>
                  <a:pt x="123" y="13310"/>
                </a:lnTo>
                <a:lnTo>
                  <a:pt x="196" y="13627"/>
                </a:lnTo>
                <a:lnTo>
                  <a:pt x="293" y="13919"/>
                </a:lnTo>
                <a:lnTo>
                  <a:pt x="415" y="14235"/>
                </a:lnTo>
                <a:lnTo>
                  <a:pt x="536" y="14527"/>
                </a:lnTo>
                <a:lnTo>
                  <a:pt x="658" y="14819"/>
                </a:lnTo>
                <a:lnTo>
                  <a:pt x="828" y="15087"/>
                </a:lnTo>
                <a:lnTo>
                  <a:pt x="974" y="15330"/>
                </a:lnTo>
                <a:lnTo>
                  <a:pt x="1169" y="15549"/>
                </a:lnTo>
                <a:lnTo>
                  <a:pt x="1363" y="15768"/>
                </a:lnTo>
                <a:lnTo>
                  <a:pt x="1558" y="15938"/>
                </a:lnTo>
                <a:lnTo>
                  <a:pt x="1777" y="16060"/>
                </a:lnTo>
                <a:lnTo>
                  <a:pt x="1996" y="16182"/>
                </a:lnTo>
                <a:lnTo>
                  <a:pt x="2215" y="16303"/>
                </a:lnTo>
                <a:lnTo>
                  <a:pt x="2458" y="16376"/>
                </a:lnTo>
                <a:lnTo>
                  <a:pt x="2702" y="16425"/>
                </a:lnTo>
                <a:lnTo>
                  <a:pt x="2945" y="16474"/>
                </a:lnTo>
                <a:lnTo>
                  <a:pt x="3213" y="16498"/>
                </a:lnTo>
                <a:lnTo>
                  <a:pt x="3456" y="16474"/>
                </a:lnTo>
                <a:lnTo>
                  <a:pt x="3724" y="16474"/>
                </a:lnTo>
                <a:lnTo>
                  <a:pt x="3967" y="16425"/>
                </a:lnTo>
                <a:lnTo>
                  <a:pt x="4210" y="16352"/>
                </a:lnTo>
                <a:lnTo>
                  <a:pt x="4454" y="16279"/>
                </a:lnTo>
                <a:lnTo>
                  <a:pt x="4673" y="16157"/>
                </a:lnTo>
                <a:lnTo>
                  <a:pt x="4892" y="16036"/>
                </a:lnTo>
                <a:lnTo>
                  <a:pt x="5086" y="15890"/>
                </a:lnTo>
                <a:lnTo>
                  <a:pt x="5257" y="15890"/>
                </a:lnTo>
                <a:lnTo>
                  <a:pt x="5549" y="15914"/>
                </a:lnTo>
                <a:lnTo>
                  <a:pt x="5330" y="16693"/>
                </a:lnTo>
                <a:lnTo>
                  <a:pt x="5111" y="17471"/>
                </a:lnTo>
                <a:lnTo>
                  <a:pt x="4867" y="18128"/>
                </a:lnTo>
                <a:lnTo>
                  <a:pt x="4746" y="18445"/>
                </a:lnTo>
                <a:lnTo>
                  <a:pt x="4575" y="18761"/>
                </a:lnTo>
                <a:lnTo>
                  <a:pt x="4429" y="19004"/>
                </a:lnTo>
                <a:lnTo>
                  <a:pt x="4259" y="19272"/>
                </a:lnTo>
                <a:lnTo>
                  <a:pt x="4186" y="19394"/>
                </a:lnTo>
                <a:lnTo>
                  <a:pt x="4113" y="19540"/>
                </a:lnTo>
                <a:lnTo>
                  <a:pt x="4089" y="19686"/>
                </a:lnTo>
                <a:lnTo>
                  <a:pt x="4064" y="19832"/>
                </a:lnTo>
                <a:lnTo>
                  <a:pt x="4089" y="19880"/>
                </a:lnTo>
                <a:lnTo>
                  <a:pt x="4089" y="19929"/>
                </a:lnTo>
                <a:lnTo>
                  <a:pt x="4162" y="19977"/>
                </a:lnTo>
                <a:lnTo>
                  <a:pt x="4259" y="20002"/>
                </a:lnTo>
                <a:lnTo>
                  <a:pt x="4356" y="19953"/>
                </a:lnTo>
                <a:lnTo>
                  <a:pt x="4575" y="19734"/>
                </a:lnTo>
                <a:lnTo>
                  <a:pt x="4770" y="19491"/>
                </a:lnTo>
                <a:lnTo>
                  <a:pt x="4940" y="19223"/>
                </a:lnTo>
                <a:lnTo>
                  <a:pt x="5086" y="18931"/>
                </a:lnTo>
                <a:lnTo>
                  <a:pt x="5208" y="18639"/>
                </a:lnTo>
                <a:lnTo>
                  <a:pt x="5330" y="18347"/>
                </a:lnTo>
                <a:lnTo>
                  <a:pt x="5549" y="17763"/>
                </a:lnTo>
                <a:lnTo>
                  <a:pt x="5768" y="17082"/>
                </a:lnTo>
                <a:lnTo>
                  <a:pt x="5962" y="16376"/>
                </a:lnTo>
                <a:lnTo>
                  <a:pt x="6108" y="15695"/>
                </a:lnTo>
                <a:lnTo>
                  <a:pt x="6254" y="14989"/>
                </a:lnTo>
                <a:lnTo>
                  <a:pt x="6352" y="14308"/>
                </a:lnTo>
                <a:lnTo>
                  <a:pt x="6571" y="14357"/>
                </a:lnTo>
                <a:lnTo>
                  <a:pt x="6814" y="14357"/>
                </a:lnTo>
                <a:lnTo>
                  <a:pt x="7033" y="14332"/>
                </a:lnTo>
                <a:lnTo>
                  <a:pt x="7276" y="14259"/>
                </a:lnTo>
                <a:lnTo>
                  <a:pt x="7422" y="14332"/>
                </a:lnTo>
                <a:lnTo>
                  <a:pt x="7593" y="14405"/>
                </a:lnTo>
                <a:lnTo>
                  <a:pt x="7763" y="14454"/>
                </a:lnTo>
                <a:lnTo>
                  <a:pt x="7933" y="14478"/>
                </a:lnTo>
                <a:lnTo>
                  <a:pt x="8298" y="14527"/>
                </a:lnTo>
                <a:lnTo>
                  <a:pt x="8615" y="14478"/>
                </a:lnTo>
                <a:lnTo>
                  <a:pt x="8882" y="14430"/>
                </a:lnTo>
                <a:lnTo>
                  <a:pt x="9150" y="14332"/>
                </a:lnTo>
                <a:lnTo>
                  <a:pt x="9442" y="14211"/>
                </a:lnTo>
                <a:lnTo>
                  <a:pt x="9685" y="14065"/>
                </a:lnTo>
                <a:lnTo>
                  <a:pt x="9928" y="13894"/>
                </a:lnTo>
                <a:lnTo>
                  <a:pt x="10172" y="13724"/>
                </a:lnTo>
                <a:lnTo>
                  <a:pt x="10366" y="13505"/>
                </a:lnTo>
                <a:lnTo>
                  <a:pt x="10537" y="13286"/>
                </a:lnTo>
                <a:lnTo>
                  <a:pt x="10731" y="12994"/>
                </a:lnTo>
                <a:lnTo>
                  <a:pt x="10877" y="12702"/>
                </a:lnTo>
                <a:lnTo>
                  <a:pt x="10999" y="12386"/>
                </a:lnTo>
                <a:lnTo>
                  <a:pt x="11121" y="12069"/>
                </a:lnTo>
                <a:lnTo>
                  <a:pt x="11291" y="11413"/>
                </a:lnTo>
                <a:lnTo>
                  <a:pt x="11461" y="10756"/>
                </a:lnTo>
                <a:lnTo>
                  <a:pt x="11559" y="10391"/>
                </a:lnTo>
                <a:lnTo>
                  <a:pt x="11632" y="10172"/>
                </a:lnTo>
                <a:lnTo>
                  <a:pt x="11705" y="9928"/>
                </a:lnTo>
                <a:lnTo>
                  <a:pt x="11729" y="9709"/>
                </a:lnTo>
                <a:lnTo>
                  <a:pt x="11729" y="9490"/>
                </a:lnTo>
                <a:lnTo>
                  <a:pt x="11729" y="9393"/>
                </a:lnTo>
                <a:lnTo>
                  <a:pt x="11680" y="9296"/>
                </a:lnTo>
                <a:lnTo>
                  <a:pt x="11632" y="9223"/>
                </a:lnTo>
                <a:lnTo>
                  <a:pt x="11583" y="9174"/>
                </a:lnTo>
                <a:lnTo>
                  <a:pt x="11486" y="9125"/>
                </a:lnTo>
                <a:lnTo>
                  <a:pt x="11413" y="9150"/>
                </a:lnTo>
                <a:lnTo>
                  <a:pt x="11340" y="9174"/>
                </a:lnTo>
                <a:lnTo>
                  <a:pt x="11291" y="9247"/>
                </a:lnTo>
                <a:lnTo>
                  <a:pt x="11072" y="9223"/>
                </a:lnTo>
                <a:lnTo>
                  <a:pt x="10829" y="9247"/>
                </a:lnTo>
                <a:lnTo>
                  <a:pt x="10610" y="9296"/>
                </a:lnTo>
                <a:lnTo>
                  <a:pt x="10366" y="9344"/>
                </a:lnTo>
                <a:lnTo>
                  <a:pt x="9904" y="9490"/>
                </a:lnTo>
                <a:lnTo>
                  <a:pt x="9466" y="9661"/>
                </a:lnTo>
                <a:lnTo>
                  <a:pt x="8955" y="9880"/>
                </a:lnTo>
                <a:lnTo>
                  <a:pt x="8444" y="10147"/>
                </a:lnTo>
                <a:lnTo>
                  <a:pt x="8177" y="10293"/>
                </a:lnTo>
                <a:lnTo>
                  <a:pt x="7958" y="10439"/>
                </a:lnTo>
                <a:lnTo>
                  <a:pt x="7714" y="10610"/>
                </a:lnTo>
                <a:lnTo>
                  <a:pt x="7495" y="10804"/>
                </a:lnTo>
                <a:lnTo>
                  <a:pt x="7349" y="10950"/>
                </a:lnTo>
                <a:lnTo>
                  <a:pt x="7228" y="11145"/>
                </a:lnTo>
                <a:lnTo>
                  <a:pt x="7130" y="11340"/>
                </a:lnTo>
                <a:lnTo>
                  <a:pt x="7033" y="11559"/>
                </a:lnTo>
                <a:lnTo>
                  <a:pt x="6984" y="11778"/>
                </a:lnTo>
                <a:lnTo>
                  <a:pt x="6911" y="12021"/>
                </a:lnTo>
                <a:lnTo>
                  <a:pt x="6838" y="12459"/>
                </a:lnTo>
                <a:lnTo>
                  <a:pt x="6814" y="12726"/>
                </a:lnTo>
                <a:lnTo>
                  <a:pt x="6790" y="13091"/>
                </a:lnTo>
                <a:lnTo>
                  <a:pt x="6814" y="13286"/>
                </a:lnTo>
                <a:lnTo>
                  <a:pt x="6838" y="13481"/>
                </a:lnTo>
                <a:lnTo>
                  <a:pt x="6887" y="13627"/>
                </a:lnTo>
                <a:lnTo>
                  <a:pt x="6984" y="13748"/>
                </a:lnTo>
                <a:lnTo>
                  <a:pt x="6692" y="13846"/>
                </a:lnTo>
                <a:lnTo>
                  <a:pt x="6400" y="13967"/>
                </a:lnTo>
                <a:lnTo>
                  <a:pt x="6449" y="13116"/>
                </a:lnTo>
                <a:lnTo>
                  <a:pt x="6473" y="12240"/>
                </a:lnTo>
                <a:lnTo>
                  <a:pt x="6449" y="11656"/>
                </a:lnTo>
                <a:lnTo>
                  <a:pt x="6400" y="11072"/>
                </a:lnTo>
                <a:lnTo>
                  <a:pt x="6352" y="10488"/>
                </a:lnTo>
                <a:lnTo>
                  <a:pt x="6352" y="9904"/>
                </a:lnTo>
                <a:lnTo>
                  <a:pt x="6522" y="9928"/>
                </a:lnTo>
                <a:lnTo>
                  <a:pt x="6668" y="9928"/>
                </a:lnTo>
                <a:lnTo>
                  <a:pt x="6814" y="9904"/>
                </a:lnTo>
                <a:lnTo>
                  <a:pt x="6960" y="9880"/>
                </a:lnTo>
                <a:lnTo>
                  <a:pt x="7106" y="9831"/>
                </a:lnTo>
                <a:lnTo>
                  <a:pt x="7252" y="9782"/>
                </a:lnTo>
                <a:lnTo>
                  <a:pt x="7374" y="9709"/>
                </a:lnTo>
                <a:lnTo>
                  <a:pt x="7495" y="9636"/>
                </a:lnTo>
                <a:lnTo>
                  <a:pt x="7593" y="9539"/>
                </a:lnTo>
                <a:lnTo>
                  <a:pt x="7690" y="9417"/>
                </a:lnTo>
                <a:lnTo>
                  <a:pt x="7763" y="9320"/>
                </a:lnTo>
                <a:lnTo>
                  <a:pt x="7812" y="9174"/>
                </a:lnTo>
                <a:lnTo>
                  <a:pt x="7860" y="9052"/>
                </a:lnTo>
                <a:lnTo>
                  <a:pt x="7885" y="8906"/>
                </a:lnTo>
                <a:lnTo>
                  <a:pt x="7909" y="8736"/>
                </a:lnTo>
                <a:lnTo>
                  <a:pt x="7885" y="8566"/>
                </a:lnTo>
                <a:lnTo>
                  <a:pt x="8079" y="8687"/>
                </a:lnTo>
                <a:lnTo>
                  <a:pt x="8250" y="8785"/>
                </a:lnTo>
                <a:lnTo>
                  <a:pt x="8444" y="8858"/>
                </a:lnTo>
                <a:lnTo>
                  <a:pt x="8639" y="8882"/>
                </a:lnTo>
                <a:lnTo>
                  <a:pt x="9077" y="8882"/>
                </a:lnTo>
                <a:lnTo>
                  <a:pt x="9296" y="8809"/>
                </a:lnTo>
                <a:lnTo>
                  <a:pt x="9515" y="8736"/>
                </a:lnTo>
                <a:lnTo>
                  <a:pt x="9661" y="8663"/>
                </a:lnTo>
                <a:lnTo>
                  <a:pt x="9807" y="8590"/>
                </a:lnTo>
                <a:lnTo>
                  <a:pt x="9928" y="8493"/>
                </a:lnTo>
                <a:lnTo>
                  <a:pt x="10026" y="8395"/>
                </a:lnTo>
                <a:lnTo>
                  <a:pt x="10123" y="8274"/>
                </a:lnTo>
                <a:lnTo>
                  <a:pt x="10220" y="8152"/>
                </a:lnTo>
                <a:lnTo>
                  <a:pt x="10269" y="8006"/>
                </a:lnTo>
                <a:lnTo>
                  <a:pt x="10318" y="7884"/>
                </a:lnTo>
                <a:lnTo>
                  <a:pt x="10366" y="7738"/>
                </a:lnTo>
                <a:lnTo>
                  <a:pt x="10391" y="7592"/>
                </a:lnTo>
                <a:lnTo>
                  <a:pt x="10391" y="7446"/>
                </a:lnTo>
                <a:lnTo>
                  <a:pt x="10391" y="7300"/>
                </a:lnTo>
                <a:lnTo>
                  <a:pt x="10366" y="7154"/>
                </a:lnTo>
                <a:lnTo>
                  <a:pt x="10318" y="7008"/>
                </a:lnTo>
                <a:lnTo>
                  <a:pt x="10245" y="6862"/>
                </a:lnTo>
                <a:lnTo>
                  <a:pt x="10172" y="6716"/>
                </a:lnTo>
                <a:lnTo>
                  <a:pt x="10172" y="6692"/>
                </a:lnTo>
                <a:lnTo>
                  <a:pt x="10342" y="6668"/>
                </a:lnTo>
                <a:lnTo>
                  <a:pt x="10488" y="6619"/>
                </a:lnTo>
                <a:lnTo>
                  <a:pt x="10634" y="6546"/>
                </a:lnTo>
                <a:lnTo>
                  <a:pt x="10780" y="6449"/>
                </a:lnTo>
                <a:lnTo>
                  <a:pt x="10877" y="6327"/>
                </a:lnTo>
                <a:lnTo>
                  <a:pt x="10999" y="6205"/>
                </a:lnTo>
                <a:lnTo>
                  <a:pt x="11096" y="6059"/>
                </a:lnTo>
                <a:lnTo>
                  <a:pt x="11169" y="5913"/>
                </a:lnTo>
                <a:lnTo>
                  <a:pt x="11291" y="5597"/>
                </a:lnTo>
                <a:lnTo>
                  <a:pt x="11364" y="5256"/>
                </a:lnTo>
                <a:lnTo>
                  <a:pt x="11388" y="4916"/>
                </a:lnTo>
                <a:lnTo>
                  <a:pt x="11388" y="4599"/>
                </a:lnTo>
                <a:lnTo>
                  <a:pt x="11315" y="4307"/>
                </a:lnTo>
                <a:lnTo>
                  <a:pt x="11218" y="4088"/>
                </a:lnTo>
                <a:lnTo>
                  <a:pt x="11096" y="3894"/>
                </a:lnTo>
                <a:lnTo>
                  <a:pt x="10926" y="3748"/>
                </a:lnTo>
                <a:lnTo>
                  <a:pt x="10731" y="3626"/>
                </a:lnTo>
                <a:lnTo>
                  <a:pt x="10512" y="3553"/>
                </a:lnTo>
                <a:lnTo>
                  <a:pt x="10269" y="3529"/>
                </a:lnTo>
                <a:lnTo>
                  <a:pt x="10026" y="3505"/>
                </a:lnTo>
                <a:lnTo>
                  <a:pt x="10196" y="3310"/>
                </a:lnTo>
                <a:lnTo>
                  <a:pt x="10269" y="3188"/>
                </a:lnTo>
                <a:lnTo>
                  <a:pt x="10342" y="3042"/>
                </a:lnTo>
                <a:lnTo>
                  <a:pt x="10391" y="2896"/>
                </a:lnTo>
                <a:lnTo>
                  <a:pt x="10415" y="2726"/>
                </a:lnTo>
                <a:lnTo>
                  <a:pt x="10439" y="2580"/>
                </a:lnTo>
                <a:lnTo>
                  <a:pt x="10439" y="2434"/>
                </a:lnTo>
                <a:lnTo>
                  <a:pt x="10415" y="2264"/>
                </a:lnTo>
                <a:lnTo>
                  <a:pt x="10366" y="2118"/>
                </a:lnTo>
                <a:lnTo>
                  <a:pt x="10269" y="1826"/>
                </a:lnTo>
                <a:lnTo>
                  <a:pt x="10123" y="1534"/>
                </a:lnTo>
                <a:lnTo>
                  <a:pt x="9928" y="1290"/>
                </a:lnTo>
                <a:lnTo>
                  <a:pt x="9807" y="1193"/>
                </a:lnTo>
                <a:lnTo>
                  <a:pt x="9685" y="1096"/>
                </a:lnTo>
                <a:lnTo>
                  <a:pt x="9563" y="1023"/>
                </a:lnTo>
                <a:lnTo>
                  <a:pt x="9442" y="974"/>
                </a:lnTo>
                <a:lnTo>
                  <a:pt x="9198" y="901"/>
                </a:lnTo>
                <a:lnTo>
                  <a:pt x="8931" y="877"/>
                </a:lnTo>
                <a:lnTo>
                  <a:pt x="8663" y="901"/>
                </a:lnTo>
                <a:lnTo>
                  <a:pt x="8396" y="974"/>
                </a:lnTo>
                <a:lnTo>
                  <a:pt x="8152" y="1071"/>
                </a:lnTo>
                <a:lnTo>
                  <a:pt x="7909" y="1217"/>
                </a:lnTo>
                <a:lnTo>
                  <a:pt x="7714" y="1388"/>
                </a:lnTo>
                <a:lnTo>
                  <a:pt x="7714" y="1120"/>
                </a:lnTo>
                <a:lnTo>
                  <a:pt x="7666" y="852"/>
                </a:lnTo>
                <a:lnTo>
                  <a:pt x="7617" y="706"/>
                </a:lnTo>
                <a:lnTo>
                  <a:pt x="7568" y="560"/>
                </a:lnTo>
                <a:lnTo>
                  <a:pt x="7471" y="439"/>
                </a:lnTo>
                <a:lnTo>
                  <a:pt x="7374" y="317"/>
                </a:lnTo>
                <a:lnTo>
                  <a:pt x="7252" y="220"/>
                </a:lnTo>
                <a:lnTo>
                  <a:pt x="7130" y="147"/>
                </a:lnTo>
                <a:lnTo>
                  <a:pt x="6984" y="98"/>
                </a:lnTo>
                <a:lnTo>
                  <a:pt x="6838" y="49"/>
                </a:lnTo>
                <a:lnTo>
                  <a:pt x="6546" y="1"/>
                </a:lnTo>
                <a:close/>
              </a:path>
            </a:pathLst>
          </a:cu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xmlns="" id="{CB7E72AE-21F9-48A1-9B62-3C22913145E4}"/>
              </a:ext>
            </a:extLst>
          </p:cNvPr>
          <p:cNvSpPr txBox="1"/>
          <p:nvPr/>
        </p:nvSpPr>
        <p:spPr>
          <a:xfrm>
            <a:off x="7575083" y="5688530"/>
            <a:ext cx="3993574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endParaRPr lang="en-US" sz="1600" dirty="0"/>
          </a:p>
        </p:txBody>
      </p:sp>
      <p:pic>
        <p:nvPicPr>
          <p:cNvPr id="46" name="Picture 18"/>
          <p:cNvPicPr>
            <a:picLocks noChangeAspect="1"/>
          </p:cNvPicPr>
          <p:nvPr/>
        </p:nvPicPr>
        <p:blipFill>
          <a:blip r:embed="rId12" cstate="print"/>
          <a:srcRect/>
          <a:stretch>
            <a:fillRect/>
          </a:stretch>
        </p:blipFill>
        <p:spPr>
          <a:xfrm>
            <a:off x="64908" y="118510"/>
            <a:ext cx="3299839" cy="3299839"/>
          </a:xfrm>
          <a:prstGeom prst="rect">
            <a:avLst/>
          </a:prstGeom>
        </p:spPr>
      </p:pic>
      <p:sp>
        <p:nvSpPr>
          <p:cNvPr id="47" name="Прямоугольник 46"/>
          <p:cNvSpPr/>
          <p:nvPr/>
        </p:nvSpPr>
        <p:spPr>
          <a:xfrm>
            <a:off x="8445777" y="5649752"/>
            <a:ext cx="3495040" cy="646331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defTabSz="825500" hangingPunct="0">
              <a:defRPr sz="4000" spc="39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ru-RU" sz="1200" b="1" kern="0" spc="39" dirty="0" err="1" smtClean="0">
                <a:solidFill>
                  <a:srgbClr val="000000"/>
                </a:solidFill>
                <a:ea typeface="Arial"/>
                <a:cs typeface="Arial"/>
                <a:sym typeface="Arial"/>
              </a:rPr>
              <a:t>Блейхер</a:t>
            </a:r>
            <a:r>
              <a:rPr lang="ru-RU" sz="1200" b="1" kern="0" spc="39" dirty="0" smtClean="0">
                <a:solidFill>
                  <a:srgbClr val="000000"/>
                </a:solidFill>
                <a:ea typeface="Arial"/>
                <a:cs typeface="Arial"/>
                <a:sym typeface="Arial"/>
              </a:rPr>
              <a:t> Жанна Андреевна, заведующий МБДОУ «Детский сад № 43» г.Славгород</a:t>
            </a:r>
          </a:p>
          <a:p>
            <a:pPr lvl="0" defTabSz="825500" hangingPunct="0">
              <a:defRPr sz="4000" spc="39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pPr>
            <a:endParaRPr lang="ru-RU" sz="1200" b="1" kern="0" spc="39" dirty="0" smtClean="0">
              <a:solidFill>
                <a:srgbClr val="000000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49" name="Rectangle: Rounded Corners 24">
            <a:extLst>
              <a:ext uri="{FF2B5EF4-FFF2-40B4-BE49-F238E27FC236}">
                <a16:creationId xmlns:a16="http://schemas.microsoft.com/office/drawing/2014/main" xmlns="" id="{494E6301-EB23-4685-88EB-C44A54F0F7DD}"/>
              </a:ext>
            </a:extLst>
          </p:cNvPr>
          <p:cNvSpPr/>
          <p:nvPr/>
        </p:nvSpPr>
        <p:spPr>
          <a:xfrm>
            <a:off x="2258066" y="3119840"/>
            <a:ext cx="4769051" cy="2646504"/>
          </a:xfrm>
          <a:prstGeom prst="roundRect">
            <a:avLst>
              <a:gd name="adj" fmla="val 6764"/>
            </a:avLst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 smtClean="0"/>
              <a:t>Пространство родительских инициатив</a:t>
            </a:r>
          </a:p>
          <a:p>
            <a:pPr algn="ctr"/>
            <a:r>
              <a:rPr lang="ru-RU" sz="3200" b="1" dirty="0" smtClean="0"/>
              <a:t>«Просвещение родительства в </a:t>
            </a:r>
            <a:r>
              <a:rPr lang="ru-RU" sz="3200" b="1" dirty="0" smtClean="0"/>
              <a:t>кадре событий ДОО»</a:t>
            </a:r>
            <a:endParaRPr lang="en-US" sz="3200" b="1" dirty="0"/>
          </a:p>
        </p:txBody>
      </p:sp>
      <p:pic>
        <p:nvPicPr>
          <p:cNvPr id="50" name="Рисунок 49"/>
          <p:cNvPicPr/>
          <p:nvPr/>
        </p:nvPicPr>
        <p:blipFill rotWithShape="1">
          <a:blip r:embed="rId13" cstate="print"/>
          <a:srcRect l="34518" t="18891" r="31577" b="20441"/>
          <a:stretch/>
        </p:blipFill>
        <p:spPr bwMode="auto">
          <a:xfrm>
            <a:off x="2905125" y="135850"/>
            <a:ext cx="1118870" cy="116086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51" name="Рисунок 50"/>
          <p:cNvPicPr/>
          <p:nvPr/>
        </p:nvPicPr>
        <p:blipFill rotWithShape="1">
          <a:blip r:embed="rId14" cstate="print"/>
          <a:srcRect l="40255" t="35496" r="39989" b="31814"/>
          <a:stretch/>
        </p:blipFill>
        <p:spPr bwMode="auto">
          <a:xfrm>
            <a:off x="4267640" y="161111"/>
            <a:ext cx="1258959" cy="1171297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52" name="Овал 51"/>
          <p:cNvSpPr/>
          <p:nvPr/>
        </p:nvSpPr>
        <p:spPr>
          <a:xfrm>
            <a:off x="10433163" y="4068455"/>
            <a:ext cx="1393078" cy="1393078"/>
          </a:xfrm>
          <a:prstGeom prst="ellipse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3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Light"/>
              <a:ea typeface="+mn-ea"/>
              <a:cs typeface="+mn-cs"/>
              <a:sym typeface="Helvetica Light"/>
            </a:endParaRPr>
          </a:p>
        </p:txBody>
      </p:sp>
      <p:pic>
        <p:nvPicPr>
          <p:cNvPr id="53" name="Рисунок 52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79719" y="4158328"/>
            <a:ext cx="1122426" cy="1122426"/>
          </a:xfrm>
          <a:prstGeom prst="rect">
            <a:avLst/>
          </a:prstGeom>
        </p:spPr>
      </p:pic>
      <p:sp>
        <p:nvSpPr>
          <p:cNvPr id="54" name="Google Shape;384;p40"/>
          <p:cNvSpPr/>
          <p:nvPr/>
        </p:nvSpPr>
        <p:spPr>
          <a:xfrm>
            <a:off x="1129900" y="5449448"/>
            <a:ext cx="1656719" cy="1164712"/>
          </a:xfrm>
          <a:custGeom>
            <a:avLst/>
            <a:gdLst/>
            <a:ahLst/>
            <a:cxnLst/>
            <a:rect l="l" t="t" r="r" b="b"/>
            <a:pathLst>
              <a:path w="18251" h="15452" extrusionOk="0">
                <a:moveTo>
                  <a:pt x="10634" y="2409"/>
                </a:moveTo>
                <a:lnTo>
                  <a:pt x="9953" y="2433"/>
                </a:lnTo>
                <a:lnTo>
                  <a:pt x="9296" y="2458"/>
                </a:lnTo>
                <a:lnTo>
                  <a:pt x="7592" y="2531"/>
                </a:lnTo>
                <a:lnTo>
                  <a:pt x="7228" y="2531"/>
                </a:lnTo>
                <a:lnTo>
                  <a:pt x="6814" y="2555"/>
                </a:lnTo>
                <a:lnTo>
                  <a:pt x="6619" y="2555"/>
                </a:lnTo>
                <a:lnTo>
                  <a:pt x="6425" y="2579"/>
                </a:lnTo>
                <a:lnTo>
                  <a:pt x="6230" y="2652"/>
                </a:lnTo>
                <a:lnTo>
                  <a:pt x="6060" y="2725"/>
                </a:lnTo>
                <a:lnTo>
                  <a:pt x="6035" y="2750"/>
                </a:lnTo>
                <a:lnTo>
                  <a:pt x="6011" y="2798"/>
                </a:lnTo>
                <a:lnTo>
                  <a:pt x="6035" y="2847"/>
                </a:lnTo>
                <a:lnTo>
                  <a:pt x="6060" y="2896"/>
                </a:lnTo>
                <a:lnTo>
                  <a:pt x="6230" y="2969"/>
                </a:lnTo>
                <a:lnTo>
                  <a:pt x="6376" y="3017"/>
                </a:lnTo>
                <a:lnTo>
                  <a:pt x="6546" y="3042"/>
                </a:lnTo>
                <a:lnTo>
                  <a:pt x="7422" y="3042"/>
                </a:lnTo>
                <a:lnTo>
                  <a:pt x="8298" y="3017"/>
                </a:lnTo>
                <a:lnTo>
                  <a:pt x="9150" y="2993"/>
                </a:lnTo>
                <a:lnTo>
                  <a:pt x="9831" y="2969"/>
                </a:lnTo>
                <a:lnTo>
                  <a:pt x="10488" y="2944"/>
                </a:lnTo>
                <a:lnTo>
                  <a:pt x="10829" y="2969"/>
                </a:lnTo>
                <a:lnTo>
                  <a:pt x="11169" y="2993"/>
                </a:lnTo>
                <a:lnTo>
                  <a:pt x="11486" y="3042"/>
                </a:lnTo>
                <a:lnTo>
                  <a:pt x="11826" y="3090"/>
                </a:lnTo>
                <a:lnTo>
                  <a:pt x="11948" y="3115"/>
                </a:lnTo>
                <a:lnTo>
                  <a:pt x="12045" y="3066"/>
                </a:lnTo>
                <a:lnTo>
                  <a:pt x="12094" y="2993"/>
                </a:lnTo>
                <a:lnTo>
                  <a:pt x="12143" y="2896"/>
                </a:lnTo>
                <a:lnTo>
                  <a:pt x="12167" y="2798"/>
                </a:lnTo>
                <a:lnTo>
                  <a:pt x="12143" y="2701"/>
                </a:lnTo>
                <a:lnTo>
                  <a:pt x="12070" y="2628"/>
                </a:lnTo>
                <a:lnTo>
                  <a:pt x="11972" y="2579"/>
                </a:lnTo>
                <a:lnTo>
                  <a:pt x="11632" y="2506"/>
                </a:lnTo>
                <a:lnTo>
                  <a:pt x="11315" y="2458"/>
                </a:lnTo>
                <a:lnTo>
                  <a:pt x="10975" y="2433"/>
                </a:lnTo>
                <a:lnTo>
                  <a:pt x="10634" y="2409"/>
                </a:lnTo>
                <a:close/>
                <a:moveTo>
                  <a:pt x="15573" y="4940"/>
                </a:moveTo>
                <a:lnTo>
                  <a:pt x="15890" y="4964"/>
                </a:lnTo>
                <a:lnTo>
                  <a:pt x="16157" y="5037"/>
                </a:lnTo>
                <a:lnTo>
                  <a:pt x="16182" y="5280"/>
                </a:lnTo>
                <a:lnTo>
                  <a:pt x="16206" y="5524"/>
                </a:lnTo>
                <a:lnTo>
                  <a:pt x="16206" y="5889"/>
                </a:lnTo>
                <a:lnTo>
                  <a:pt x="16206" y="6254"/>
                </a:lnTo>
                <a:lnTo>
                  <a:pt x="15671" y="6278"/>
                </a:lnTo>
                <a:lnTo>
                  <a:pt x="15136" y="6302"/>
                </a:lnTo>
                <a:lnTo>
                  <a:pt x="14625" y="6327"/>
                </a:lnTo>
                <a:lnTo>
                  <a:pt x="14333" y="6375"/>
                </a:lnTo>
                <a:lnTo>
                  <a:pt x="14308" y="6302"/>
                </a:lnTo>
                <a:lnTo>
                  <a:pt x="14284" y="6132"/>
                </a:lnTo>
                <a:lnTo>
                  <a:pt x="14284" y="5962"/>
                </a:lnTo>
                <a:lnTo>
                  <a:pt x="14284" y="5645"/>
                </a:lnTo>
                <a:lnTo>
                  <a:pt x="14284" y="5329"/>
                </a:lnTo>
                <a:lnTo>
                  <a:pt x="14284" y="5159"/>
                </a:lnTo>
                <a:lnTo>
                  <a:pt x="14235" y="5013"/>
                </a:lnTo>
                <a:lnTo>
                  <a:pt x="14430" y="5013"/>
                </a:lnTo>
                <a:lnTo>
                  <a:pt x="14625" y="4988"/>
                </a:lnTo>
                <a:lnTo>
                  <a:pt x="14990" y="4940"/>
                </a:lnTo>
                <a:close/>
                <a:moveTo>
                  <a:pt x="15330" y="4404"/>
                </a:moveTo>
                <a:lnTo>
                  <a:pt x="14990" y="4429"/>
                </a:lnTo>
                <a:lnTo>
                  <a:pt x="14771" y="4453"/>
                </a:lnTo>
                <a:lnTo>
                  <a:pt x="14503" y="4502"/>
                </a:lnTo>
                <a:lnTo>
                  <a:pt x="14357" y="4526"/>
                </a:lnTo>
                <a:lnTo>
                  <a:pt x="14260" y="4575"/>
                </a:lnTo>
                <a:lnTo>
                  <a:pt x="14138" y="4648"/>
                </a:lnTo>
                <a:lnTo>
                  <a:pt x="14065" y="4721"/>
                </a:lnTo>
                <a:lnTo>
                  <a:pt x="14016" y="4721"/>
                </a:lnTo>
                <a:lnTo>
                  <a:pt x="13968" y="4745"/>
                </a:lnTo>
                <a:lnTo>
                  <a:pt x="13943" y="4745"/>
                </a:lnTo>
                <a:lnTo>
                  <a:pt x="13919" y="4769"/>
                </a:lnTo>
                <a:lnTo>
                  <a:pt x="13895" y="4794"/>
                </a:lnTo>
                <a:lnTo>
                  <a:pt x="13870" y="4891"/>
                </a:lnTo>
                <a:lnTo>
                  <a:pt x="13773" y="5670"/>
                </a:lnTo>
                <a:lnTo>
                  <a:pt x="13773" y="6059"/>
                </a:lnTo>
                <a:lnTo>
                  <a:pt x="13773" y="6254"/>
                </a:lnTo>
                <a:lnTo>
                  <a:pt x="13822" y="6424"/>
                </a:lnTo>
                <a:lnTo>
                  <a:pt x="13846" y="6497"/>
                </a:lnTo>
                <a:lnTo>
                  <a:pt x="13870" y="6570"/>
                </a:lnTo>
                <a:lnTo>
                  <a:pt x="13870" y="6594"/>
                </a:lnTo>
                <a:lnTo>
                  <a:pt x="13895" y="6667"/>
                </a:lnTo>
                <a:lnTo>
                  <a:pt x="13919" y="6740"/>
                </a:lnTo>
                <a:lnTo>
                  <a:pt x="13968" y="6789"/>
                </a:lnTo>
                <a:lnTo>
                  <a:pt x="14041" y="6813"/>
                </a:lnTo>
                <a:lnTo>
                  <a:pt x="14308" y="6886"/>
                </a:lnTo>
                <a:lnTo>
                  <a:pt x="14600" y="6911"/>
                </a:lnTo>
                <a:lnTo>
                  <a:pt x="14892" y="6935"/>
                </a:lnTo>
                <a:lnTo>
                  <a:pt x="15184" y="6911"/>
                </a:lnTo>
                <a:lnTo>
                  <a:pt x="15768" y="6886"/>
                </a:lnTo>
                <a:lnTo>
                  <a:pt x="16328" y="6813"/>
                </a:lnTo>
                <a:lnTo>
                  <a:pt x="16449" y="6789"/>
                </a:lnTo>
                <a:lnTo>
                  <a:pt x="16522" y="6740"/>
                </a:lnTo>
                <a:lnTo>
                  <a:pt x="16595" y="6643"/>
                </a:lnTo>
                <a:lnTo>
                  <a:pt x="16620" y="6546"/>
                </a:lnTo>
                <a:lnTo>
                  <a:pt x="16668" y="6448"/>
                </a:lnTo>
                <a:lnTo>
                  <a:pt x="16717" y="6327"/>
                </a:lnTo>
                <a:lnTo>
                  <a:pt x="16741" y="6108"/>
                </a:lnTo>
                <a:lnTo>
                  <a:pt x="16741" y="5864"/>
                </a:lnTo>
                <a:lnTo>
                  <a:pt x="16717" y="5645"/>
                </a:lnTo>
                <a:lnTo>
                  <a:pt x="16644" y="5159"/>
                </a:lnTo>
                <a:lnTo>
                  <a:pt x="16620" y="4940"/>
                </a:lnTo>
                <a:lnTo>
                  <a:pt x="16547" y="4721"/>
                </a:lnTo>
                <a:lnTo>
                  <a:pt x="16498" y="4648"/>
                </a:lnTo>
                <a:lnTo>
                  <a:pt x="16449" y="4599"/>
                </a:lnTo>
                <a:lnTo>
                  <a:pt x="16401" y="4575"/>
                </a:lnTo>
                <a:lnTo>
                  <a:pt x="16328" y="4526"/>
                </a:lnTo>
                <a:lnTo>
                  <a:pt x="16011" y="4453"/>
                </a:lnTo>
                <a:lnTo>
                  <a:pt x="15671" y="4404"/>
                </a:lnTo>
                <a:close/>
                <a:moveTo>
                  <a:pt x="8176" y="7105"/>
                </a:moveTo>
                <a:lnTo>
                  <a:pt x="7884" y="7373"/>
                </a:lnTo>
                <a:lnTo>
                  <a:pt x="7641" y="7689"/>
                </a:lnTo>
                <a:lnTo>
                  <a:pt x="7422" y="8006"/>
                </a:lnTo>
                <a:lnTo>
                  <a:pt x="7252" y="8346"/>
                </a:lnTo>
                <a:lnTo>
                  <a:pt x="7082" y="8687"/>
                </a:lnTo>
                <a:lnTo>
                  <a:pt x="6936" y="9052"/>
                </a:lnTo>
                <a:lnTo>
                  <a:pt x="6790" y="9417"/>
                </a:lnTo>
                <a:lnTo>
                  <a:pt x="6692" y="9782"/>
                </a:lnTo>
                <a:lnTo>
                  <a:pt x="6619" y="9441"/>
                </a:lnTo>
                <a:lnTo>
                  <a:pt x="6619" y="9198"/>
                </a:lnTo>
                <a:lnTo>
                  <a:pt x="6619" y="8955"/>
                </a:lnTo>
                <a:lnTo>
                  <a:pt x="6644" y="8711"/>
                </a:lnTo>
                <a:lnTo>
                  <a:pt x="6717" y="8492"/>
                </a:lnTo>
                <a:lnTo>
                  <a:pt x="6790" y="8273"/>
                </a:lnTo>
                <a:lnTo>
                  <a:pt x="6911" y="8079"/>
                </a:lnTo>
                <a:lnTo>
                  <a:pt x="7033" y="7884"/>
                </a:lnTo>
                <a:lnTo>
                  <a:pt x="7203" y="7689"/>
                </a:lnTo>
                <a:lnTo>
                  <a:pt x="7398" y="7519"/>
                </a:lnTo>
                <a:lnTo>
                  <a:pt x="7617" y="7373"/>
                </a:lnTo>
                <a:lnTo>
                  <a:pt x="7836" y="7251"/>
                </a:lnTo>
                <a:lnTo>
                  <a:pt x="8079" y="7154"/>
                </a:lnTo>
                <a:lnTo>
                  <a:pt x="8176" y="7105"/>
                </a:lnTo>
                <a:close/>
                <a:moveTo>
                  <a:pt x="11413" y="8444"/>
                </a:moveTo>
                <a:lnTo>
                  <a:pt x="11486" y="8711"/>
                </a:lnTo>
                <a:lnTo>
                  <a:pt x="11534" y="8979"/>
                </a:lnTo>
                <a:lnTo>
                  <a:pt x="11559" y="9246"/>
                </a:lnTo>
                <a:lnTo>
                  <a:pt x="11534" y="9514"/>
                </a:lnTo>
                <a:lnTo>
                  <a:pt x="11461" y="9782"/>
                </a:lnTo>
                <a:lnTo>
                  <a:pt x="11388" y="10049"/>
                </a:lnTo>
                <a:lnTo>
                  <a:pt x="11267" y="10293"/>
                </a:lnTo>
                <a:lnTo>
                  <a:pt x="11145" y="10512"/>
                </a:lnTo>
                <a:lnTo>
                  <a:pt x="10975" y="10731"/>
                </a:lnTo>
                <a:lnTo>
                  <a:pt x="11048" y="10536"/>
                </a:lnTo>
                <a:lnTo>
                  <a:pt x="11121" y="10317"/>
                </a:lnTo>
                <a:lnTo>
                  <a:pt x="11194" y="9928"/>
                </a:lnTo>
                <a:lnTo>
                  <a:pt x="11267" y="9563"/>
                </a:lnTo>
                <a:lnTo>
                  <a:pt x="11315" y="9198"/>
                </a:lnTo>
                <a:lnTo>
                  <a:pt x="11413" y="8444"/>
                </a:lnTo>
                <a:close/>
                <a:moveTo>
                  <a:pt x="9028" y="6911"/>
                </a:moveTo>
                <a:lnTo>
                  <a:pt x="8858" y="7057"/>
                </a:lnTo>
                <a:lnTo>
                  <a:pt x="8736" y="7251"/>
                </a:lnTo>
                <a:lnTo>
                  <a:pt x="8614" y="7446"/>
                </a:lnTo>
                <a:lnTo>
                  <a:pt x="8517" y="7641"/>
                </a:lnTo>
                <a:lnTo>
                  <a:pt x="8322" y="8079"/>
                </a:lnTo>
                <a:lnTo>
                  <a:pt x="8176" y="8492"/>
                </a:lnTo>
                <a:lnTo>
                  <a:pt x="8030" y="8833"/>
                </a:lnTo>
                <a:lnTo>
                  <a:pt x="7884" y="9173"/>
                </a:lnTo>
                <a:lnTo>
                  <a:pt x="7568" y="9830"/>
                </a:lnTo>
                <a:lnTo>
                  <a:pt x="7325" y="10317"/>
                </a:lnTo>
                <a:lnTo>
                  <a:pt x="7228" y="10560"/>
                </a:lnTo>
                <a:lnTo>
                  <a:pt x="7130" y="10804"/>
                </a:lnTo>
                <a:lnTo>
                  <a:pt x="6936" y="10463"/>
                </a:lnTo>
                <a:lnTo>
                  <a:pt x="6790" y="10122"/>
                </a:lnTo>
                <a:lnTo>
                  <a:pt x="6838" y="10122"/>
                </a:lnTo>
                <a:lnTo>
                  <a:pt x="6911" y="10098"/>
                </a:lnTo>
                <a:lnTo>
                  <a:pt x="6960" y="10074"/>
                </a:lnTo>
                <a:lnTo>
                  <a:pt x="7009" y="10001"/>
                </a:lnTo>
                <a:lnTo>
                  <a:pt x="7276" y="9222"/>
                </a:lnTo>
                <a:lnTo>
                  <a:pt x="7592" y="8468"/>
                </a:lnTo>
                <a:lnTo>
                  <a:pt x="7787" y="8103"/>
                </a:lnTo>
                <a:lnTo>
                  <a:pt x="7982" y="7738"/>
                </a:lnTo>
                <a:lnTo>
                  <a:pt x="8176" y="7373"/>
                </a:lnTo>
                <a:lnTo>
                  <a:pt x="8395" y="7032"/>
                </a:lnTo>
                <a:lnTo>
                  <a:pt x="8493" y="7032"/>
                </a:lnTo>
                <a:lnTo>
                  <a:pt x="8760" y="6959"/>
                </a:lnTo>
                <a:lnTo>
                  <a:pt x="9028" y="6911"/>
                </a:lnTo>
                <a:close/>
                <a:moveTo>
                  <a:pt x="9344" y="6911"/>
                </a:moveTo>
                <a:lnTo>
                  <a:pt x="9588" y="6935"/>
                </a:lnTo>
                <a:lnTo>
                  <a:pt x="9831" y="7008"/>
                </a:lnTo>
                <a:lnTo>
                  <a:pt x="9734" y="7105"/>
                </a:lnTo>
                <a:lnTo>
                  <a:pt x="9636" y="7203"/>
                </a:lnTo>
                <a:lnTo>
                  <a:pt x="9490" y="7446"/>
                </a:lnTo>
                <a:lnTo>
                  <a:pt x="9393" y="7714"/>
                </a:lnTo>
                <a:lnTo>
                  <a:pt x="9271" y="7957"/>
                </a:lnTo>
                <a:lnTo>
                  <a:pt x="9150" y="8298"/>
                </a:lnTo>
                <a:lnTo>
                  <a:pt x="9004" y="8663"/>
                </a:lnTo>
                <a:lnTo>
                  <a:pt x="8760" y="9368"/>
                </a:lnTo>
                <a:lnTo>
                  <a:pt x="8468" y="10122"/>
                </a:lnTo>
                <a:lnTo>
                  <a:pt x="8128" y="10852"/>
                </a:lnTo>
                <a:lnTo>
                  <a:pt x="7957" y="11290"/>
                </a:lnTo>
                <a:lnTo>
                  <a:pt x="7909" y="11388"/>
                </a:lnTo>
                <a:lnTo>
                  <a:pt x="7884" y="11485"/>
                </a:lnTo>
                <a:lnTo>
                  <a:pt x="7884" y="11558"/>
                </a:lnTo>
                <a:lnTo>
                  <a:pt x="7665" y="11388"/>
                </a:lnTo>
                <a:lnTo>
                  <a:pt x="7446" y="11193"/>
                </a:lnTo>
                <a:lnTo>
                  <a:pt x="7568" y="10901"/>
                </a:lnTo>
                <a:lnTo>
                  <a:pt x="7690" y="10609"/>
                </a:lnTo>
                <a:lnTo>
                  <a:pt x="7811" y="10317"/>
                </a:lnTo>
                <a:lnTo>
                  <a:pt x="7933" y="10049"/>
                </a:lnTo>
                <a:lnTo>
                  <a:pt x="8201" y="9514"/>
                </a:lnTo>
                <a:lnTo>
                  <a:pt x="8444" y="8979"/>
                </a:lnTo>
                <a:lnTo>
                  <a:pt x="8882" y="7933"/>
                </a:lnTo>
                <a:lnTo>
                  <a:pt x="9101" y="7422"/>
                </a:lnTo>
                <a:lnTo>
                  <a:pt x="9344" y="6911"/>
                </a:lnTo>
                <a:close/>
                <a:moveTo>
                  <a:pt x="10610" y="7397"/>
                </a:moveTo>
                <a:lnTo>
                  <a:pt x="10829" y="7592"/>
                </a:lnTo>
                <a:lnTo>
                  <a:pt x="11023" y="7811"/>
                </a:lnTo>
                <a:lnTo>
                  <a:pt x="11194" y="8054"/>
                </a:lnTo>
                <a:lnTo>
                  <a:pt x="11340" y="8322"/>
                </a:lnTo>
                <a:lnTo>
                  <a:pt x="11340" y="8346"/>
                </a:lnTo>
                <a:lnTo>
                  <a:pt x="11169" y="8663"/>
                </a:lnTo>
                <a:lnTo>
                  <a:pt x="11023" y="8979"/>
                </a:lnTo>
                <a:lnTo>
                  <a:pt x="10926" y="9295"/>
                </a:lnTo>
                <a:lnTo>
                  <a:pt x="10829" y="9660"/>
                </a:lnTo>
                <a:lnTo>
                  <a:pt x="10731" y="10025"/>
                </a:lnTo>
                <a:lnTo>
                  <a:pt x="10610" y="10414"/>
                </a:lnTo>
                <a:lnTo>
                  <a:pt x="10512" y="10706"/>
                </a:lnTo>
                <a:lnTo>
                  <a:pt x="10464" y="10852"/>
                </a:lnTo>
                <a:lnTo>
                  <a:pt x="10439" y="11023"/>
                </a:lnTo>
                <a:lnTo>
                  <a:pt x="10464" y="11071"/>
                </a:lnTo>
                <a:lnTo>
                  <a:pt x="10488" y="11120"/>
                </a:lnTo>
                <a:lnTo>
                  <a:pt x="10537" y="11144"/>
                </a:lnTo>
                <a:lnTo>
                  <a:pt x="10585" y="11169"/>
                </a:lnTo>
                <a:lnTo>
                  <a:pt x="10318" y="11388"/>
                </a:lnTo>
                <a:lnTo>
                  <a:pt x="10001" y="11558"/>
                </a:lnTo>
                <a:lnTo>
                  <a:pt x="10001" y="11558"/>
                </a:lnTo>
                <a:lnTo>
                  <a:pt x="10099" y="11412"/>
                </a:lnTo>
                <a:lnTo>
                  <a:pt x="10147" y="11242"/>
                </a:lnTo>
                <a:lnTo>
                  <a:pt x="10269" y="10877"/>
                </a:lnTo>
                <a:lnTo>
                  <a:pt x="10439" y="10244"/>
                </a:lnTo>
                <a:lnTo>
                  <a:pt x="10585" y="9684"/>
                </a:lnTo>
                <a:lnTo>
                  <a:pt x="10780" y="9100"/>
                </a:lnTo>
                <a:lnTo>
                  <a:pt x="10950" y="8517"/>
                </a:lnTo>
                <a:lnTo>
                  <a:pt x="11072" y="7957"/>
                </a:lnTo>
                <a:lnTo>
                  <a:pt x="11072" y="7908"/>
                </a:lnTo>
                <a:lnTo>
                  <a:pt x="11048" y="7884"/>
                </a:lnTo>
                <a:lnTo>
                  <a:pt x="10975" y="7884"/>
                </a:lnTo>
                <a:lnTo>
                  <a:pt x="10804" y="8079"/>
                </a:lnTo>
                <a:lnTo>
                  <a:pt x="10683" y="8273"/>
                </a:lnTo>
                <a:lnTo>
                  <a:pt x="10561" y="8517"/>
                </a:lnTo>
                <a:lnTo>
                  <a:pt x="10464" y="8760"/>
                </a:lnTo>
                <a:lnTo>
                  <a:pt x="10318" y="9246"/>
                </a:lnTo>
                <a:lnTo>
                  <a:pt x="10196" y="9733"/>
                </a:lnTo>
                <a:lnTo>
                  <a:pt x="10050" y="10293"/>
                </a:lnTo>
                <a:lnTo>
                  <a:pt x="9880" y="10828"/>
                </a:lnTo>
                <a:lnTo>
                  <a:pt x="9782" y="11071"/>
                </a:lnTo>
                <a:lnTo>
                  <a:pt x="9685" y="11290"/>
                </a:lnTo>
                <a:lnTo>
                  <a:pt x="9563" y="11534"/>
                </a:lnTo>
                <a:lnTo>
                  <a:pt x="9539" y="11655"/>
                </a:lnTo>
                <a:lnTo>
                  <a:pt x="9515" y="11777"/>
                </a:lnTo>
                <a:lnTo>
                  <a:pt x="9320" y="11826"/>
                </a:lnTo>
                <a:lnTo>
                  <a:pt x="9247" y="11850"/>
                </a:lnTo>
                <a:lnTo>
                  <a:pt x="9247" y="11850"/>
                </a:lnTo>
                <a:lnTo>
                  <a:pt x="9369" y="11607"/>
                </a:lnTo>
                <a:lnTo>
                  <a:pt x="9442" y="11339"/>
                </a:lnTo>
                <a:lnTo>
                  <a:pt x="9612" y="10828"/>
                </a:lnTo>
                <a:lnTo>
                  <a:pt x="9758" y="10317"/>
                </a:lnTo>
                <a:lnTo>
                  <a:pt x="9928" y="9806"/>
                </a:lnTo>
                <a:lnTo>
                  <a:pt x="10147" y="9222"/>
                </a:lnTo>
                <a:lnTo>
                  <a:pt x="10342" y="8614"/>
                </a:lnTo>
                <a:lnTo>
                  <a:pt x="10488" y="8006"/>
                </a:lnTo>
                <a:lnTo>
                  <a:pt x="10561" y="7714"/>
                </a:lnTo>
                <a:lnTo>
                  <a:pt x="10610" y="7397"/>
                </a:lnTo>
                <a:close/>
                <a:moveTo>
                  <a:pt x="10026" y="7081"/>
                </a:moveTo>
                <a:lnTo>
                  <a:pt x="10220" y="7154"/>
                </a:lnTo>
                <a:lnTo>
                  <a:pt x="10391" y="7251"/>
                </a:lnTo>
                <a:lnTo>
                  <a:pt x="10172" y="7811"/>
                </a:lnTo>
                <a:lnTo>
                  <a:pt x="10001" y="8395"/>
                </a:lnTo>
                <a:lnTo>
                  <a:pt x="9831" y="8955"/>
                </a:lnTo>
                <a:lnTo>
                  <a:pt x="9636" y="9538"/>
                </a:lnTo>
                <a:lnTo>
                  <a:pt x="9442" y="10098"/>
                </a:lnTo>
                <a:lnTo>
                  <a:pt x="9271" y="10706"/>
                </a:lnTo>
                <a:lnTo>
                  <a:pt x="9101" y="11266"/>
                </a:lnTo>
                <a:lnTo>
                  <a:pt x="8979" y="11558"/>
                </a:lnTo>
                <a:lnTo>
                  <a:pt x="8833" y="11826"/>
                </a:lnTo>
                <a:lnTo>
                  <a:pt x="8833" y="11874"/>
                </a:lnTo>
                <a:lnTo>
                  <a:pt x="8639" y="11850"/>
                </a:lnTo>
                <a:lnTo>
                  <a:pt x="8468" y="11826"/>
                </a:lnTo>
                <a:lnTo>
                  <a:pt x="8298" y="11753"/>
                </a:lnTo>
                <a:lnTo>
                  <a:pt x="8128" y="11680"/>
                </a:lnTo>
                <a:lnTo>
                  <a:pt x="8176" y="11655"/>
                </a:lnTo>
                <a:lnTo>
                  <a:pt x="8201" y="11631"/>
                </a:lnTo>
                <a:lnTo>
                  <a:pt x="8274" y="11534"/>
                </a:lnTo>
                <a:lnTo>
                  <a:pt x="8371" y="11315"/>
                </a:lnTo>
                <a:lnTo>
                  <a:pt x="8639" y="10633"/>
                </a:lnTo>
                <a:lnTo>
                  <a:pt x="8931" y="9976"/>
                </a:lnTo>
                <a:lnTo>
                  <a:pt x="9077" y="9636"/>
                </a:lnTo>
                <a:lnTo>
                  <a:pt x="9223" y="9271"/>
                </a:lnTo>
                <a:lnTo>
                  <a:pt x="9466" y="8565"/>
                </a:lnTo>
                <a:lnTo>
                  <a:pt x="9612" y="8200"/>
                </a:lnTo>
                <a:lnTo>
                  <a:pt x="9758" y="7835"/>
                </a:lnTo>
                <a:lnTo>
                  <a:pt x="9928" y="7446"/>
                </a:lnTo>
                <a:lnTo>
                  <a:pt x="9977" y="7276"/>
                </a:lnTo>
                <a:lnTo>
                  <a:pt x="10026" y="7081"/>
                </a:lnTo>
                <a:close/>
                <a:moveTo>
                  <a:pt x="9247" y="6424"/>
                </a:moveTo>
                <a:lnTo>
                  <a:pt x="8931" y="6448"/>
                </a:lnTo>
                <a:lnTo>
                  <a:pt x="8639" y="6497"/>
                </a:lnTo>
                <a:lnTo>
                  <a:pt x="8347" y="6570"/>
                </a:lnTo>
                <a:lnTo>
                  <a:pt x="8274" y="6619"/>
                </a:lnTo>
                <a:lnTo>
                  <a:pt x="8225" y="6667"/>
                </a:lnTo>
                <a:lnTo>
                  <a:pt x="7836" y="6789"/>
                </a:lnTo>
                <a:lnTo>
                  <a:pt x="7568" y="6911"/>
                </a:lnTo>
                <a:lnTo>
                  <a:pt x="7325" y="7032"/>
                </a:lnTo>
                <a:lnTo>
                  <a:pt x="7106" y="7203"/>
                </a:lnTo>
                <a:lnTo>
                  <a:pt x="6887" y="7373"/>
                </a:lnTo>
                <a:lnTo>
                  <a:pt x="6668" y="7592"/>
                </a:lnTo>
                <a:lnTo>
                  <a:pt x="6498" y="7835"/>
                </a:lnTo>
                <a:lnTo>
                  <a:pt x="6352" y="8103"/>
                </a:lnTo>
                <a:lnTo>
                  <a:pt x="6254" y="8371"/>
                </a:lnTo>
                <a:lnTo>
                  <a:pt x="6206" y="8663"/>
                </a:lnTo>
                <a:lnTo>
                  <a:pt x="6157" y="8979"/>
                </a:lnTo>
                <a:lnTo>
                  <a:pt x="6157" y="9271"/>
                </a:lnTo>
                <a:lnTo>
                  <a:pt x="6181" y="9563"/>
                </a:lnTo>
                <a:lnTo>
                  <a:pt x="6206" y="9855"/>
                </a:lnTo>
                <a:lnTo>
                  <a:pt x="6279" y="10122"/>
                </a:lnTo>
                <a:lnTo>
                  <a:pt x="6376" y="10390"/>
                </a:lnTo>
                <a:lnTo>
                  <a:pt x="6498" y="10658"/>
                </a:lnTo>
                <a:lnTo>
                  <a:pt x="6644" y="10925"/>
                </a:lnTo>
                <a:lnTo>
                  <a:pt x="6814" y="11169"/>
                </a:lnTo>
                <a:lnTo>
                  <a:pt x="6984" y="11388"/>
                </a:lnTo>
                <a:lnTo>
                  <a:pt x="7203" y="11607"/>
                </a:lnTo>
                <a:lnTo>
                  <a:pt x="7422" y="11801"/>
                </a:lnTo>
                <a:lnTo>
                  <a:pt x="7665" y="11947"/>
                </a:lnTo>
                <a:lnTo>
                  <a:pt x="7909" y="12093"/>
                </a:lnTo>
                <a:lnTo>
                  <a:pt x="8176" y="12191"/>
                </a:lnTo>
                <a:lnTo>
                  <a:pt x="8444" y="12288"/>
                </a:lnTo>
                <a:lnTo>
                  <a:pt x="8736" y="12312"/>
                </a:lnTo>
                <a:lnTo>
                  <a:pt x="9028" y="12312"/>
                </a:lnTo>
                <a:lnTo>
                  <a:pt x="9320" y="12288"/>
                </a:lnTo>
                <a:lnTo>
                  <a:pt x="9588" y="12215"/>
                </a:lnTo>
                <a:lnTo>
                  <a:pt x="9880" y="12118"/>
                </a:lnTo>
                <a:lnTo>
                  <a:pt x="10147" y="11996"/>
                </a:lnTo>
                <a:lnTo>
                  <a:pt x="10415" y="11826"/>
                </a:lnTo>
                <a:lnTo>
                  <a:pt x="10658" y="11655"/>
                </a:lnTo>
                <a:lnTo>
                  <a:pt x="10877" y="11461"/>
                </a:lnTo>
                <a:lnTo>
                  <a:pt x="11096" y="11242"/>
                </a:lnTo>
                <a:lnTo>
                  <a:pt x="11291" y="10998"/>
                </a:lnTo>
                <a:lnTo>
                  <a:pt x="11461" y="10731"/>
                </a:lnTo>
                <a:lnTo>
                  <a:pt x="11632" y="10463"/>
                </a:lnTo>
                <a:lnTo>
                  <a:pt x="11753" y="10195"/>
                </a:lnTo>
                <a:lnTo>
                  <a:pt x="11851" y="9903"/>
                </a:lnTo>
                <a:lnTo>
                  <a:pt x="11924" y="9611"/>
                </a:lnTo>
                <a:lnTo>
                  <a:pt x="11948" y="9319"/>
                </a:lnTo>
                <a:lnTo>
                  <a:pt x="11972" y="9027"/>
                </a:lnTo>
                <a:lnTo>
                  <a:pt x="11924" y="8736"/>
                </a:lnTo>
                <a:lnTo>
                  <a:pt x="11851" y="8444"/>
                </a:lnTo>
                <a:lnTo>
                  <a:pt x="11753" y="8176"/>
                </a:lnTo>
                <a:lnTo>
                  <a:pt x="11632" y="7908"/>
                </a:lnTo>
                <a:lnTo>
                  <a:pt x="11461" y="7665"/>
                </a:lnTo>
                <a:lnTo>
                  <a:pt x="11291" y="7422"/>
                </a:lnTo>
                <a:lnTo>
                  <a:pt x="11096" y="7203"/>
                </a:lnTo>
                <a:lnTo>
                  <a:pt x="10853" y="7032"/>
                </a:lnTo>
                <a:lnTo>
                  <a:pt x="10610" y="6862"/>
                </a:lnTo>
                <a:lnTo>
                  <a:pt x="10366" y="6716"/>
                </a:lnTo>
                <a:lnTo>
                  <a:pt x="10099" y="6594"/>
                </a:lnTo>
                <a:lnTo>
                  <a:pt x="9807" y="6521"/>
                </a:lnTo>
                <a:lnTo>
                  <a:pt x="9515" y="6448"/>
                </a:lnTo>
                <a:lnTo>
                  <a:pt x="9247" y="6424"/>
                </a:lnTo>
                <a:close/>
                <a:moveTo>
                  <a:pt x="9417" y="5694"/>
                </a:moveTo>
                <a:lnTo>
                  <a:pt x="9782" y="5718"/>
                </a:lnTo>
                <a:lnTo>
                  <a:pt x="10172" y="5791"/>
                </a:lnTo>
                <a:lnTo>
                  <a:pt x="10537" y="5889"/>
                </a:lnTo>
                <a:lnTo>
                  <a:pt x="10877" y="6010"/>
                </a:lnTo>
                <a:lnTo>
                  <a:pt x="11218" y="6181"/>
                </a:lnTo>
                <a:lnTo>
                  <a:pt x="11534" y="6351"/>
                </a:lnTo>
                <a:lnTo>
                  <a:pt x="11729" y="6497"/>
                </a:lnTo>
                <a:lnTo>
                  <a:pt x="11899" y="6619"/>
                </a:lnTo>
                <a:lnTo>
                  <a:pt x="12045" y="6789"/>
                </a:lnTo>
                <a:lnTo>
                  <a:pt x="12191" y="6959"/>
                </a:lnTo>
                <a:lnTo>
                  <a:pt x="12313" y="7130"/>
                </a:lnTo>
                <a:lnTo>
                  <a:pt x="12435" y="7324"/>
                </a:lnTo>
                <a:lnTo>
                  <a:pt x="12532" y="7519"/>
                </a:lnTo>
                <a:lnTo>
                  <a:pt x="12629" y="7714"/>
                </a:lnTo>
                <a:lnTo>
                  <a:pt x="12775" y="8152"/>
                </a:lnTo>
                <a:lnTo>
                  <a:pt x="12873" y="8590"/>
                </a:lnTo>
                <a:lnTo>
                  <a:pt x="12921" y="9027"/>
                </a:lnTo>
                <a:lnTo>
                  <a:pt x="12921" y="9465"/>
                </a:lnTo>
                <a:lnTo>
                  <a:pt x="12897" y="9806"/>
                </a:lnTo>
                <a:lnTo>
                  <a:pt x="12848" y="10147"/>
                </a:lnTo>
                <a:lnTo>
                  <a:pt x="12751" y="10463"/>
                </a:lnTo>
                <a:lnTo>
                  <a:pt x="12654" y="10779"/>
                </a:lnTo>
                <a:lnTo>
                  <a:pt x="12508" y="11071"/>
                </a:lnTo>
                <a:lnTo>
                  <a:pt x="12362" y="11363"/>
                </a:lnTo>
                <a:lnTo>
                  <a:pt x="12167" y="11631"/>
                </a:lnTo>
                <a:lnTo>
                  <a:pt x="11972" y="11874"/>
                </a:lnTo>
                <a:lnTo>
                  <a:pt x="11753" y="12093"/>
                </a:lnTo>
                <a:lnTo>
                  <a:pt x="11510" y="12288"/>
                </a:lnTo>
                <a:lnTo>
                  <a:pt x="11242" y="12483"/>
                </a:lnTo>
                <a:lnTo>
                  <a:pt x="10975" y="12653"/>
                </a:lnTo>
                <a:lnTo>
                  <a:pt x="10683" y="12799"/>
                </a:lnTo>
                <a:lnTo>
                  <a:pt x="10366" y="12921"/>
                </a:lnTo>
                <a:lnTo>
                  <a:pt x="10050" y="13018"/>
                </a:lnTo>
                <a:lnTo>
                  <a:pt x="9709" y="13091"/>
                </a:lnTo>
                <a:lnTo>
                  <a:pt x="9369" y="13140"/>
                </a:lnTo>
                <a:lnTo>
                  <a:pt x="8736" y="13140"/>
                </a:lnTo>
                <a:lnTo>
                  <a:pt x="8420" y="13115"/>
                </a:lnTo>
                <a:lnTo>
                  <a:pt x="8128" y="13042"/>
                </a:lnTo>
                <a:lnTo>
                  <a:pt x="7836" y="12969"/>
                </a:lnTo>
                <a:lnTo>
                  <a:pt x="7568" y="12848"/>
                </a:lnTo>
                <a:lnTo>
                  <a:pt x="7276" y="12726"/>
                </a:lnTo>
                <a:lnTo>
                  <a:pt x="7033" y="12556"/>
                </a:lnTo>
                <a:lnTo>
                  <a:pt x="6790" y="12385"/>
                </a:lnTo>
                <a:lnTo>
                  <a:pt x="6546" y="12191"/>
                </a:lnTo>
                <a:lnTo>
                  <a:pt x="6352" y="11972"/>
                </a:lnTo>
                <a:lnTo>
                  <a:pt x="6157" y="11728"/>
                </a:lnTo>
                <a:lnTo>
                  <a:pt x="5962" y="11461"/>
                </a:lnTo>
                <a:lnTo>
                  <a:pt x="5816" y="11193"/>
                </a:lnTo>
                <a:lnTo>
                  <a:pt x="5670" y="10877"/>
                </a:lnTo>
                <a:lnTo>
                  <a:pt x="5597" y="10658"/>
                </a:lnTo>
                <a:lnTo>
                  <a:pt x="5524" y="10414"/>
                </a:lnTo>
                <a:lnTo>
                  <a:pt x="5476" y="10171"/>
                </a:lnTo>
                <a:lnTo>
                  <a:pt x="5427" y="9928"/>
                </a:lnTo>
                <a:lnTo>
                  <a:pt x="5403" y="9684"/>
                </a:lnTo>
                <a:lnTo>
                  <a:pt x="5403" y="9465"/>
                </a:lnTo>
                <a:lnTo>
                  <a:pt x="5403" y="9222"/>
                </a:lnTo>
                <a:lnTo>
                  <a:pt x="5427" y="8979"/>
                </a:lnTo>
                <a:lnTo>
                  <a:pt x="5451" y="8736"/>
                </a:lnTo>
                <a:lnTo>
                  <a:pt x="5500" y="8517"/>
                </a:lnTo>
                <a:lnTo>
                  <a:pt x="5573" y="8273"/>
                </a:lnTo>
                <a:lnTo>
                  <a:pt x="5646" y="8054"/>
                </a:lnTo>
                <a:lnTo>
                  <a:pt x="5743" y="7811"/>
                </a:lnTo>
                <a:lnTo>
                  <a:pt x="5865" y="7592"/>
                </a:lnTo>
                <a:lnTo>
                  <a:pt x="5987" y="7397"/>
                </a:lnTo>
                <a:lnTo>
                  <a:pt x="6133" y="7178"/>
                </a:lnTo>
                <a:lnTo>
                  <a:pt x="6376" y="6886"/>
                </a:lnTo>
                <a:lnTo>
                  <a:pt x="6644" y="6619"/>
                </a:lnTo>
                <a:lnTo>
                  <a:pt x="6911" y="6400"/>
                </a:lnTo>
                <a:lnTo>
                  <a:pt x="7228" y="6229"/>
                </a:lnTo>
                <a:lnTo>
                  <a:pt x="7544" y="6059"/>
                </a:lnTo>
                <a:lnTo>
                  <a:pt x="7884" y="5937"/>
                </a:lnTo>
                <a:lnTo>
                  <a:pt x="8225" y="5840"/>
                </a:lnTo>
                <a:lnTo>
                  <a:pt x="8590" y="5743"/>
                </a:lnTo>
                <a:lnTo>
                  <a:pt x="8687" y="5743"/>
                </a:lnTo>
                <a:lnTo>
                  <a:pt x="9052" y="5694"/>
                </a:lnTo>
                <a:close/>
                <a:moveTo>
                  <a:pt x="9150" y="5207"/>
                </a:moveTo>
                <a:lnTo>
                  <a:pt x="8760" y="5232"/>
                </a:lnTo>
                <a:lnTo>
                  <a:pt x="8420" y="5256"/>
                </a:lnTo>
                <a:lnTo>
                  <a:pt x="8055" y="5305"/>
                </a:lnTo>
                <a:lnTo>
                  <a:pt x="7714" y="5402"/>
                </a:lnTo>
                <a:lnTo>
                  <a:pt x="7373" y="5548"/>
                </a:lnTo>
                <a:lnTo>
                  <a:pt x="7057" y="5718"/>
                </a:lnTo>
                <a:lnTo>
                  <a:pt x="6741" y="5889"/>
                </a:lnTo>
                <a:lnTo>
                  <a:pt x="6473" y="6108"/>
                </a:lnTo>
                <a:lnTo>
                  <a:pt x="6181" y="6327"/>
                </a:lnTo>
                <a:lnTo>
                  <a:pt x="6035" y="6497"/>
                </a:lnTo>
                <a:lnTo>
                  <a:pt x="5865" y="6667"/>
                </a:lnTo>
                <a:lnTo>
                  <a:pt x="5597" y="7032"/>
                </a:lnTo>
                <a:lnTo>
                  <a:pt x="5354" y="7446"/>
                </a:lnTo>
                <a:lnTo>
                  <a:pt x="5159" y="7860"/>
                </a:lnTo>
                <a:lnTo>
                  <a:pt x="5013" y="8298"/>
                </a:lnTo>
                <a:lnTo>
                  <a:pt x="4916" y="8760"/>
                </a:lnTo>
                <a:lnTo>
                  <a:pt x="4867" y="9222"/>
                </a:lnTo>
                <a:lnTo>
                  <a:pt x="4867" y="9684"/>
                </a:lnTo>
                <a:lnTo>
                  <a:pt x="4916" y="10049"/>
                </a:lnTo>
                <a:lnTo>
                  <a:pt x="4965" y="10414"/>
                </a:lnTo>
                <a:lnTo>
                  <a:pt x="5062" y="10755"/>
                </a:lnTo>
                <a:lnTo>
                  <a:pt x="5184" y="11096"/>
                </a:lnTo>
                <a:lnTo>
                  <a:pt x="5330" y="11412"/>
                </a:lnTo>
                <a:lnTo>
                  <a:pt x="5500" y="11728"/>
                </a:lnTo>
                <a:lnTo>
                  <a:pt x="5695" y="12020"/>
                </a:lnTo>
                <a:lnTo>
                  <a:pt x="5914" y="12288"/>
                </a:lnTo>
                <a:lnTo>
                  <a:pt x="6157" y="12531"/>
                </a:lnTo>
                <a:lnTo>
                  <a:pt x="6425" y="12775"/>
                </a:lnTo>
                <a:lnTo>
                  <a:pt x="6717" y="12969"/>
                </a:lnTo>
                <a:lnTo>
                  <a:pt x="7009" y="13164"/>
                </a:lnTo>
                <a:lnTo>
                  <a:pt x="7325" y="13310"/>
                </a:lnTo>
                <a:lnTo>
                  <a:pt x="7665" y="13432"/>
                </a:lnTo>
                <a:lnTo>
                  <a:pt x="8006" y="13529"/>
                </a:lnTo>
                <a:lnTo>
                  <a:pt x="8371" y="13602"/>
                </a:lnTo>
                <a:lnTo>
                  <a:pt x="8687" y="13651"/>
                </a:lnTo>
                <a:lnTo>
                  <a:pt x="9296" y="13651"/>
                </a:lnTo>
                <a:lnTo>
                  <a:pt x="9612" y="13626"/>
                </a:lnTo>
                <a:lnTo>
                  <a:pt x="9928" y="13578"/>
                </a:lnTo>
                <a:lnTo>
                  <a:pt x="10220" y="13505"/>
                </a:lnTo>
                <a:lnTo>
                  <a:pt x="10512" y="13407"/>
                </a:lnTo>
                <a:lnTo>
                  <a:pt x="10804" y="13310"/>
                </a:lnTo>
                <a:lnTo>
                  <a:pt x="11072" y="13188"/>
                </a:lnTo>
                <a:lnTo>
                  <a:pt x="11340" y="13042"/>
                </a:lnTo>
                <a:lnTo>
                  <a:pt x="11607" y="12872"/>
                </a:lnTo>
                <a:lnTo>
                  <a:pt x="11851" y="12702"/>
                </a:lnTo>
                <a:lnTo>
                  <a:pt x="12094" y="12507"/>
                </a:lnTo>
                <a:lnTo>
                  <a:pt x="12313" y="12288"/>
                </a:lnTo>
                <a:lnTo>
                  <a:pt x="12508" y="12045"/>
                </a:lnTo>
                <a:lnTo>
                  <a:pt x="12702" y="11801"/>
                </a:lnTo>
                <a:lnTo>
                  <a:pt x="12897" y="11461"/>
                </a:lnTo>
                <a:lnTo>
                  <a:pt x="13092" y="11096"/>
                </a:lnTo>
                <a:lnTo>
                  <a:pt x="13213" y="10706"/>
                </a:lnTo>
                <a:lnTo>
                  <a:pt x="13335" y="10317"/>
                </a:lnTo>
                <a:lnTo>
                  <a:pt x="13384" y="9903"/>
                </a:lnTo>
                <a:lnTo>
                  <a:pt x="13432" y="9490"/>
                </a:lnTo>
                <a:lnTo>
                  <a:pt x="13432" y="9076"/>
                </a:lnTo>
                <a:lnTo>
                  <a:pt x="13384" y="8663"/>
                </a:lnTo>
                <a:lnTo>
                  <a:pt x="13311" y="8273"/>
                </a:lnTo>
                <a:lnTo>
                  <a:pt x="13189" y="7860"/>
                </a:lnTo>
                <a:lnTo>
                  <a:pt x="13043" y="7495"/>
                </a:lnTo>
                <a:lnTo>
                  <a:pt x="12873" y="7130"/>
                </a:lnTo>
                <a:lnTo>
                  <a:pt x="12654" y="6789"/>
                </a:lnTo>
                <a:lnTo>
                  <a:pt x="12386" y="6473"/>
                </a:lnTo>
                <a:lnTo>
                  <a:pt x="12094" y="6181"/>
                </a:lnTo>
                <a:lnTo>
                  <a:pt x="11778" y="5937"/>
                </a:lnTo>
                <a:lnTo>
                  <a:pt x="11461" y="5743"/>
                </a:lnTo>
                <a:lnTo>
                  <a:pt x="11096" y="5572"/>
                </a:lnTo>
                <a:lnTo>
                  <a:pt x="10731" y="5426"/>
                </a:lnTo>
                <a:lnTo>
                  <a:pt x="10342" y="5329"/>
                </a:lnTo>
                <a:lnTo>
                  <a:pt x="9953" y="5256"/>
                </a:lnTo>
                <a:lnTo>
                  <a:pt x="9539" y="5207"/>
                </a:lnTo>
                <a:close/>
                <a:moveTo>
                  <a:pt x="7714" y="511"/>
                </a:moveTo>
                <a:lnTo>
                  <a:pt x="8687" y="536"/>
                </a:lnTo>
                <a:lnTo>
                  <a:pt x="9685" y="560"/>
                </a:lnTo>
                <a:lnTo>
                  <a:pt x="10658" y="633"/>
                </a:lnTo>
                <a:lnTo>
                  <a:pt x="11340" y="633"/>
                </a:lnTo>
                <a:lnTo>
                  <a:pt x="11680" y="609"/>
                </a:lnTo>
                <a:lnTo>
                  <a:pt x="12021" y="609"/>
                </a:lnTo>
                <a:lnTo>
                  <a:pt x="12264" y="633"/>
                </a:lnTo>
                <a:lnTo>
                  <a:pt x="12483" y="706"/>
                </a:lnTo>
                <a:lnTo>
                  <a:pt x="12654" y="779"/>
                </a:lnTo>
                <a:lnTo>
                  <a:pt x="12800" y="876"/>
                </a:lnTo>
                <a:lnTo>
                  <a:pt x="12921" y="1022"/>
                </a:lnTo>
                <a:lnTo>
                  <a:pt x="13019" y="1168"/>
                </a:lnTo>
                <a:lnTo>
                  <a:pt x="13092" y="1314"/>
                </a:lnTo>
                <a:lnTo>
                  <a:pt x="13140" y="1484"/>
                </a:lnTo>
                <a:lnTo>
                  <a:pt x="13262" y="1874"/>
                </a:lnTo>
                <a:lnTo>
                  <a:pt x="13335" y="2263"/>
                </a:lnTo>
                <a:lnTo>
                  <a:pt x="13432" y="2652"/>
                </a:lnTo>
                <a:lnTo>
                  <a:pt x="13481" y="2847"/>
                </a:lnTo>
                <a:lnTo>
                  <a:pt x="13554" y="3017"/>
                </a:lnTo>
                <a:lnTo>
                  <a:pt x="13627" y="3115"/>
                </a:lnTo>
                <a:lnTo>
                  <a:pt x="13724" y="3139"/>
                </a:lnTo>
                <a:lnTo>
                  <a:pt x="13822" y="3139"/>
                </a:lnTo>
                <a:lnTo>
                  <a:pt x="13919" y="3090"/>
                </a:lnTo>
                <a:lnTo>
                  <a:pt x="14138" y="3066"/>
                </a:lnTo>
                <a:lnTo>
                  <a:pt x="14357" y="3066"/>
                </a:lnTo>
                <a:lnTo>
                  <a:pt x="14795" y="3090"/>
                </a:lnTo>
                <a:lnTo>
                  <a:pt x="15233" y="3139"/>
                </a:lnTo>
                <a:lnTo>
                  <a:pt x="15671" y="3163"/>
                </a:lnTo>
                <a:lnTo>
                  <a:pt x="16084" y="3188"/>
                </a:lnTo>
                <a:lnTo>
                  <a:pt x="16571" y="3212"/>
                </a:lnTo>
                <a:lnTo>
                  <a:pt x="16839" y="3212"/>
                </a:lnTo>
                <a:lnTo>
                  <a:pt x="17082" y="3188"/>
                </a:lnTo>
                <a:lnTo>
                  <a:pt x="17325" y="3163"/>
                </a:lnTo>
                <a:lnTo>
                  <a:pt x="17520" y="3066"/>
                </a:lnTo>
                <a:lnTo>
                  <a:pt x="17496" y="3261"/>
                </a:lnTo>
                <a:lnTo>
                  <a:pt x="17496" y="3480"/>
                </a:lnTo>
                <a:lnTo>
                  <a:pt x="17544" y="5086"/>
                </a:lnTo>
                <a:lnTo>
                  <a:pt x="17593" y="6789"/>
                </a:lnTo>
                <a:lnTo>
                  <a:pt x="17617" y="8517"/>
                </a:lnTo>
                <a:lnTo>
                  <a:pt x="17666" y="11753"/>
                </a:lnTo>
                <a:lnTo>
                  <a:pt x="17666" y="12483"/>
                </a:lnTo>
                <a:lnTo>
                  <a:pt x="17642" y="13213"/>
                </a:lnTo>
                <a:lnTo>
                  <a:pt x="17617" y="13943"/>
                </a:lnTo>
                <a:lnTo>
                  <a:pt x="17617" y="14673"/>
                </a:lnTo>
                <a:lnTo>
                  <a:pt x="17544" y="14673"/>
                </a:lnTo>
                <a:lnTo>
                  <a:pt x="16449" y="14746"/>
                </a:lnTo>
                <a:lnTo>
                  <a:pt x="15379" y="14794"/>
                </a:lnTo>
                <a:lnTo>
                  <a:pt x="14308" y="14794"/>
                </a:lnTo>
                <a:lnTo>
                  <a:pt x="13238" y="14770"/>
                </a:lnTo>
                <a:lnTo>
                  <a:pt x="11072" y="14721"/>
                </a:lnTo>
                <a:lnTo>
                  <a:pt x="10001" y="14697"/>
                </a:lnTo>
                <a:lnTo>
                  <a:pt x="8931" y="14673"/>
                </a:lnTo>
                <a:lnTo>
                  <a:pt x="7811" y="14673"/>
                </a:lnTo>
                <a:lnTo>
                  <a:pt x="6692" y="14721"/>
                </a:lnTo>
                <a:lnTo>
                  <a:pt x="4454" y="14819"/>
                </a:lnTo>
                <a:lnTo>
                  <a:pt x="2215" y="14892"/>
                </a:lnTo>
                <a:lnTo>
                  <a:pt x="1826" y="14892"/>
                </a:lnTo>
                <a:lnTo>
                  <a:pt x="1436" y="14867"/>
                </a:lnTo>
                <a:lnTo>
                  <a:pt x="828" y="14867"/>
                </a:lnTo>
                <a:lnTo>
                  <a:pt x="633" y="14916"/>
                </a:lnTo>
                <a:lnTo>
                  <a:pt x="658" y="14624"/>
                </a:lnTo>
                <a:lnTo>
                  <a:pt x="658" y="14308"/>
                </a:lnTo>
                <a:lnTo>
                  <a:pt x="658" y="13724"/>
                </a:lnTo>
                <a:lnTo>
                  <a:pt x="633" y="13115"/>
                </a:lnTo>
                <a:lnTo>
                  <a:pt x="633" y="12531"/>
                </a:lnTo>
                <a:lnTo>
                  <a:pt x="682" y="10804"/>
                </a:lnTo>
                <a:lnTo>
                  <a:pt x="706" y="9928"/>
                </a:lnTo>
                <a:lnTo>
                  <a:pt x="682" y="9076"/>
                </a:lnTo>
                <a:lnTo>
                  <a:pt x="585" y="7349"/>
                </a:lnTo>
                <a:lnTo>
                  <a:pt x="512" y="5597"/>
                </a:lnTo>
                <a:lnTo>
                  <a:pt x="463" y="4794"/>
                </a:lnTo>
                <a:lnTo>
                  <a:pt x="439" y="4380"/>
                </a:lnTo>
                <a:lnTo>
                  <a:pt x="439" y="3991"/>
                </a:lnTo>
                <a:lnTo>
                  <a:pt x="439" y="3601"/>
                </a:lnTo>
                <a:lnTo>
                  <a:pt x="390" y="3236"/>
                </a:lnTo>
                <a:lnTo>
                  <a:pt x="706" y="3285"/>
                </a:lnTo>
                <a:lnTo>
                  <a:pt x="1217" y="3285"/>
                </a:lnTo>
                <a:lnTo>
                  <a:pt x="1436" y="3261"/>
                </a:lnTo>
                <a:lnTo>
                  <a:pt x="1655" y="3212"/>
                </a:lnTo>
                <a:lnTo>
                  <a:pt x="1753" y="3163"/>
                </a:lnTo>
                <a:lnTo>
                  <a:pt x="1826" y="3115"/>
                </a:lnTo>
                <a:lnTo>
                  <a:pt x="1874" y="3042"/>
                </a:lnTo>
                <a:lnTo>
                  <a:pt x="1899" y="2969"/>
                </a:lnTo>
                <a:lnTo>
                  <a:pt x="1899" y="2896"/>
                </a:lnTo>
                <a:lnTo>
                  <a:pt x="1874" y="2823"/>
                </a:lnTo>
                <a:lnTo>
                  <a:pt x="1947" y="2725"/>
                </a:lnTo>
                <a:lnTo>
                  <a:pt x="2069" y="2652"/>
                </a:lnTo>
                <a:lnTo>
                  <a:pt x="2191" y="2579"/>
                </a:lnTo>
                <a:lnTo>
                  <a:pt x="2312" y="2555"/>
                </a:lnTo>
                <a:lnTo>
                  <a:pt x="2458" y="2531"/>
                </a:lnTo>
                <a:lnTo>
                  <a:pt x="2580" y="2531"/>
                </a:lnTo>
                <a:lnTo>
                  <a:pt x="2702" y="2555"/>
                </a:lnTo>
                <a:lnTo>
                  <a:pt x="2823" y="2579"/>
                </a:lnTo>
                <a:lnTo>
                  <a:pt x="2945" y="2628"/>
                </a:lnTo>
                <a:lnTo>
                  <a:pt x="3067" y="2677"/>
                </a:lnTo>
                <a:lnTo>
                  <a:pt x="3164" y="2774"/>
                </a:lnTo>
                <a:lnTo>
                  <a:pt x="3237" y="2847"/>
                </a:lnTo>
                <a:lnTo>
                  <a:pt x="3310" y="2944"/>
                </a:lnTo>
                <a:lnTo>
                  <a:pt x="3334" y="2993"/>
                </a:lnTo>
                <a:lnTo>
                  <a:pt x="3334" y="3017"/>
                </a:lnTo>
                <a:lnTo>
                  <a:pt x="3383" y="3115"/>
                </a:lnTo>
                <a:lnTo>
                  <a:pt x="3456" y="3163"/>
                </a:lnTo>
                <a:lnTo>
                  <a:pt x="3529" y="3188"/>
                </a:lnTo>
                <a:lnTo>
                  <a:pt x="3602" y="3163"/>
                </a:lnTo>
                <a:lnTo>
                  <a:pt x="3821" y="3188"/>
                </a:lnTo>
                <a:lnTo>
                  <a:pt x="4162" y="3212"/>
                </a:lnTo>
                <a:lnTo>
                  <a:pt x="4332" y="3188"/>
                </a:lnTo>
                <a:lnTo>
                  <a:pt x="4502" y="3139"/>
                </a:lnTo>
                <a:lnTo>
                  <a:pt x="4551" y="3090"/>
                </a:lnTo>
                <a:lnTo>
                  <a:pt x="4575" y="3042"/>
                </a:lnTo>
                <a:lnTo>
                  <a:pt x="4600" y="2993"/>
                </a:lnTo>
                <a:lnTo>
                  <a:pt x="4600" y="2920"/>
                </a:lnTo>
                <a:lnTo>
                  <a:pt x="4721" y="2725"/>
                </a:lnTo>
                <a:lnTo>
                  <a:pt x="4794" y="2506"/>
                </a:lnTo>
                <a:lnTo>
                  <a:pt x="4867" y="2263"/>
                </a:lnTo>
                <a:lnTo>
                  <a:pt x="4940" y="2020"/>
                </a:lnTo>
                <a:lnTo>
                  <a:pt x="5062" y="1533"/>
                </a:lnTo>
                <a:lnTo>
                  <a:pt x="5135" y="1290"/>
                </a:lnTo>
                <a:lnTo>
                  <a:pt x="5232" y="1095"/>
                </a:lnTo>
                <a:lnTo>
                  <a:pt x="5281" y="998"/>
                </a:lnTo>
                <a:lnTo>
                  <a:pt x="5354" y="925"/>
                </a:lnTo>
                <a:lnTo>
                  <a:pt x="5500" y="803"/>
                </a:lnTo>
                <a:lnTo>
                  <a:pt x="5695" y="706"/>
                </a:lnTo>
                <a:lnTo>
                  <a:pt x="5889" y="657"/>
                </a:lnTo>
                <a:lnTo>
                  <a:pt x="6108" y="609"/>
                </a:lnTo>
                <a:lnTo>
                  <a:pt x="6327" y="584"/>
                </a:lnTo>
                <a:lnTo>
                  <a:pt x="6717" y="560"/>
                </a:lnTo>
                <a:lnTo>
                  <a:pt x="7203" y="536"/>
                </a:lnTo>
                <a:lnTo>
                  <a:pt x="7714" y="511"/>
                </a:lnTo>
                <a:close/>
                <a:moveTo>
                  <a:pt x="7714" y="0"/>
                </a:moveTo>
                <a:lnTo>
                  <a:pt x="7130" y="25"/>
                </a:lnTo>
                <a:lnTo>
                  <a:pt x="6546" y="49"/>
                </a:lnTo>
                <a:lnTo>
                  <a:pt x="6157" y="98"/>
                </a:lnTo>
                <a:lnTo>
                  <a:pt x="5768" y="146"/>
                </a:lnTo>
                <a:lnTo>
                  <a:pt x="5573" y="195"/>
                </a:lnTo>
                <a:lnTo>
                  <a:pt x="5378" y="268"/>
                </a:lnTo>
                <a:lnTo>
                  <a:pt x="5208" y="365"/>
                </a:lnTo>
                <a:lnTo>
                  <a:pt x="5062" y="487"/>
                </a:lnTo>
                <a:lnTo>
                  <a:pt x="4940" y="584"/>
                </a:lnTo>
                <a:lnTo>
                  <a:pt x="4843" y="706"/>
                </a:lnTo>
                <a:lnTo>
                  <a:pt x="4697" y="949"/>
                </a:lnTo>
                <a:lnTo>
                  <a:pt x="4575" y="1241"/>
                </a:lnTo>
                <a:lnTo>
                  <a:pt x="4502" y="1533"/>
                </a:lnTo>
                <a:lnTo>
                  <a:pt x="4332" y="2141"/>
                </a:lnTo>
                <a:lnTo>
                  <a:pt x="4113" y="2750"/>
                </a:lnTo>
                <a:lnTo>
                  <a:pt x="3894" y="2774"/>
                </a:lnTo>
                <a:lnTo>
                  <a:pt x="3699" y="2774"/>
                </a:lnTo>
                <a:lnTo>
                  <a:pt x="3602" y="2628"/>
                </a:lnTo>
                <a:lnTo>
                  <a:pt x="3505" y="2482"/>
                </a:lnTo>
                <a:lnTo>
                  <a:pt x="3359" y="2385"/>
                </a:lnTo>
                <a:lnTo>
                  <a:pt x="3213" y="2287"/>
                </a:lnTo>
                <a:lnTo>
                  <a:pt x="3067" y="2214"/>
                </a:lnTo>
                <a:lnTo>
                  <a:pt x="2896" y="2166"/>
                </a:lnTo>
                <a:lnTo>
                  <a:pt x="2702" y="2117"/>
                </a:lnTo>
                <a:lnTo>
                  <a:pt x="2531" y="2093"/>
                </a:lnTo>
                <a:lnTo>
                  <a:pt x="2410" y="2117"/>
                </a:lnTo>
                <a:lnTo>
                  <a:pt x="2264" y="2141"/>
                </a:lnTo>
                <a:lnTo>
                  <a:pt x="2118" y="2166"/>
                </a:lnTo>
                <a:lnTo>
                  <a:pt x="1947" y="2239"/>
                </a:lnTo>
                <a:lnTo>
                  <a:pt x="1801" y="2312"/>
                </a:lnTo>
                <a:lnTo>
                  <a:pt x="1680" y="2409"/>
                </a:lnTo>
                <a:lnTo>
                  <a:pt x="1558" y="2506"/>
                </a:lnTo>
                <a:lnTo>
                  <a:pt x="1485" y="2628"/>
                </a:lnTo>
                <a:lnTo>
                  <a:pt x="1242" y="2652"/>
                </a:lnTo>
                <a:lnTo>
                  <a:pt x="1023" y="2677"/>
                </a:lnTo>
                <a:lnTo>
                  <a:pt x="220" y="2677"/>
                </a:lnTo>
                <a:lnTo>
                  <a:pt x="171" y="2701"/>
                </a:lnTo>
                <a:lnTo>
                  <a:pt x="122" y="2725"/>
                </a:lnTo>
                <a:lnTo>
                  <a:pt x="74" y="2774"/>
                </a:lnTo>
                <a:lnTo>
                  <a:pt x="25" y="2823"/>
                </a:lnTo>
                <a:lnTo>
                  <a:pt x="1" y="2896"/>
                </a:lnTo>
                <a:lnTo>
                  <a:pt x="25" y="4258"/>
                </a:lnTo>
                <a:lnTo>
                  <a:pt x="49" y="5597"/>
                </a:lnTo>
                <a:lnTo>
                  <a:pt x="98" y="7349"/>
                </a:lnTo>
                <a:lnTo>
                  <a:pt x="195" y="9076"/>
                </a:lnTo>
                <a:lnTo>
                  <a:pt x="195" y="9879"/>
                </a:lnTo>
                <a:lnTo>
                  <a:pt x="195" y="10706"/>
                </a:lnTo>
                <a:lnTo>
                  <a:pt x="171" y="11534"/>
                </a:lnTo>
                <a:lnTo>
                  <a:pt x="122" y="12337"/>
                </a:lnTo>
                <a:lnTo>
                  <a:pt x="98" y="12994"/>
                </a:lnTo>
                <a:lnTo>
                  <a:pt x="98" y="13626"/>
                </a:lnTo>
                <a:lnTo>
                  <a:pt x="122" y="14916"/>
                </a:lnTo>
                <a:lnTo>
                  <a:pt x="122" y="14965"/>
                </a:lnTo>
                <a:lnTo>
                  <a:pt x="147" y="15038"/>
                </a:lnTo>
                <a:lnTo>
                  <a:pt x="195" y="15086"/>
                </a:lnTo>
                <a:lnTo>
                  <a:pt x="244" y="15111"/>
                </a:lnTo>
                <a:lnTo>
                  <a:pt x="268" y="15184"/>
                </a:lnTo>
                <a:lnTo>
                  <a:pt x="317" y="15257"/>
                </a:lnTo>
                <a:lnTo>
                  <a:pt x="487" y="15354"/>
                </a:lnTo>
                <a:lnTo>
                  <a:pt x="706" y="15403"/>
                </a:lnTo>
                <a:lnTo>
                  <a:pt x="925" y="15427"/>
                </a:lnTo>
                <a:lnTo>
                  <a:pt x="1144" y="15451"/>
                </a:lnTo>
                <a:lnTo>
                  <a:pt x="1607" y="15451"/>
                </a:lnTo>
                <a:lnTo>
                  <a:pt x="2020" y="15427"/>
                </a:lnTo>
                <a:lnTo>
                  <a:pt x="3140" y="15403"/>
                </a:lnTo>
                <a:lnTo>
                  <a:pt x="4259" y="15378"/>
                </a:lnTo>
                <a:lnTo>
                  <a:pt x="5378" y="15330"/>
                </a:lnTo>
                <a:lnTo>
                  <a:pt x="6498" y="15281"/>
                </a:lnTo>
                <a:lnTo>
                  <a:pt x="7617" y="15232"/>
                </a:lnTo>
                <a:lnTo>
                  <a:pt x="8736" y="15208"/>
                </a:lnTo>
                <a:lnTo>
                  <a:pt x="9855" y="15232"/>
                </a:lnTo>
                <a:lnTo>
                  <a:pt x="10950" y="15257"/>
                </a:lnTo>
                <a:lnTo>
                  <a:pt x="13140" y="15305"/>
                </a:lnTo>
                <a:lnTo>
                  <a:pt x="14235" y="15330"/>
                </a:lnTo>
                <a:lnTo>
                  <a:pt x="15330" y="15330"/>
                </a:lnTo>
                <a:lnTo>
                  <a:pt x="16449" y="15305"/>
                </a:lnTo>
                <a:lnTo>
                  <a:pt x="17544" y="15208"/>
                </a:lnTo>
                <a:lnTo>
                  <a:pt x="17642" y="15184"/>
                </a:lnTo>
                <a:lnTo>
                  <a:pt x="17715" y="15135"/>
                </a:lnTo>
                <a:lnTo>
                  <a:pt x="17788" y="15184"/>
                </a:lnTo>
                <a:lnTo>
                  <a:pt x="17861" y="15208"/>
                </a:lnTo>
                <a:lnTo>
                  <a:pt x="17958" y="15232"/>
                </a:lnTo>
                <a:lnTo>
                  <a:pt x="18031" y="15208"/>
                </a:lnTo>
                <a:lnTo>
                  <a:pt x="18104" y="15184"/>
                </a:lnTo>
                <a:lnTo>
                  <a:pt x="18177" y="15111"/>
                </a:lnTo>
                <a:lnTo>
                  <a:pt x="18201" y="15038"/>
                </a:lnTo>
                <a:lnTo>
                  <a:pt x="18226" y="14940"/>
                </a:lnTo>
                <a:lnTo>
                  <a:pt x="18201" y="14186"/>
                </a:lnTo>
                <a:lnTo>
                  <a:pt x="18226" y="13432"/>
                </a:lnTo>
                <a:lnTo>
                  <a:pt x="18250" y="12677"/>
                </a:lnTo>
                <a:lnTo>
                  <a:pt x="18250" y="11923"/>
                </a:lnTo>
                <a:lnTo>
                  <a:pt x="18201" y="8711"/>
                </a:lnTo>
                <a:lnTo>
                  <a:pt x="18177" y="7081"/>
                </a:lnTo>
                <a:lnTo>
                  <a:pt x="18104" y="5475"/>
                </a:lnTo>
                <a:lnTo>
                  <a:pt x="18080" y="4794"/>
                </a:lnTo>
                <a:lnTo>
                  <a:pt x="18031" y="4137"/>
                </a:lnTo>
                <a:lnTo>
                  <a:pt x="17982" y="3480"/>
                </a:lnTo>
                <a:lnTo>
                  <a:pt x="17982" y="2798"/>
                </a:lnTo>
                <a:lnTo>
                  <a:pt x="17982" y="2750"/>
                </a:lnTo>
                <a:lnTo>
                  <a:pt x="17958" y="2701"/>
                </a:lnTo>
                <a:lnTo>
                  <a:pt x="17885" y="2652"/>
                </a:lnTo>
                <a:lnTo>
                  <a:pt x="17788" y="2628"/>
                </a:lnTo>
                <a:lnTo>
                  <a:pt x="17715" y="2628"/>
                </a:lnTo>
                <a:lnTo>
                  <a:pt x="17617" y="2579"/>
                </a:lnTo>
                <a:lnTo>
                  <a:pt x="17496" y="2555"/>
                </a:lnTo>
                <a:lnTo>
                  <a:pt x="17106" y="2555"/>
                </a:lnTo>
                <a:lnTo>
                  <a:pt x="16839" y="2604"/>
                </a:lnTo>
                <a:lnTo>
                  <a:pt x="16595" y="2628"/>
                </a:lnTo>
                <a:lnTo>
                  <a:pt x="15963" y="2652"/>
                </a:lnTo>
                <a:lnTo>
                  <a:pt x="15330" y="2628"/>
                </a:lnTo>
                <a:lnTo>
                  <a:pt x="14990" y="2604"/>
                </a:lnTo>
                <a:lnTo>
                  <a:pt x="14625" y="2555"/>
                </a:lnTo>
                <a:lnTo>
                  <a:pt x="14260" y="2555"/>
                </a:lnTo>
                <a:lnTo>
                  <a:pt x="14089" y="2579"/>
                </a:lnTo>
                <a:lnTo>
                  <a:pt x="13943" y="2628"/>
                </a:lnTo>
                <a:lnTo>
                  <a:pt x="13846" y="2263"/>
                </a:lnTo>
                <a:lnTo>
                  <a:pt x="13773" y="1874"/>
                </a:lnTo>
                <a:lnTo>
                  <a:pt x="13700" y="1509"/>
                </a:lnTo>
                <a:lnTo>
                  <a:pt x="13578" y="1168"/>
                </a:lnTo>
                <a:lnTo>
                  <a:pt x="13505" y="1022"/>
                </a:lnTo>
                <a:lnTo>
                  <a:pt x="13432" y="852"/>
                </a:lnTo>
                <a:lnTo>
                  <a:pt x="13335" y="706"/>
                </a:lnTo>
                <a:lnTo>
                  <a:pt x="13238" y="584"/>
                </a:lnTo>
                <a:lnTo>
                  <a:pt x="13092" y="463"/>
                </a:lnTo>
                <a:lnTo>
                  <a:pt x="12946" y="341"/>
                </a:lnTo>
                <a:lnTo>
                  <a:pt x="12775" y="268"/>
                </a:lnTo>
                <a:lnTo>
                  <a:pt x="12581" y="171"/>
                </a:lnTo>
                <a:lnTo>
                  <a:pt x="12386" y="146"/>
                </a:lnTo>
                <a:lnTo>
                  <a:pt x="12191" y="98"/>
                </a:lnTo>
                <a:lnTo>
                  <a:pt x="11802" y="98"/>
                </a:lnTo>
                <a:lnTo>
                  <a:pt x="11023" y="122"/>
                </a:lnTo>
                <a:lnTo>
                  <a:pt x="10488" y="122"/>
                </a:lnTo>
                <a:lnTo>
                  <a:pt x="9953" y="98"/>
                </a:lnTo>
                <a:lnTo>
                  <a:pt x="8882" y="25"/>
                </a:lnTo>
                <a:lnTo>
                  <a:pt x="8298" y="0"/>
                </a:lnTo>
                <a:close/>
              </a:path>
            </a:pathLst>
          </a:custGeom>
          <a:solidFill>
            <a:schemeClr val="dk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2354613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4">
            <a:extLst>
              <a:ext uri="{FF2B5EF4-FFF2-40B4-BE49-F238E27FC236}">
                <a16:creationId xmlns:a16="http://schemas.microsoft.com/office/drawing/2014/main" xmlns="" id="{B210F6F7-62F4-4E9E-9E2E-B49C62584D97}"/>
              </a:ext>
            </a:extLst>
          </p:cNvPr>
          <p:cNvSpPr/>
          <p:nvPr/>
        </p:nvSpPr>
        <p:spPr>
          <a:xfrm>
            <a:off x="0" y="0"/>
            <a:ext cx="9633229" cy="2015251"/>
          </a:xfrm>
          <a:custGeom>
            <a:avLst/>
            <a:gdLst>
              <a:gd name="connsiteX0" fmla="*/ 0 w 5880100"/>
              <a:gd name="connsiteY0" fmla="*/ 0 h 5880100"/>
              <a:gd name="connsiteX1" fmla="*/ 5880100 w 5880100"/>
              <a:gd name="connsiteY1" fmla="*/ 0 h 5880100"/>
              <a:gd name="connsiteX2" fmla="*/ 5880100 w 5880100"/>
              <a:gd name="connsiteY2" fmla="*/ 5880100 h 5880100"/>
              <a:gd name="connsiteX3" fmla="*/ 0 w 5880100"/>
              <a:gd name="connsiteY3" fmla="*/ 5880100 h 5880100"/>
              <a:gd name="connsiteX4" fmla="*/ 0 w 5880100"/>
              <a:gd name="connsiteY4" fmla="*/ 0 h 5880100"/>
              <a:gd name="connsiteX0" fmla="*/ 0 w 6615112"/>
              <a:gd name="connsiteY0" fmla="*/ 0 h 6615112"/>
              <a:gd name="connsiteX1" fmla="*/ 5880100 w 6615112"/>
              <a:gd name="connsiteY1" fmla="*/ 0 h 6615112"/>
              <a:gd name="connsiteX2" fmla="*/ 5880100 w 6615112"/>
              <a:gd name="connsiteY2" fmla="*/ 5880100 h 6615112"/>
              <a:gd name="connsiteX3" fmla="*/ 0 w 6615112"/>
              <a:gd name="connsiteY3" fmla="*/ 5880100 h 6615112"/>
              <a:gd name="connsiteX4" fmla="*/ 0 w 6615112"/>
              <a:gd name="connsiteY4" fmla="*/ 0 h 6615112"/>
              <a:gd name="connsiteX0" fmla="*/ 0 w 6145189"/>
              <a:gd name="connsiteY0" fmla="*/ 0 h 6082525"/>
              <a:gd name="connsiteX1" fmla="*/ 5880100 w 6145189"/>
              <a:gd name="connsiteY1" fmla="*/ 0 h 6082525"/>
              <a:gd name="connsiteX2" fmla="*/ 3898900 w 6145189"/>
              <a:gd name="connsiteY2" fmla="*/ 3035300 h 6082525"/>
              <a:gd name="connsiteX3" fmla="*/ 0 w 6145189"/>
              <a:gd name="connsiteY3" fmla="*/ 5880100 h 6082525"/>
              <a:gd name="connsiteX4" fmla="*/ 0 w 6145189"/>
              <a:gd name="connsiteY4" fmla="*/ 0 h 6082525"/>
              <a:gd name="connsiteX0" fmla="*/ 0 w 6085854"/>
              <a:gd name="connsiteY0" fmla="*/ 0 h 6135502"/>
              <a:gd name="connsiteX1" fmla="*/ 5880100 w 6085854"/>
              <a:gd name="connsiteY1" fmla="*/ 0 h 6135502"/>
              <a:gd name="connsiteX2" fmla="*/ 3898900 w 6085854"/>
              <a:gd name="connsiteY2" fmla="*/ 3035300 h 6135502"/>
              <a:gd name="connsiteX3" fmla="*/ 0 w 6085854"/>
              <a:gd name="connsiteY3" fmla="*/ 5880100 h 6135502"/>
              <a:gd name="connsiteX4" fmla="*/ 0 w 6085854"/>
              <a:gd name="connsiteY4" fmla="*/ 0 h 6135502"/>
              <a:gd name="connsiteX0" fmla="*/ 0 w 6113652"/>
              <a:gd name="connsiteY0" fmla="*/ 0 h 6259192"/>
              <a:gd name="connsiteX1" fmla="*/ 5880100 w 6113652"/>
              <a:gd name="connsiteY1" fmla="*/ 0 h 6259192"/>
              <a:gd name="connsiteX2" fmla="*/ 4318000 w 6113652"/>
              <a:gd name="connsiteY2" fmla="*/ 4038600 h 6259192"/>
              <a:gd name="connsiteX3" fmla="*/ 0 w 6113652"/>
              <a:gd name="connsiteY3" fmla="*/ 5880100 h 6259192"/>
              <a:gd name="connsiteX4" fmla="*/ 0 w 6113652"/>
              <a:gd name="connsiteY4" fmla="*/ 0 h 6259192"/>
              <a:gd name="connsiteX0" fmla="*/ 0 w 6124861"/>
              <a:gd name="connsiteY0" fmla="*/ 0 h 6340446"/>
              <a:gd name="connsiteX1" fmla="*/ 5880100 w 6124861"/>
              <a:gd name="connsiteY1" fmla="*/ 0 h 6340446"/>
              <a:gd name="connsiteX2" fmla="*/ 4318000 w 6124861"/>
              <a:gd name="connsiteY2" fmla="*/ 4038600 h 6340446"/>
              <a:gd name="connsiteX3" fmla="*/ 0 w 6124861"/>
              <a:gd name="connsiteY3" fmla="*/ 5880100 h 6340446"/>
              <a:gd name="connsiteX4" fmla="*/ 0 w 6124861"/>
              <a:gd name="connsiteY4" fmla="*/ 0 h 6340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24861" h="6340446">
                <a:moveTo>
                  <a:pt x="0" y="0"/>
                </a:moveTo>
                <a:lnTo>
                  <a:pt x="5880100" y="0"/>
                </a:lnTo>
                <a:cubicBezTo>
                  <a:pt x="6860117" y="980017"/>
                  <a:pt x="4599517" y="1788583"/>
                  <a:pt x="4318000" y="4038600"/>
                </a:cubicBezTo>
                <a:cubicBezTo>
                  <a:pt x="4036483" y="6288617"/>
                  <a:pt x="980017" y="6860117"/>
                  <a:pt x="0" y="5880100"/>
                </a:cubicBezTo>
                <a:lnTo>
                  <a:pt x="0" y="0"/>
                </a:lnTo>
                <a:close/>
              </a:path>
            </a:pathLst>
          </a:cu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 smtClean="0"/>
          </a:p>
        </p:txBody>
      </p:sp>
      <p:sp>
        <p:nvSpPr>
          <p:cNvPr id="12" name="Прямоугольник 11"/>
          <p:cNvSpPr/>
          <p:nvPr/>
        </p:nvSpPr>
        <p:spPr>
          <a:xfrm>
            <a:off x="2204184" y="5303519"/>
            <a:ext cx="247369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/>
              <a:t> </a:t>
            </a:r>
            <a:endParaRPr lang="ru-RU" dirty="0"/>
          </a:p>
        </p:txBody>
      </p:sp>
      <p:grpSp>
        <p:nvGrpSpPr>
          <p:cNvPr id="2" name="Group 9">
            <a:extLst>
              <a:ext uri="{FF2B5EF4-FFF2-40B4-BE49-F238E27FC236}">
                <a16:creationId xmlns:a16="http://schemas.microsoft.com/office/drawing/2014/main" xmlns="" id="{2EB978E7-A19C-4366-B94D-EEC57A5AE8DC}"/>
              </a:ext>
            </a:extLst>
          </p:cNvPr>
          <p:cNvGrpSpPr/>
          <p:nvPr/>
        </p:nvGrpSpPr>
        <p:grpSpPr>
          <a:xfrm>
            <a:off x="10018488" y="76712"/>
            <a:ext cx="1950720" cy="1867281"/>
            <a:chOff x="6705600" y="1238250"/>
            <a:chExt cx="866776" cy="866776"/>
          </a:xfrm>
        </p:grpSpPr>
        <p:sp>
          <p:nvSpPr>
            <p:cNvPr id="20" name="Oval 8">
              <a:extLst>
                <a:ext uri="{FF2B5EF4-FFF2-40B4-BE49-F238E27FC236}">
                  <a16:creationId xmlns:a16="http://schemas.microsoft.com/office/drawing/2014/main" xmlns="" id="{4A46D147-0CC5-4735-AE1F-65BCC6509DC0}"/>
                </a:ext>
              </a:extLst>
            </p:cNvPr>
            <p:cNvSpPr/>
            <p:nvPr/>
          </p:nvSpPr>
          <p:spPr>
            <a:xfrm>
              <a:off x="6705600" y="1238250"/>
              <a:ext cx="866776" cy="866776"/>
            </a:xfrm>
            <a:prstGeom prst="ellipse">
              <a:avLst/>
            </a:prstGeom>
            <a:ln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1" name="Oval 7">
              <a:extLst>
                <a:ext uri="{FF2B5EF4-FFF2-40B4-BE49-F238E27FC236}">
                  <a16:creationId xmlns:a16="http://schemas.microsoft.com/office/drawing/2014/main" xmlns="" id="{97103F70-3F4B-4955-9BCE-2928397D6D93}"/>
                </a:ext>
              </a:extLst>
            </p:cNvPr>
            <p:cNvSpPr/>
            <p:nvPr/>
          </p:nvSpPr>
          <p:spPr>
            <a:xfrm>
              <a:off x="6800851" y="1333501"/>
              <a:ext cx="676275" cy="676275"/>
            </a:xfrm>
            <a:prstGeom prst="ellipse">
              <a:avLst/>
            </a:prstGeom>
            <a:ln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ru-RU" sz="6000" dirty="0" smtClean="0"/>
                <a:t>4</a:t>
              </a:r>
              <a:endParaRPr lang="en-US" sz="6000" dirty="0"/>
            </a:p>
          </p:txBody>
        </p:sp>
      </p:grpSp>
      <p:pic>
        <p:nvPicPr>
          <p:cNvPr id="33" name="Рисунок 32">
            <a:extLst>
              <a:ext uri="{FF2B5EF4-FFF2-40B4-BE49-F238E27FC236}">
                <a16:creationId xmlns:a16="http://schemas.microsoft.com/office/drawing/2014/main" xmlns="" id="{F5A915BA-698F-4574-83F2-CC987DC1D5F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87158" y="100793"/>
            <a:ext cx="1888568" cy="509614"/>
          </a:xfrm>
          <a:prstGeom prst="rect">
            <a:avLst/>
          </a:prstGeom>
        </p:spPr>
      </p:pic>
      <p:grpSp>
        <p:nvGrpSpPr>
          <p:cNvPr id="3" name="Google Shape;541;p41"/>
          <p:cNvGrpSpPr/>
          <p:nvPr/>
        </p:nvGrpSpPr>
        <p:grpSpPr>
          <a:xfrm>
            <a:off x="10629103" y="1191449"/>
            <a:ext cx="772159" cy="1204102"/>
            <a:chOff x="9901824" y="937343"/>
            <a:chExt cx="744273" cy="793950"/>
          </a:xfrm>
        </p:grpSpPr>
        <p:grpSp>
          <p:nvGrpSpPr>
            <p:cNvPr id="4" name="Google Shape;542;p41"/>
            <p:cNvGrpSpPr/>
            <p:nvPr/>
          </p:nvGrpSpPr>
          <p:grpSpPr>
            <a:xfrm>
              <a:off x="9901824" y="937343"/>
              <a:ext cx="744273" cy="793950"/>
              <a:chOff x="9901824" y="937343"/>
              <a:chExt cx="744273" cy="793950"/>
            </a:xfrm>
          </p:grpSpPr>
          <p:sp>
            <p:nvSpPr>
              <p:cNvPr id="42" name="Google Shape;543;p41"/>
              <p:cNvSpPr/>
              <p:nvPr/>
            </p:nvSpPr>
            <p:spPr>
              <a:xfrm>
                <a:off x="10463799" y="1043794"/>
                <a:ext cx="76068" cy="75403"/>
              </a:xfrm>
              <a:custGeom>
                <a:avLst/>
                <a:gdLst/>
                <a:ahLst/>
                <a:cxnLst/>
                <a:rect l="l" t="t" r="r" b="b"/>
                <a:pathLst>
                  <a:path w="133" h="132" extrusionOk="0">
                    <a:moveTo>
                      <a:pt x="12" y="132"/>
                    </a:moveTo>
                    <a:cubicBezTo>
                      <a:pt x="9" y="132"/>
                      <a:pt x="6" y="131"/>
                      <a:pt x="4" y="128"/>
                    </a:cubicBezTo>
                    <a:cubicBezTo>
                      <a:pt x="0" y="124"/>
                      <a:pt x="0" y="118"/>
                      <a:pt x="4" y="114"/>
                    </a:cubicBezTo>
                    <a:cubicBezTo>
                      <a:pt x="113" y="4"/>
                      <a:pt x="113" y="4"/>
                      <a:pt x="113" y="4"/>
                    </a:cubicBezTo>
                    <a:cubicBezTo>
                      <a:pt x="118" y="0"/>
                      <a:pt x="124" y="0"/>
                      <a:pt x="128" y="4"/>
                    </a:cubicBezTo>
                    <a:cubicBezTo>
                      <a:pt x="133" y="8"/>
                      <a:pt x="133" y="15"/>
                      <a:pt x="128" y="19"/>
                    </a:cubicBezTo>
                    <a:cubicBezTo>
                      <a:pt x="19" y="128"/>
                      <a:pt x="19" y="128"/>
                      <a:pt x="19" y="128"/>
                    </a:cubicBezTo>
                    <a:cubicBezTo>
                      <a:pt x="17" y="131"/>
                      <a:pt x="14" y="132"/>
                      <a:pt x="12" y="132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4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" name="Google Shape;544;p41"/>
              <p:cNvSpPr/>
              <p:nvPr/>
            </p:nvSpPr>
            <p:spPr>
              <a:xfrm>
                <a:off x="10546077" y="1303491"/>
                <a:ext cx="100020" cy="11976"/>
              </a:xfrm>
              <a:custGeom>
                <a:avLst/>
                <a:gdLst/>
                <a:ahLst/>
                <a:cxnLst/>
                <a:rect l="l" t="t" r="r" b="b"/>
                <a:pathLst>
                  <a:path w="175" h="21" extrusionOk="0">
                    <a:moveTo>
                      <a:pt x="165" y="21"/>
                    </a:moveTo>
                    <a:cubicBezTo>
                      <a:pt x="10" y="21"/>
                      <a:pt x="10" y="21"/>
                      <a:pt x="10" y="21"/>
                    </a:cubicBezTo>
                    <a:cubicBezTo>
                      <a:pt x="4" y="21"/>
                      <a:pt x="0" y="17"/>
                      <a:pt x="0" y="11"/>
                    </a:cubicBezTo>
                    <a:cubicBezTo>
                      <a:pt x="0" y="5"/>
                      <a:pt x="4" y="0"/>
                      <a:pt x="10" y="0"/>
                    </a:cubicBezTo>
                    <a:cubicBezTo>
                      <a:pt x="165" y="0"/>
                      <a:pt x="165" y="0"/>
                      <a:pt x="165" y="0"/>
                    </a:cubicBezTo>
                    <a:cubicBezTo>
                      <a:pt x="171" y="0"/>
                      <a:pt x="175" y="5"/>
                      <a:pt x="175" y="11"/>
                    </a:cubicBezTo>
                    <a:cubicBezTo>
                      <a:pt x="175" y="17"/>
                      <a:pt x="171" y="21"/>
                      <a:pt x="165" y="2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4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" name="Google Shape;545;p41"/>
              <p:cNvSpPr/>
              <p:nvPr/>
            </p:nvSpPr>
            <p:spPr>
              <a:xfrm>
                <a:off x="10463799" y="1499539"/>
                <a:ext cx="76068" cy="75625"/>
              </a:xfrm>
              <a:custGeom>
                <a:avLst/>
                <a:gdLst/>
                <a:ahLst/>
                <a:cxnLst/>
                <a:rect l="l" t="t" r="r" b="b"/>
                <a:pathLst>
                  <a:path w="133" h="132" extrusionOk="0">
                    <a:moveTo>
                      <a:pt x="121" y="132"/>
                    </a:moveTo>
                    <a:cubicBezTo>
                      <a:pt x="119" y="132"/>
                      <a:pt x="116" y="131"/>
                      <a:pt x="114" y="129"/>
                    </a:cubicBezTo>
                    <a:cubicBezTo>
                      <a:pt x="5" y="19"/>
                      <a:pt x="5" y="19"/>
                      <a:pt x="5" y="19"/>
                    </a:cubicBezTo>
                    <a:cubicBezTo>
                      <a:pt x="0" y="15"/>
                      <a:pt x="0" y="8"/>
                      <a:pt x="5" y="4"/>
                    </a:cubicBezTo>
                    <a:cubicBezTo>
                      <a:pt x="9" y="0"/>
                      <a:pt x="15" y="0"/>
                      <a:pt x="20" y="4"/>
                    </a:cubicBezTo>
                    <a:cubicBezTo>
                      <a:pt x="129" y="114"/>
                      <a:pt x="129" y="114"/>
                      <a:pt x="129" y="114"/>
                    </a:cubicBezTo>
                    <a:cubicBezTo>
                      <a:pt x="133" y="118"/>
                      <a:pt x="133" y="124"/>
                      <a:pt x="129" y="129"/>
                    </a:cubicBezTo>
                    <a:cubicBezTo>
                      <a:pt x="127" y="131"/>
                      <a:pt x="124" y="132"/>
                      <a:pt x="121" y="132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4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" name="Google Shape;546;p41"/>
              <p:cNvSpPr/>
              <p:nvPr/>
            </p:nvSpPr>
            <p:spPr>
              <a:xfrm>
                <a:off x="10008275" y="1500204"/>
                <a:ext cx="76068" cy="74960"/>
              </a:xfrm>
              <a:custGeom>
                <a:avLst/>
                <a:gdLst/>
                <a:ahLst/>
                <a:cxnLst/>
                <a:rect l="l" t="t" r="r" b="b"/>
                <a:pathLst>
                  <a:path w="133" h="131" extrusionOk="0">
                    <a:moveTo>
                      <a:pt x="12" y="131"/>
                    </a:moveTo>
                    <a:cubicBezTo>
                      <a:pt x="9" y="131"/>
                      <a:pt x="7" y="130"/>
                      <a:pt x="5" y="128"/>
                    </a:cubicBezTo>
                    <a:cubicBezTo>
                      <a:pt x="0" y="124"/>
                      <a:pt x="0" y="117"/>
                      <a:pt x="5" y="113"/>
                    </a:cubicBezTo>
                    <a:cubicBezTo>
                      <a:pt x="114" y="4"/>
                      <a:pt x="114" y="4"/>
                      <a:pt x="114" y="4"/>
                    </a:cubicBezTo>
                    <a:cubicBezTo>
                      <a:pt x="118" y="0"/>
                      <a:pt x="125" y="0"/>
                      <a:pt x="129" y="4"/>
                    </a:cubicBezTo>
                    <a:cubicBezTo>
                      <a:pt x="133" y="8"/>
                      <a:pt x="133" y="14"/>
                      <a:pt x="129" y="19"/>
                    </a:cubicBezTo>
                    <a:cubicBezTo>
                      <a:pt x="19" y="128"/>
                      <a:pt x="19" y="128"/>
                      <a:pt x="19" y="128"/>
                    </a:cubicBezTo>
                    <a:cubicBezTo>
                      <a:pt x="17" y="130"/>
                      <a:pt x="15" y="131"/>
                      <a:pt x="12" y="13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4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" name="Google Shape;547;p41"/>
              <p:cNvSpPr/>
              <p:nvPr/>
            </p:nvSpPr>
            <p:spPr>
              <a:xfrm>
                <a:off x="9901824" y="1303934"/>
                <a:ext cx="100020" cy="11976"/>
              </a:xfrm>
              <a:custGeom>
                <a:avLst/>
                <a:gdLst/>
                <a:ahLst/>
                <a:cxnLst/>
                <a:rect l="l" t="t" r="r" b="b"/>
                <a:pathLst>
                  <a:path w="175" h="21" extrusionOk="0">
                    <a:moveTo>
                      <a:pt x="165" y="21"/>
                    </a:moveTo>
                    <a:cubicBezTo>
                      <a:pt x="10" y="21"/>
                      <a:pt x="10" y="21"/>
                      <a:pt x="10" y="21"/>
                    </a:cubicBezTo>
                    <a:cubicBezTo>
                      <a:pt x="4" y="21"/>
                      <a:pt x="0" y="16"/>
                      <a:pt x="0" y="10"/>
                    </a:cubicBezTo>
                    <a:cubicBezTo>
                      <a:pt x="0" y="5"/>
                      <a:pt x="4" y="0"/>
                      <a:pt x="10" y="0"/>
                    </a:cubicBezTo>
                    <a:cubicBezTo>
                      <a:pt x="165" y="0"/>
                      <a:pt x="165" y="0"/>
                      <a:pt x="165" y="0"/>
                    </a:cubicBezTo>
                    <a:cubicBezTo>
                      <a:pt x="171" y="0"/>
                      <a:pt x="175" y="5"/>
                      <a:pt x="175" y="10"/>
                    </a:cubicBezTo>
                    <a:cubicBezTo>
                      <a:pt x="175" y="16"/>
                      <a:pt x="171" y="21"/>
                      <a:pt x="165" y="2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4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" name="Google Shape;548;p41"/>
              <p:cNvSpPr/>
              <p:nvPr/>
            </p:nvSpPr>
            <p:spPr>
              <a:xfrm>
                <a:off x="10008275" y="1044237"/>
                <a:ext cx="75403" cy="74960"/>
              </a:xfrm>
              <a:custGeom>
                <a:avLst/>
                <a:gdLst/>
                <a:ahLst/>
                <a:cxnLst/>
                <a:rect l="l" t="t" r="r" b="b"/>
                <a:pathLst>
                  <a:path w="132" h="131" extrusionOk="0">
                    <a:moveTo>
                      <a:pt x="121" y="131"/>
                    </a:moveTo>
                    <a:cubicBezTo>
                      <a:pt x="118" y="131"/>
                      <a:pt x="115" y="130"/>
                      <a:pt x="113" y="128"/>
                    </a:cubicBezTo>
                    <a:cubicBezTo>
                      <a:pt x="4" y="19"/>
                      <a:pt x="4" y="19"/>
                      <a:pt x="4" y="19"/>
                    </a:cubicBezTo>
                    <a:cubicBezTo>
                      <a:pt x="0" y="14"/>
                      <a:pt x="0" y="8"/>
                      <a:pt x="4" y="4"/>
                    </a:cubicBezTo>
                    <a:cubicBezTo>
                      <a:pt x="8" y="0"/>
                      <a:pt x="15" y="0"/>
                      <a:pt x="19" y="4"/>
                    </a:cubicBezTo>
                    <a:cubicBezTo>
                      <a:pt x="128" y="113"/>
                      <a:pt x="128" y="113"/>
                      <a:pt x="128" y="113"/>
                    </a:cubicBezTo>
                    <a:cubicBezTo>
                      <a:pt x="132" y="117"/>
                      <a:pt x="132" y="124"/>
                      <a:pt x="128" y="128"/>
                    </a:cubicBezTo>
                    <a:cubicBezTo>
                      <a:pt x="126" y="130"/>
                      <a:pt x="124" y="131"/>
                      <a:pt x="121" y="13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4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8" name="Google Shape;549;p41"/>
              <p:cNvSpPr/>
              <p:nvPr/>
            </p:nvSpPr>
            <p:spPr>
              <a:xfrm>
                <a:off x="10267751" y="937343"/>
                <a:ext cx="11976" cy="100020"/>
              </a:xfrm>
              <a:custGeom>
                <a:avLst/>
                <a:gdLst/>
                <a:ahLst/>
                <a:cxnLst/>
                <a:rect l="l" t="t" r="r" b="b"/>
                <a:pathLst>
                  <a:path w="21" h="175" extrusionOk="0">
                    <a:moveTo>
                      <a:pt x="11" y="175"/>
                    </a:moveTo>
                    <a:cubicBezTo>
                      <a:pt x="5" y="175"/>
                      <a:pt x="0" y="171"/>
                      <a:pt x="0" y="165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4"/>
                      <a:pt x="5" y="0"/>
                      <a:pt x="11" y="0"/>
                    </a:cubicBezTo>
                    <a:cubicBezTo>
                      <a:pt x="17" y="0"/>
                      <a:pt x="21" y="4"/>
                      <a:pt x="21" y="10"/>
                    </a:cubicBezTo>
                    <a:cubicBezTo>
                      <a:pt x="21" y="165"/>
                      <a:pt x="21" y="165"/>
                      <a:pt x="21" y="165"/>
                    </a:cubicBezTo>
                    <a:cubicBezTo>
                      <a:pt x="21" y="171"/>
                      <a:pt x="17" y="175"/>
                      <a:pt x="11" y="175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4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9" name="Google Shape;550;p41"/>
              <p:cNvSpPr/>
              <p:nvPr/>
            </p:nvSpPr>
            <p:spPr>
              <a:xfrm>
                <a:off x="10183698" y="1629498"/>
                <a:ext cx="180080" cy="25726"/>
              </a:xfrm>
              <a:custGeom>
                <a:avLst/>
                <a:gdLst/>
                <a:ahLst/>
                <a:cxnLst/>
                <a:rect l="l" t="t" r="r" b="b"/>
                <a:pathLst>
                  <a:path w="315" h="45" extrusionOk="0">
                    <a:moveTo>
                      <a:pt x="0" y="23"/>
                    </a:moveTo>
                    <a:cubicBezTo>
                      <a:pt x="0" y="35"/>
                      <a:pt x="10" y="45"/>
                      <a:pt x="22" y="45"/>
                    </a:cubicBezTo>
                    <a:cubicBezTo>
                      <a:pt x="293" y="45"/>
                      <a:pt x="293" y="45"/>
                      <a:pt x="293" y="45"/>
                    </a:cubicBezTo>
                    <a:cubicBezTo>
                      <a:pt x="305" y="45"/>
                      <a:pt x="315" y="35"/>
                      <a:pt x="315" y="23"/>
                    </a:cubicBezTo>
                    <a:cubicBezTo>
                      <a:pt x="315" y="23"/>
                      <a:pt x="315" y="23"/>
                      <a:pt x="315" y="23"/>
                    </a:cubicBezTo>
                    <a:cubicBezTo>
                      <a:pt x="315" y="11"/>
                      <a:pt x="305" y="0"/>
                      <a:pt x="293" y="0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10" y="0"/>
                      <a:pt x="0" y="11"/>
                      <a:pt x="0" y="23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4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" name="Google Shape;551;p41"/>
              <p:cNvSpPr/>
              <p:nvPr/>
            </p:nvSpPr>
            <p:spPr>
              <a:xfrm>
                <a:off x="10188356" y="1667865"/>
                <a:ext cx="170766" cy="25726"/>
              </a:xfrm>
              <a:custGeom>
                <a:avLst/>
                <a:gdLst/>
                <a:ahLst/>
                <a:cxnLst/>
                <a:rect l="l" t="t" r="r" b="b"/>
                <a:pathLst>
                  <a:path w="299" h="45" extrusionOk="0">
                    <a:moveTo>
                      <a:pt x="0" y="22"/>
                    </a:moveTo>
                    <a:cubicBezTo>
                      <a:pt x="0" y="35"/>
                      <a:pt x="10" y="45"/>
                      <a:pt x="23" y="45"/>
                    </a:cubicBezTo>
                    <a:cubicBezTo>
                      <a:pt x="277" y="45"/>
                      <a:pt x="277" y="45"/>
                      <a:pt x="277" y="45"/>
                    </a:cubicBezTo>
                    <a:cubicBezTo>
                      <a:pt x="289" y="45"/>
                      <a:pt x="299" y="35"/>
                      <a:pt x="299" y="22"/>
                    </a:cubicBezTo>
                    <a:cubicBezTo>
                      <a:pt x="299" y="22"/>
                      <a:pt x="299" y="22"/>
                      <a:pt x="299" y="22"/>
                    </a:cubicBezTo>
                    <a:cubicBezTo>
                      <a:pt x="299" y="10"/>
                      <a:pt x="289" y="0"/>
                      <a:pt x="277" y="0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10" y="0"/>
                      <a:pt x="0" y="10"/>
                      <a:pt x="0" y="22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4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" name="Google Shape;552;p41"/>
              <p:cNvSpPr/>
              <p:nvPr/>
            </p:nvSpPr>
            <p:spPr>
              <a:xfrm>
                <a:off x="10212751" y="1705567"/>
                <a:ext cx="122419" cy="25726"/>
              </a:xfrm>
              <a:custGeom>
                <a:avLst/>
                <a:gdLst/>
                <a:ahLst/>
                <a:cxnLst/>
                <a:rect l="l" t="t" r="r" b="b"/>
                <a:pathLst>
                  <a:path w="214" h="45" extrusionOk="0">
                    <a:moveTo>
                      <a:pt x="0" y="23"/>
                    </a:moveTo>
                    <a:cubicBezTo>
                      <a:pt x="0" y="35"/>
                      <a:pt x="10" y="45"/>
                      <a:pt x="22" y="45"/>
                    </a:cubicBezTo>
                    <a:cubicBezTo>
                      <a:pt x="192" y="45"/>
                      <a:pt x="192" y="45"/>
                      <a:pt x="192" y="45"/>
                    </a:cubicBezTo>
                    <a:cubicBezTo>
                      <a:pt x="204" y="45"/>
                      <a:pt x="214" y="35"/>
                      <a:pt x="214" y="23"/>
                    </a:cubicBezTo>
                    <a:cubicBezTo>
                      <a:pt x="214" y="23"/>
                      <a:pt x="214" y="23"/>
                      <a:pt x="214" y="23"/>
                    </a:cubicBezTo>
                    <a:cubicBezTo>
                      <a:pt x="214" y="10"/>
                      <a:pt x="204" y="0"/>
                      <a:pt x="192" y="0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10" y="0"/>
                      <a:pt x="0" y="10"/>
                      <a:pt x="0" y="23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4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36" name="Google Shape;553;p41"/>
            <p:cNvSpPr/>
            <p:nvPr/>
          </p:nvSpPr>
          <p:spPr>
            <a:xfrm>
              <a:off x="10047751" y="1220548"/>
              <a:ext cx="217117" cy="205362"/>
            </a:xfrm>
            <a:custGeom>
              <a:avLst/>
              <a:gdLst/>
              <a:ahLst/>
              <a:cxnLst/>
              <a:rect l="l" t="t" r="r" b="b"/>
              <a:pathLst>
                <a:path w="380" h="359" extrusionOk="0">
                  <a:moveTo>
                    <a:pt x="63" y="268"/>
                  </a:moveTo>
                  <a:cubicBezTo>
                    <a:pt x="78" y="297"/>
                    <a:pt x="94" y="324"/>
                    <a:pt x="108" y="350"/>
                  </a:cubicBezTo>
                  <a:cubicBezTo>
                    <a:pt x="113" y="359"/>
                    <a:pt x="113" y="359"/>
                    <a:pt x="113" y="359"/>
                  </a:cubicBezTo>
                  <a:cubicBezTo>
                    <a:pt x="380" y="206"/>
                    <a:pt x="380" y="206"/>
                    <a:pt x="380" y="206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2" y="2"/>
                    <a:pt x="22" y="4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0" y="88"/>
                    <a:pt x="14" y="174"/>
                    <a:pt x="63" y="268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" name="Google Shape;554;p41"/>
            <p:cNvSpPr/>
            <p:nvPr/>
          </p:nvSpPr>
          <p:spPr>
            <a:xfrm>
              <a:off x="10063053" y="1080830"/>
              <a:ext cx="205806" cy="250604"/>
            </a:xfrm>
            <a:custGeom>
              <a:avLst/>
              <a:gdLst/>
              <a:ahLst/>
              <a:cxnLst/>
              <a:rect l="l" t="t" r="r" b="b"/>
              <a:pathLst>
                <a:path w="360" h="438" extrusionOk="0">
                  <a:moveTo>
                    <a:pt x="0" y="230"/>
                  </a:moveTo>
                  <a:cubicBezTo>
                    <a:pt x="360" y="438"/>
                    <a:pt x="360" y="438"/>
                    <a:pt x="360" y="438"/>
                  </a:cubicBezTo>
                  <a:cubicBezTo>
                    <a:pt x="360" y="0"/>
                    <a:pt x="360" y="0"/>
                    <a:pt x="360" y="0"/>
                  </a:cubicBezTo>
                  <a:cubicBezTo>
                    <a:pt x="174" y="3"/>
                    <a:pt x="40" y="117"/>
                    <a:pt x="0" y="23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" name="Google Shape;555;p41"/>
            <p:cNvSpPr/>
            <p:nvPr/>
          </p:nvSpPr>
          <p:spPr>
            <a:xfrm>
              <a:off x="10276400" y="1080830"/>
              <a:ext cx="208024" cy="250604"/>
            </a:xfrm>
            <a:custGeom>
              <a:avLst/>
              <a:gdLst/>
              <a:ahLst/>
              <a:cxnLst/>
              <a:rect l="l" t="t" r="r" b="b"/>
              <a:pathLst>
                <a:path w="364" h="438" extrusionOk="0">
                  <a:moveTo>
                    <a:pt x="0" y="0"/>
                  </a:moveTo>
                  <a:cubicBezTo>
                    <a:pt x="0" y="438"/>
                    <a:pt x="0" y="438"/>
                    <a:pt x="0" y="438"/>
                  </a:cubicBezTo>
                  <a:cubicBezTo>
                    <a:pt x="364" y="228"/>
                    <a:pt x="364" y="228"/>
                    <a:pt x="364" y="228"/>
                  </a:cubicBezTo>
                  <a:cubicBezTo>
                    <a:pt x="323" y="115"/>
                    <a:pt x="186" y="1"/>
                    <a:pt x="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" name="Google Shape;556;p41"/>
            <p:cNvSpPr/>
            <p:nvPr/>
          </p:nvSpPr>
          <p:spPr>
            <a:xfrm>
              <a:off x="10280392" y="1218773"/>
              <a:ext cx="219334" cy="208689"/>
            </a:xfrm>
            <a:custGeom>
              <a:avLst/>
              <a:gdLst/>
              <a:ahLst/>
              <a:cxnLst/>
              <a:rect l="l" t="t" r="r" b="b"/>
              <a:pathLst>
                <a:path w="384" h="365" extrusionOk="0">
                  <a:moveTo>
                    <a:pt x="322" y="271"/>
                  </a:moveTo>
                  <a:cubicBezTo>
                    <a:pt x="371" y="177"/>
                    <a:pt x="384" y="91"/>
                    <a:pt x="364" y="9"/>
                  </a:cubicBezTo>
                  <a:cubicBezTo>
                    <a:pt x="364" y="9"/>
                    <a:pt x="364" y="9"/>
                    <a:pt x="364" y="9"/>
                  </a:cubicBezTo>
                  <a:cubicBezTo>
                    <a:pt x="363" y="6"/>
                    <a:pt x="362" y="3"/>
                    <a:pt x="361" y="0"/>
                  </a:cubicBezTo>
                  <a:cubicBezTo>
                    <a:pt x="0" y="209"/>
                    <a:pt x="0" y="209"/>
                    <a:pt x="0" y="209"/>
                  </a:cubicBezTo>
                  <a:cubicBezTo>
                    <a:pt x="270" y="365"/>
                    <a:pt x="270" y="365"/>
                    <a:pt x="270" y="365"/>
                  </a:cubicBezTo>
                  <a:cubicBezTo>
                    <a:pt x="277" y="353"/>
                    <a:pt x="277" y="353"/>
                    <a:pt x="277" y="353"/>
                  </a:cubicBezTo>
                  <a:cubicBezTo>
                    <a:pt x="291" y="327"/>
                    <a:pt x="307" y="300"/>
                    <a:pt x="322" y="27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" name="Google Shape;557;p41"/>
            <p:cNvSpPr/>
            <p:nvPr/>
          </p:nvSpPr>
          <p:spPr>
            <a:xfrm>
              <a:off x="10116279" y="1345184"/>
              <a:ext cx="152580" cy="267681"/>
            </a:xfrm>
            <a:custGeom>
              <a:avLst/>
              <a:gdLst/>
              <a:ahLst/>
              <a:cxnLst/>
              <a:rect l="l" t="t" r="r" b="b"/>
              <a:pathLst>
                <a:path w="267" h="468" extrusionOk="0">
                  <a:moveTo>
                    <a:pt x="267" y="468"/>
                  </a:moveTo>
                  <a:cubicBezTo>
                    <a:pt x="267" y="0"/>
                    <a:pt x="267" y="0"/>
                    <a:pt x="267" y="0"/>
                  </a:cubicBezTo>
                  <a:cubicBezTo>
                    <a:pt x="0" y="153"/>
                    <a:pt x="0" y="153"/>
                    <a:pt x="0" y="153"/>
                  </a:cubicBezTo>
                  <a:cubicBezTo>
                    <a:pt x="21" y="190"/>
                    <a:pt x="42" y="229"/>
                    <a:pt x="61" y="272"/>
                  </a:cubicBezTo>
                  <a:cubicBezTo>
                    <a:pt x="75" y="304"/>
                    <a:pt x="83" y="346"/>
                    <a:pt x="90" y="383"/>
                  </a:cubicBezTo>
                  <a:cubicBezTo>
                    <a:pt x="92" y="398"/>
                    <a:pt x="95" y="411"/>
                    <a:pt x="98" y="424"/>
                  </a:cubicBezTo>
                  <a:cubicBezTo>
                    <a:pt x="105" y="457"/>
                    <a:pt x="116" y="466"/>
                    <a:pt x="151" y="467"/>
                  </a:cubicBezTo>
                  <a:cubicBezTo>
                    <a:pt x="157" y="468"/>
                    <a:pt x="157" y="468"/>
                    <a:pt x="157" y="468"/>
                  </a:cubicBezTo>
                  <a:cubicBezTo>
                    <a:pt x="185" y="468"/>
                    <a:pt x="185" y="468"/>
                    <a:pt x="185" y="468"/>
                  </a:cubicBezTo>
                  <a:cubicBezTo>
                    <a:pt x="237" y="468"/>
                    <a:pt x="237" y="468"/>
                    <a:pt x="237" y="468"/>
                  </a:cubicBezTo>
                  <a:cubicBezTo>
                    <a:pt x="247" y="468"/>
                    <a:pt x="257" y="468"/>
                    <a:pt x="267" y="468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" name="Google Shape;558;p41"/>
            <p:cNvSpPr/>
            <p:nvPr/>
          </p:nvSpPr>
          <p:spPr>
            <a:xfrm>
              <a:off x="10276400" y="1345184"/>
              <a:ext cx="154798" cy="267681"/>
            </a:xfrm>
            <a:custGeom>
              <a:avLst/>
              <a:gdLst/>
              <a:ahLst/>
              <a:cxnLst/>
              <a:rect l="l" t="t" r="r" b="b"/>
              <a:pathLst>
                <a:path w="271" h="468" extrusionOk="0">
                  <a:moveTo>
                    <a:pt x="174" y="424"/>
                  </a:moveTo>
                  <a:cubicBezTo>
                    <a:pt x="177" y="411"/>
                    <a:pt x="180" y="398"/>
                    <a:pt x="182" y="383"/>
                  </a:cubicBezTo>
                  <a:cubicBezTo>
                    <a:pt x="189" y="346"/>
                    <a:pt x="197" y="304"/>
                    <a:pt x="211" y="272"/>
                  </a:cubicBezTo>
                  <a:cubicBezTo>
                    <a:pt x="230" y="229"/>
                    <a:pt x="251" y="191"/>
                    <a:pt x="271" y="15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67"/>
                    <a:pt x="0" y="467"/>
                    <a:pt x="0" y="467"/>
                  </a:cubicBezTo>
                  <a:cubicBezTo>
                    <a:pt x="5" y="467"/>
                    <a:pt x="5" y="467"/>
                    <a:pt x="5" y="467"/>
                  </a:cubicBezTo>
                  <a:cubicBezTo>
                    <a:pt x="5" y="468"/>
                    <a:pt x="5" y="468"/>
                    <a:pt x="5" y="468"/>
                  </a:cubicBezTo>
                  <a:cubicBezTo>
                    <a:pt x="5" y="468"/>
                    <a:pt x="5" y="468"/>
                    <a:pt x="5" y="468"/>
                  </a:cubicBezTo>
                  <a:cubicBezTo>
                    <a:pt x="15" y="468"/>
                    <a:pt x="25" y="468"/>
                    <a:pt x="36" y="468"/>
                  </a:cubicBezTo>
                  <a:cubicBezTo>
                    <a:pt x="42" y="467"/>
                    <a:pt x="42" y="467"/>
                    <a:pt x="42" y="467"/>
                  </a:cubicBezTo>
                  <a:cubicBezTo>
                    <a:pt x="94" y="468"/>
                    <a:pt x="94" y="468"/>
                    <a:pt x="94" y="468"/>
                  </a:cubicBezTo>
                  <a:cubicBezTo>
                    <a:pt x="101" y="468"/>
                    <a:pt x="108" y="468"/>
                    <a:pt x="115" y="467"/>
                  </a:cubicBezTo>
                  <a:cubicBezTo>
                    <a:pt x="157" y="467"/>
                    <a:pt x="167" y="456"/>
                    <a:pt x="174" y="424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7" name="Стрелка: шеврон 14">
            <a:extLst>
              <a:ext uri="{FF2B5EF4-FFF2-40B4-BE49-F238E27FC236}">
                <a16:creationId xmlns:a16="http://schemas.microsoft.com/office/drawing/2014/main" xmlns="" id="{EEE07FF5-FDDC-47FD-AD56-4550D5A61AB2}"/>
              </a:ext>
            </a:extLst>
          </p:cNvPr>
          <p:cNvSpPr/>
          <p:nvPr/>
        </p:nvSpPr>
        <p:spPr>
          <a:xfrm>
            <a:off x="187158" y="6228080"/>
            <a:ext cx="5096042" cy="470888"/>
          </a:xfrm>
          <a:prstGeom prst="chevron">
            <a:avLst>
              <a:gd name="adj" fmla="val 41371"/>
            </a:avLst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chemeClr val="tx1"/>
                </a:solidFill>
              </a:rPr>
              <a:t>Филиал МБДОУ «Детский сад№43»-»детский сад №40»</a:t>
            </a: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28" name="Google Shape;384;p40"/>
          <p:cNvSpPr/>
          <p:nvPr/>
        </p:nvSpPr>
        <p:spPr>
          <a:xfrm>
            <a:off x="10648408" y="166869"/>
            <a:ext cx="690879" cy="575431"/>
          </a:xfrm>
          <a:custGeom>
            <a:avLst/>
            <a:gdLst/>
            <a:ahLst/>
            <a:cxnLst/>
            <a:rect l="l" t="t" r="r" b="b"/>
            <a:pathLst>
              <a:path w="18251" h="15452" extrusionOk="0">
                <a:moveTo>
                  <a:pt x="10634" y="2409"/>
                </a:moveTo>
                <a:lnTo>
                  <a:pt x="9953" y="2433"/>
                </a:lnTo>
                <a:lnTo>
                  <a:pt x="9296" y="2458"/>
                </a:lnTo>
                <a:lnTo>
                  <a:pt x="7592" y="2531"/>
                </a:lnTo>
                <a:lnTo>
                  <a:pt x="7228" y="2531"/>
                </a:lnTo>
                <a:lnTo>
                  <a:pt x="6814" y="2555"/>
                </a:lnTo>
                <a:lnTo>
                  <a:pt x="6619" y="2555"/>
                </a:lnTo>
                <a:lnTo>
                  <a:pt x="6425" y="2579"/>
                </a:lnTo>
                <a:lnTo>
                  <a:pt x="6230" y="2652"/>
                </a:lnTo>
                <a:lnTo>
                  <a:pt x="6060" y="2725"/>
                </a:lnTo>
                <a:lnTo>
                  <a:pt x="6035" y="2750"/>
                </a:lnTo>
                <a:lnTo>
                  <a:pt x="6011" y="2798"/>
                </a:lnTo>
                <a:lnTo>
                  <a:pt x="6035" y="2847"/>
                </a:lnTo>
                <a:lnTo>
                  <a:pt x="6060" y="2896"/>
                </a:lnTo>
                <a:lnTo>
                  <a:pt x="6230" y="2969"/>
                </a:lnTo>
                <a:lnTo>
                  <a:pt x="6376" y="3017"/>
                </a:lnTo>
                <a:lnTo>
                  <a:pt x="6546" y="3042"/>
                </a:lnTo>
                <a:lnTo>
                  <a:pt x="7422" y="3042"/>
                </a:lnTo>
                <a:lnTo>
                  <a:pt x="8298" y="3017"/>
                </a:lnTo>
                <a:lnTo>
                  <a:pt x="9150" y="2993"/>
                </a:lnTo>
                <a:lnTo>
                  <a:pt x="9831" y="2969"/>
                </a:lnTo>
                <a:lnTo>
                  <a:pt x="10488" y="2944"/>
                </a:lnTo>
                <a:lnTo>
                  <a:pt x="10829" y="2969"/>
                </a:lnTo>
                <a:lnTo>
                  <a:pt x="11169" y="2993"/>
                </a:lnTo>
                <a:lnTo>
                  <a:pt x="11486" y="3042"/>
                </a:lnTo>
                <a:lnTo>
                  <a:pt x="11826" y="3090"/>
                </a:lnTo>
                <a:lnTo>
                  <a:pt x="11948" y="3115"/>
                </a:lnTo>
                <a:lnTo>
                  <a:pt x="12045" y="3066"/>
                </a:lnTo>
                <a:lnTo>
                  <a:pt x="12094" y="2993"/>
                </a:lnTo>
                <a:lnTo>
                  <a:pt x="12143" y="2896"/>
                </a:lnTo>
                <a:lnTo>
                  <a:pt x="12167" y="2798"/>
                </a:lnTo>
                <a:lnTo>
                  <a:pt x="12143" y="2701"/>
                </a:lnTo>
                <a:lnTo>
                  <a:pt x="12070" y="2628"/>
                </a:lnTo>
                <a:lnTo>
                  <a:pt x="11972" y="2579"/>
                </a:lnTo>
                <a:lnTo>
                  <a:pt x="11632" y="2506"/>
                </a:lnTo>
                <a:lnTo>
                  <a:pt x="11315" y="2458"/>
                </a:lnTo>
                <a:lnTo>
                  <a:pt x="10975" y="2433"/>
                </a:lnTo>
                <a:lnTo>
                  <a:pt x="10634" y="2409"/>
                </a:lnTo>
                <a:close/>
                <a:moveTo>
                  <a:pt x="15573" y="4940"/>
                </a:moveTo>
                <a:lnTo>
                  <a:pt x="15890" y="4964"/>
                </a:lnTo>
                <a:lnTo>
                  <a:pt x="16157" y="5037"/>
                </a:lnTo>
                <a:lnTo>
                  <a:pt x="16182" y="5280"/>
                </a:lnTo>
                <a:lnTo>
                  <a:pt x="16206" y="5524"/>
                </a:lnTo>
                <a:lnTo>
                  <a:pt x="16206" y="5889"/>
                </a:lnTo>
                <a:lnTo>
                  <a:pt x="16206" y="6254"/>
                </a:lnTo>
                <a:lnTo>
                  <a:pt x="15671" y="6278"/>
                </a:lnTo>
                <a:lnTo>
                  <a:pt x="15136" y="6302"/>
                </a:lnTo>
                <a:lnTo>
                  <a:pt x="14625" y="6327"/>
                </a:lnTo>
                <a:lnTo>
                  <a:pt x="14333" y="6375"/>
                </a:lnTo>
                <a:lnTo>
                  <a:pt x="14308" y="6302"/>
                </a:lnTo>
                <a:lnTo>
                  <a:pt x="14284" y="6132"/>
                </a:lnTo>
                <a:lnTo>
                  <a:pt x="14284" y="5962"/>
                </a:lnTo>
                <a:lnTo>
                  <a:pt x="14284" y="5645"/>
                </a:lnTo>
                <a:lnTo>
                  <a:pt x="14284" y="5329"/>
                </a:lnTo>
                <a:lnTo>
                  <a:pt x="14284" y="5159"/>
                </a:lnTo>
                <a:lnTo>
                  <a:pt x="14235" y="5013"/>
                </a:lnTo>
                <a:lnTo>
                  <a:pt x="14430" y="5013"/>
                </a:lnTo>
                <a:lnTo>
                  <a:pt x="14625" y="4988"/>
                </a:lnTo>
                <a:lnTo>
                  <a:pt x="14990" y="4940"/>
                </a:lnTo>
                <a:close/>
                <a:moveTo>
                  <a:pt x="15330" y="4404"/>
                </a:moveTo>
                <a:lnTo>
                  <a:pt x="14990" y="4429"/>
                </a:lnTo>
                <a:lnTo>
                  <a:pt x="14771" y="4453"/>
                </a:lnTo>
                <a:lnTo>
                  <a:pt x="14503" y="4502"/>
                </a:lnTo>
                <a:lnTo>
                  <a:pt x="14357" y="4526"/>
                </a:lnTo>
                <a:lnTo>
                  <a:pt x="14260" y="4575"/>
                </a:lnTo>
                <a:lnTo>
                  <a:pt x="14138" y="4648"/>
                </a:lnTo>
                <a:lnTo>
                  <a:pt x="14065" y="4721"/>
                </a:lnTo>
                <a:lnTo>
                  <a:pt x="14016" y="4721"/>
                </a:lnTo>
                <a:lnTo>
                  <a:pt x="13968" y="4745"/>
                </a:lnTo>
                <a:lnTo>
                  <a:pt x="13943" y="4745"/>
                </a:lnTo>
                <a:lnTo>
                  <a:pt x="13919" y="4769"/>
                </a:lnTo>
                <a:lnTo>
                  <a:pt x="13895" y="4794"/>
                </a:lnTo>
                <a:lnTo>
                  <a:pt x="13870" y="4891"/>
                </a:lnTo>
                <a:lnTo>
                  <a:pt x="13773" y="5670"/>
                </a:lnTo>
                <a:lnTo>
                  <a:pt x="13773" y="6059"/>
                </a:lnTo>
                <a:lnTo>
                  <a:pt x="13773" y="6254"/>
                </a:lnTo>
                <a:lnTo>
                  <a:pt x="13822" y="6424"/>
                </a:lnTo>
                <a:lnTo>
                  <a:pt x="13846" y="6497"/>
                </a:lnTo>
                <a:lnTo>
                  <a:pt x="13870" y="6570"/>
                </a:lnTo>
                <a:lnTo>
                  <a:pt x="13870" y="6594"/>
                </a:lnTo>
                <a:lnTo>
                  <a:pt x="13895" y="6667"/>
                </a:lnTo>
                <a:lnTo>
                  <a:pt x="13919" y="6740"/>
                </a:lnTo>
                <a:lnTo>
                  <a:pt x="13968" y="6789"/>
                </a:lnTo>
                <a:lnTo>
                  <a:pt x="14041" y="6813"/>
                </a:lnTo>
                <a:lnTo>
                  <a:pt x="14308" y="6886"/>
                </a:lnTo>
                <a:lnTo>
                  <a:pt x="14600" y="6911"/>
                </a:lnTo>
                <a:lnTo>
                  <a:pt x="14892" y="6935"/>
                </a:lnTo>
                <a:lnTo>
                  <a:pt x="15184" y="6911"/>
                </a:lnTo>
                <a:lnTo>
                  <a:pt x="15768" y="6886"/>
                </a:lnTo>
                <a:lnTo>
                  <a:pt x="16328" y="6813"/>
                </a:lnTo>
                <a:lnTo>
                  <a:pt x="16449" y="6789"/>
                </a:lnTo>
                <a:lnTo>
                  <a:pt x="16522" y="6740"/>
                </a:lnTo>
                <a:lnTo>
                  <a:pt x="16595" y="6643"/>
                </a:lnTo>
                <a:lnTo>
                  <a:pt x="16620" y="6546"/>
                </a:lnTo>
                <a:lnTo>
                  <a:pt x="16668" y="6448"/>
                </a:lnTo>
                <a:lnTo>
                  <a:pt x="16717" y="6327"/>
                </a:lnTo>
                <a:lnTo>
                  <a:pt x="16741" y="6108"/>
                </a:lnTo>
                <a:lnTo>
                  <a:pt x="16741" y="5864"/>
                </a:lnTo>
                <a:lnTo>
                  <a:pt x="16717" y="5645"/>
                </a:lnTo>
                <a:lnTo>
                  <a:pt x="16644" y="5159"/>
                </a:lnTo>
                <a:lnTo>
                  <a:pt x="16620" y="4940"/>
                </a:lnTo>
                <a:lnTo>
                  <a:pt x="16547" y="4721"/>
                </a:lnTo>
                <a:lnTo>
                  <a:pt x="16498" y="4648"/>
                </a:lnTo>
                <a:lnTo>
                  <a:pt x="16449" y="4599"/>
                </a:lnTo>
                <a:lnTo>
                  <a:pt x="16401" y="4575"/>
                </a:lnTo>
                <a:lnTo>
                  <a:pt x="16328" y="4526"/>
                </a:lnTo>
                <a:lnTo>
                  <a:pt x="16011" y="4453"/>
                </a:lnTo>
                <a:lnTo>
                  <a:pt x="15671" y="4404"/>
                </a:lnTo>
                <a:close/>
                <a:moveTo>
                  <a:pt x="8176" y="7105"/>
                </a:moveTo>
                <a:lnTo>
                  <a:pt x="7884" y="7373"/>
                </a:lnTo>
                <a:lnTo>
                  <a:pt x="7641" y="7689"/>
                </a:lnTo>
                <a:lnTo>
                  <a:pt x="7422" y="8006"/>
                </a:lnTo>
                <a:lnTo>
                  <a:pt x="7252" y="8346"/>
                </a:lnTo>
                <a:lnTo>
                  <a:pt x="7082" y="8687"/>
                </a:lnTo>
                <a:lnTo>
                  <a:pt x="6936" y="9052"/>
                </a:lnTo>
                <a:lnTo>
                  <a:pt x="6790" y="9417"/>
                </a:lnTo>
                <a:lnTo>
                  <a:pt x="6692" y="9782"/>
                </a:lnTo>
                <a:lnTo>
                  <a:pt x="6619" y="9441"/>
                </a:lnTo>
                <a:lnTo>
                  <a:pt x="6619" y="9198"/>
                </a:lnTo>
                <a:lnTo>
                  <a:pt x="6619" y="8955"/>
                </a:lnTo>
                <a:lnTo>
                  <a:pt x="6644" y="8711"/>
                </a:lnTo>
                <a:lnTo>
                  <a:pt x="6717" y="8492"/>
                </a:lnTo>
                <a:lnTo>
                  <a:pt x="6790" y="8273"/>
                </a:lnTo>
                <a:lnTo>
                  <a:pt x="6911" y="8079"/>
                </a:lnTo>
                <a:lnTo>
                  <a:pt x="7033" y="7884"/>
                </a:lnTo>
                <a:lnTo>
                  <a:pt x="7203" y="7689"/>
                </a:lnTo>
                <a:lnTo>
                  <a:pt x="7398" y="7519"/>
                </a:lnTo>
                <a:lnTo>
                  <a:pt x="7617" y="7373"/>
                </a:lnTo>
                <a:lnTo>
                  <a:pt x="7836" y="7251"/>
                </a:lnTo>
                <a:lnTo>
                  <a:pt x="8079" y="7154"/>
                </a:lnTo>
                <a:lnTo>
                  <a:pt x="8176" y="7105"/>
                </a:lnTo>
                <a:close/>
                <a:moveTo>
                  <a:pt x="11413" y="8444"/>
                </a:moveTo>
                <a:lnTo>
                  <a:pt x="11486" y="8711"/>
                </a:lnTo>
                <a:lnTo>
                  <a:pt x="11534" y="8979"/>
                </a:lnTo>
                <a:lnTo>
                  <a:pt x="11559" y="9246"/>
                </a:lnTo>
                <a:lnTo>
                  <a:pt x="11534" y="9514"/>
                </a:lnTo>
                <a:lnTo>
                  <a:pt x="11461" y="9782"/>
                </a:lnTo>
                <a:lnTo>
                  <a:pt x="11388" y="10049"/>
                </a:lnTo>
                <a:lnTo>
                  <a:pt x="11267" y="10293"/>
                </a:lnTo>
                <a:lnTo>
                  <a:pt x="11145" y="10512"/>
                </a:lnTo>
                <a:lnTo>
                  <a:pt x="10975" y="10731"/>
                </a:lnTo>
                <a:lnTo>
                  <a:pt x="11048" y="10536"/>
                </a:lnTo>
                <a:lnTo>
                  <a:pt x="11121" y="10317"/>
                </a:lnTo>
                <a:lnTo>
                  <a:pt x="11194" y="9928"/>
                </a:lnTo>
                <a:lnTo>
                  <a:pt x="11267" y="9563"/>
                </a:lnTo>
                <a:lnTo>
                  <a:pt x="11315" y="9198"/>
                </a:lnTo>
                <a:lnTo>
                  <a:pt x="11413" y="8444"/>
                </a:lnTo>
                <a:close/>
                <a:moveTo>
                  <a:pt x="9028" y="6911"/>
                </a:moveTo>
                <a:lnTo>
                  <a:pt x="8858" y="7057"/>
                </a:lnTo>
                <a:lnTo>
                  <a:pt x="8736" y="7251"/>
                </a:lnTo>
                <a:lnTo>
                  <a:pt x="8614" y="7446"/>
                </a:lnTo>
                <a:lnTo>
                  <a:pt x="8517" y="7641"/>
                </a:lnTo>
                <a:lnTo>
                  <a:pt x="8322" y="8079"/>
                </a:lnTo>
                <a:lnTo>
                  <a:pt x="8176" y="8492"/>
                </a:lnTo>
                <a:lnTo>
                  <a:pt x="8030" y="8833"/>
                </a:lnTo>
                <a:lnTo>
                  <a:pt x="7884" y="9173"/>
                </a:lnTo>
                <a:lnTo>
                  <a:pt x="7568" y="9830"/>
                </a:lnTo>
                <a:lnTo>
                  <a:pt x="7325" y="10317"/>
                </a:lnTo>
                <a:lnTo>
                  <a:pt x="7228" y="10560"/>
                </a:lnTo>
                <a:lnTo>
                  <a:pt x="7130" y="10804"/>
                </a:lnTo>
                <a:lnTo>
                  <a:pt x="6936" y="10463"/>
                </a:lnTo>
                <a:lnTo>
                  <a:pt x="6790" y="10122"/>
                </a:lnTo>
                <a:lnTo>
                  <a:pt x="6838" y="10122"/>
                </a:lnTo>
                <a:lnTo>
                  <a:pt x="6911" y="10098"/>
                </a:lnTo>
                <a:lnTo>
                  <a:pt x="6960" y="10074"/>
                </a:lnTo>
                <a:lnTo>
                  <a:pt x="7009" y="10001"/>
                </a:lnTo>
                <a:lnTo>
                  <a:pt x="7276" y="9222"/>
                </a:lnTo>
                <a:lnTo>
                  <a:pt x="7592" y="8468"/>
                </a:lnTo>
                <a:lnTo>
                  <a:pt x="7787" y="8103"/>
                </a:lnTo>
                <a:lnTo>
                  <a:pt x="7982" y="7738"/>
                </a:lnTo>
                <a:lnTo>
                  <a:pt x="8176" y="7373"/>
                </a:lnTo>
                <a:lnTo>
                  <a:pt x="8395" y="7032"/>
                </a:lnTo>
                <a:lnTo>
                  <a:pt x="8493" y="7032"/>
                </a:lnTo>
                <a:lnTo>
                  <a:pt x="8760" y="6959"/>
                </a:lnTo>
                <a:lnTo>
                  <a:pt x="9028" y="6911"/>
                </a:lnTo>
                <a:close/>
                <a:moveTo>
                  <a:pt x="9344" y="6911"/>
                </a:moveTo>
                <a:lnTo>
                  <a:pt x="9588" y="6935"/>
                </a:lnTo>
                <a:lnTo>
                  <a:pt x="9831" y="7008"/>
                </a:lnTo>
                <a:lnTo>
                  <a:pt x="9734" y="7105"/>
                </a:lnTo>
                <a:lnTo>
                  <a:pt x="9636" y="7203"/>
                </a:lnTo>
                <a:lnTo>
                  <a:pt x="9490" y="7446"/>
                </a:lnTo>
                <a:lnTo>
                  <a:pt x="9393" y="7714"/>
                </a:lnTo>
                <a:lnTo>
                  <a:pt x="9271" y="7957"/>
                </a:lnTo>
                <a:lnTo>
                  <a:pt x="9150" y="8298"/>
                </a:lnTo>
                <a:lnTo>
                  <a:pt x="9004" y="8663"/>
                </a:lnTo>
                <a:lnTo>
                  <a:pt x="8760" y="9368"/>
                </a:lnTo>
                <a:lnTo>
                  <a:pt x="8468" y="10122"/>
                </a:lnTo>
                <a:lnTo>
                  <a:pt x="8128" y="10852"/>
                </a:lnTo>
                <a:lnTo>
                  <a:pt x="7957" y="11290"/>
                </a:lnTo>
                <a:lnTo>
                  <a:pt x="7909" y="11388"/>
                </a:lnTo>
                <a:lnTo>
                  <a:pt x="7884" y="11485"/>
                </a:lnTo>
                <a:lnTo>
                  <a:pt x="7884" y="11558"/>
                </a:lnTo>
                <a:lnTo>
                  <a:pt x="7665" y="11388"/>
                </a:lnTo>
                <a:lnTo>
                  <a:pt x="7446" y="11193"/>
                </a:lnTo>
                <a:lnTo>
                  <a:pt x="7568" y="10901"/>
                </a:lnTo>
                <a:lnTo>
                  <a:pt x="7690" y="10609"/>
                </a:lnTo>
                <a:lnTo>
                  <a:pt x="7811" y="10317"/>
                </a:lnTo>
                <a:lnTo>
                  <a:pt x="7933" y="10049"/>
                </a:lnTo>
                <a:lnTo>
                  <a:pt x="8201" y="9514"/>
                </a:lnTo>
                <a:lnTo>
                  <a:pt x="8444" y="8979"/>
                </a:lnTo>
                <a:lnTo>
                  <a:pt x="8882" y="7933"/>
                </a:lnTo>
                <a:lnTo>
                  <a:pt x="9101" y="7422"/>
                </a:lnTo>
                <a:lnTo>
                  <a:pt x="9344" y="6911"/>
                </a:lnTo>
                <a:close/>
                <a:moveTo>
                  <a:pt x="10610" y="7397"/>
                </a:moveTo>
                <a:lnTo>
                  <a:pt x="10829" y="7592"/>
                </a:lnTo>
                <a:lnTo>
                  <a:pt x="11023" y="7811"/>
                </a:lnTo>
                <a:lnTo>
                  <a:pt x="11194" y="8054"/>
                </a:lnTo>
                <a:lnTo>
                  <a:pt x="11340" y="8322"/>
                </a:lnTo>
                <a:lnTo>
                  <a:pt x="11340" y="8346"/>
                </a:lnTo>
                <a:lnTo>
                  <a:pt x="11169" y="8663"/>
                </a:lnTo>
                <a:lnTo>
                  <a:pt x="11023" y="8979"/>
                </a:lnTo>
                <a:lnTo>
                  <a:pt x="10926" y="9295"/>
                </a:lnTo>
                <a:lnTo>
                  <a:pt x="10829" y="9660"/>
                </a:lnTo>
                <a:lnTo>
                  <a:pt x="10731" y="10025"/>
                </a:lnTo>
                <a:lnTo>
                  <a:pt x="10610" y="10414"/>
                </a:lnTo>
                <a:lnTo>
                  <a:pt x="10512" y="10706"/>
                </a:lnTo>
                <a:lnTo>
                  <a:pt x="10464" y="10852"/>
                </a:lnTo>
                <a:lnTo>
                  <a:pt x="10439" y="11023"/>
                </a:lnTo>
                <a:lnTo>
                  <a:pt x="10464" y="11071"/>
                </a:lnTo>
                <a:lnTo>
                  <a:pt x="10488" y="11120"/>
                </a:lnTo>
                <a:lnTo>
                  <a:pt x="10537" y="11144"/>
                </a:lnTo>
                <a:lnTo>
                  <a:pt x="10585" y="11169"/>
                </a:lnTo>
                <a:lnTo>
                  <a:pt x="10318" y="11388"/>
                </a:lnTo>
                <a:lnTo>
                  <a:pt x="10001" y="11558"/>
                </a:lnTo>
                <a:lnTo>
                  <a:pt x="10001" y="11558"/>
                </a:lnTo>
                <a:lnTo>
                  <a:pt x="10099" y="11412"/>
                </a:lnTo>
                <a:lnTo>
                  <a:pt x="10147" y="11242"/>
                </a:lnTo>
                <a:lnTo>
                  <a:pt x="10269" y="10877"/>
                </a:lnTo>
                <a:lnTo>
                  <a:pt x="10439" y="10244"/>
                </a:lnTo>
                <a:lnTo>
                  <a:pt x="10585" y="9684"/>
                </a:lnTo>
                <a:lnTo>
                  <a:pt x="10780" y="9100"/>
                </a:lnTo>
                <a:lnTo>
                  <a:pt x="10950" y="8517"/>
                </a:lnTo>
                <a:lnTo>
                  <a:pt x="11072" y="7957"/>
                </a:lnTo>
                <a:lnTo>
                  <a:pt x="11072" y="7908"/>
                </a:lnTo>
                <a:lnTo>
                  <a:pt x="11048" y="7884"/>
                </a:lnTo>
                <a:lnTo>
                  <a:pt x="10975" y="7884"/>
                </a:lnTo>
                <a:lnTo>
                  <a:pt x="10804" y="8079"/>
                </a:lnTo>
                <a:lnTo>
                  <a:pt x="10683" y="8273"/>
                </a:lnTo>
                <a:lnTo>
                  <a:pt x="10561" y="8517"/>
                </a:lnTo>
                <a:lnTo>
                  <a:pt x="10464" y="8760"/>
                </a:lnTo>
                <a:lnTo>
                  <a:pt x="10318" y="9246"/>
                </a:lnTo>
                <a:lnTo>
                  <a:pt x="10196" y="9733"/>
                </a:lnTo>
                <a:lnTo>
                  <a:pt x="10050" y="10293"/>
                </a:lnTo>
                <a:lnTo>
                  <a:pt x="9880" y="10828"/>
                </a:lnTo>
                <a:lnTo>
                  <a:pt x="9782" y="11071"/>
                </a:lnTo>
                <a:lnTo>
                  <a:pt x="9685" y="11290"/>
                </a:lnTo>
                <a:lnTo>
                  <a:pt x="9563" y="11534"/>
                </a:lnTo>
                <a:lnTo>
                  <a:pt x="9539" y="11655"/>
                </a:lnTo>
                <a:lnTo>
                  <a:pt x="9515" y="11777"/>
                </a:lnTo>
                <a:lnTo>
                  <a:pt x="9320" y="11826"/>
                </a:lnTo>
                <a:lnTo>
                  <a:pt x="9247" y="11850"/>
                </a:lnTo>
                <a:lnTo>
                  <a:pt x="9247" y="11850"/>
                </a:lnTo>
                <a:lnTo>
                  <a:pt x="9369" y="11607"/>
                </a:lnTo>
                <a:lnTo>
                  <a:pt x="9442" y="11339"/>
                </a:lnTo>
                <a:lnTo>
                  <a:pt x="9612" y="10828"/>
                </a:lnTo>
                <a:lnTo>
                  <a:pt x="9758" y="10317"/>
                </a:lnTo>
                <a:lnTo>
                  <a:pt x="9928" y="9806"/>
                </a:lnTo>
                <a:lnTo>
                  <a:pt x="10147" y="9222"/>
                </a:lnTo>
                <a:lnTo>
                  <a:pt x="10342" y="8614"/>
                </a:lnTo>
                <a:lnTo>
                  <a:pt x="10488" y="8006"/>
                </a:lnTo>
                <a:lnTo>
                  <a:pt x="10561" y="7714"/>
                </a:lnTo>
                <a:lnTo>
                  <a:pt x="10610" y="7397"/>
                </a:lnTo>
                <a:close/>
                <a:moveTo>
                  <a:pt x="10026" y="7081"/>
                </a:moveTo>
                <a:lnTo>
                  <a:pt x="10220" y="7154"/>
                </a:lnTo>
                <a:lnTo>
                  <a:pt x="10391" y="7251"/>
                </a:lnTo>
                <a:lnTo>
                  <a:pt x="10172" y="7811"/>
                </a:lnTo>
                <a:lnTo>
                  <a:pt x="10001" y="8395"/>
                </a:lnTo>
                <a:lnTo>
                  <a:pt x="9831" y="8955"/>
                </a:lnTo>
                <a:lnTo>
                  <a:pt x="9636" y="9538"/>
                </a:lnTo>
                <a:lnTo>
                  <a:pt x="9442" y="10098"/>
                </a:lnTo>
                <a:lnTo>
                  <a:pt x="9271" y="10706"/>
                </a:lnTo>
                <a:lnTo>
                  <a:pt x="9101" y="11266"/>
                </a:lnTo>
                <a:lnTo>
                  <a:pt x="8979" y="11558"/>
                </a:lnTo>
                <a:lnTo>
                  <a:pt x="8833" y="11826"/>
                </a:lnTo>
                <a:lnTo>
                  <a:pt x="8833" y="11874"/>
                </a:lnTo>
                <a:lnTo>
                  <a:pt x="8639" y="11850"/>
                </a:lnTo>
                <a:lnTo>
                  <a:pt x="8468" y="11826"/>
                </a:lnTo>
                <a:lnTo>
                  <a:pt x="8298" y="11753"/>
                </a:lnTo>
                <a:lnTo>
                  <a:pt x="8128" y="11680"/>
                </a:lnTo>
                <a:lnTo>
                  <a:pt x="8176" y="11655"/>
                </a:lnTo>
                <a:lnTo>
                  <a:pt x="8201" y="11631"/>
                </a:lnTo>
                <a:lnTo>
                  <a:pt x="8274" y="11534"/>
                </a:lnTo>
                <a:lnTo>
                  <a:pt x="8371" y="11315"/>
                </a:lnTo>
                <a:lnTo>
                  <a:pt x="8639" y="10633"/>
                </a:lnTo>
                <a:lnTo>
                  <a:pt x="8931" y="9976"/>
                </a:lnTo>
                <a:lnTo>
                  <a:pt x="9077" y="9636"/>
                </a:lnTo>
                <a:lnTo>
                  <a:pt x="9223" y="9271"/>
                </a:lnTo>
                <a:lnTo>
                  <a:pt x="9466" y="8565"/>
                </a:lnTo>
                <a:lnTo>
                  <a:pt x="9612" y="8200"/>
                </a:lnTo>
                <a:lnTo>
                  <a:pt x="9758" y="7835"/>
                </a:lnTo>
                <a:lnTo>
                  <a:pt x="9928" y="7446"/>
                </a:lnTo>
                <a:lnTo>
                  <a:pt x="9977" y="7276"/>
                </a:lnTo>
                <a:lnTo>
                  <a:pt x="10026" y="7081"/>
                </a:lnTo>
                <a:close/>
                <a:moveTo>
                  <a:pt x="9247" y="6424"/>
                </a:moveTo>
                <a:lnTo>
                  <a:pt x="8931" y="6448"/>
                </a:lnTo>
                <a:lnTo>
                  <a:pt x="8639" y="6497"/>
                </a:lnTo>
                <a:lnTo>
                  <a:pt x="8347" y="6570"/>
                </a:lnTo>
                <a:lnTo>
                  <a:pt x="8274" y="6619"/>
                </a:lnTo>
                <a:lnTo>
                  <a:pt x="8225" y="6667"/>
                </a:lnTo>
                <a:lnTo>
                  <a:pt x="7836" y="6789"/>
                </a:lnTo>
                <a:lnTo>
                  <a:pt x="7568" y="6911"/>
                </a:lnTo>
                <a:lnTo>
                  <a:pt x="7325" y="7032"/>
                </a:lnTo>
                <a:lnTo>
                  <a:pt x="7106" y="7203"/>
                </a:lnTo>
                <a:lnTo>
                  <a:pt x="6887" y="7373"/>
                </a:lnTo>
                <a:lnTo>
                  <a:pt x="6668" y="7592"/>
                </a:lnTo>
                <a:lnTo>
                  <a:pt x="6498" y="7835"/>
                </a:lnTo>
                <a:lnTo>
                  <a:pt x="6352" y="8103"/>
                </a:lnTo>
                <a:lnTo>
                  <a:pt x="6254" y="8371"/>
                </a:lnTo>
                <a:lnTo>
                  <a:pt x="6206" y="8663"/>
                </a:lnTo>
                <a:lnTo>
                  <a:pt x="6157" y="8979"/>
                </a:lnTo>
                <a:lnTo>
                  <a:pt x="6157" y="9271"/>
                </a:lnTo>
                <a:lnTo>
                  <a:pt x="6181" y="9563"/>
                </a:lnTo>
                <a:lnTo>
                  <a:pt x="6206" y="9855"/>
                </a:lnTo>
                <a:lnTo>
                  <a:pt x="6279" y="10122"/>
                </a:lnTo>
                <a:lnTo>
                  <a:pt x="6376" y="10390"/>
                </a:lnTo>
                <a:lnTo>
                  <a:pt x="6498" y="10658"/>
                </a:lnTo>
                <a:lnTo>
                  <a:pt x="6644" y="10925"/>
                </a:lnTo>
                <a:lnTo>
                  <a:pt x="6814" y="11169"/>
                </a:lnTo>
                <a:lnTo>
                  <a:pt x="6984" y="11388"/>
                </a:lnTo>
                <a:lnTo>
                  <a:pt x="7203" y="11607"/>
                </a:lnTo>
                <a:lnTo>
                  <a:pt x="7422" y="11801"/>
                </a:lnTo>
                <a:lnTo>
                  <a:pt x="7665" y="11947"/>
                </a:lnTo>
                <a:lnTo>
                  <a:pt x="7909" y="12093"/>
                </a:lnTo>
                <a:lnTo>
                  <a:pt x="8176" y="12191"/>
                </a:lnTo>
                <a:lnTo>
                  <a:pt x="8444" y="12288"/>
                </a:lnTo>
                <a:lnTo>
                  <a:pt x="8736" y="12312"/>
                </a:lnTo>
                <a:lnTo>
                  <a:pt x="9028" y="12312"/>
                </a:lnTo>
                <a:lnTo>
                  <a:pt x="9320" y="12288"/>
                </a:lnTo>
                <a:lnTo>
                  <a:pt x="9588" y="12215"/>
                </a:lnTo>
                <a:lnTo>
                  <a:pt x="9880" y="12118"/>
                </a:lnTo>
                <a:lnTo>
                  <a:pt x="10147" y="11996"/>
                </a:lnTo>
                <a:lnTo>
                  <a:pt x="10415" y="11826"/>
                </a:lnTo>
                <a:lnTo>
                  <a:pt x="10658" y="11655"/>
                </a:lnTo>
                <a:lnTo>
                  <a:pt x="10877" y="11461"/>
                </a:lnTo>
                <a:lnTo>
                  <a:pt x="11096" y="11242"/>
                </a:lnTo>
                <a:lnTo>
                  <a:pt x="11291" y="10998"/>
                </a:lnTo>
                <a:lnTo>
                  <a:pt x="11461" y="10731"/>
                </a:lnTo>
                <a:lnTo>
                  <a:pt x="11632" y="10463"/>
                </a:lnTo>
                <a:lnTo>
                  <a:pt x="11753" y="10195"/>
                </a:lnTo>
                <a:lnTo>
                  <a:pt x="11851" y="9903"/>
                </a:lnTo>
                <a:lnTo>
                  <a:pt x="11924" y="9611"/>
                </a:lnTo>
                <a:lnTo>
                  <a:pt x="11948" y="9319"/>
                </a:lnTo>
                <a:lnTo>
                  <a:pt x="11972" y="9027"/>
                </a:lnTo>
                <a:lnTo>
                  <a:pt x="11924" y="8736"/>
                </a:lnTo>
                <a:lnTo>
                  <a:pt x="11851" y="8444"/>
                </a:lnTo>
                <a:lnTo>
                  <a:pt x="11753" y="8176"/>
                </a:lnTo>
                <a:lnTo>
                  <a:pt x="11632" y="7908"/>
                </a:lnTo>
                <a:lnTo>
                  <a:pt x="11461" y="7665"/>
                </a:lnTo>
                <a:lnTo>
                  <a:pt x="11291" y="7422"/>
                </a:lnTo>
                <a:lnTo>
                  <a:pt x="11096" y="7203"/>
                </a:lnTo>
                <a:lnTo>
                  <a:pt x="10853" y="7032"/>
                </a:lnTo>
                <a:lnTo>
                  <a:pt x="10610" y="6862"/>
                </a:lnTo>
                <a:lnTo>
                  <a:pt x="10366" y="6716"/>
                </a:lnTo>
                <a:lnTo>
                  <a:pt x="10099" y="6594"/>
                </a:lnTo>
                <a:lnTo>
                  <a:pt x="9807" y="6521"/>
                </a:lnTo>
                <a:lnTo>
                  <a:pt x="9515" y="6448"/>
                </a:lnTo>
                <a:lnTo>
                  <a:pt x="9247" y="6424"/>
                </a:lnTo>
                <a:close/>
                <a:moveTo>
                  <a:pt x="9417" y="5694"/>
                </a:moveTo>
                <a:lnTo>
                  <a:pt x="9782" y="5718"/>
                </a:lnTo>
                <a:lnTo>
                  <a:pt x="10172" y="5791"/>
                </a:lnTo>
                <a:lnTo>
                  <a:pt x="10537" y="5889"/>
                </a:lnTo>
                <a:lnTo>
                  <a:pt x="10877" y="6010"/>
                </a:lnTo>
                <a:lnTo>
                  <a:pt x="11218" y="6181"/>
                </a:lnTo>
                <a:lnTo>
                  <a:pt x="11534" y="6351"/>
                </a:lnTo>
                <a:lnTo>
                  <a:pt x="11729" y="6497"/>
                </a:lnTo>
                <a:lnTo>
                  <a:pt x="11899" y="6619"/>
                </a:lnTo>
                <a:lnTo>
                  <a:pt x="12045" y="6789"/>
                </a:lnTo>
                <a:lnTo>
                  <a:pt x="12191" y="6959"/>
                </a:lnTo>
                <a:lnTo>
                  <a:pt x="12313" y="7130"/>
                </a:lnTo>
                <a:lnTo>
                  <a:pt x="12435" y="7324"/>
                </a:lnTo>
                <a:lnTo>
                  <a:pt x="12532" y="7519"/>
                </a:lnTo>
                <a:lnTo>
                  <a:pt x="12629" y="7714"/>
                </a:lnTo>
                <a:lnTo>
                  <a:pt x="12775" y="8152"/>
                </a:lnTo>
                <a:lnTo>
                  <a:pt x="12873" y="8590"/>
                </a:lnTo>
                <a:lnTo>
                  <a:pt x="12921" y="9027"/>
                </a:lnTo>
                <a:lnTo>
                  <a:pt x="12921" y="9465"/>
                </a:lnTo>
                <a:lnTo>
                  <a:pt x="12897" y="9806"/>
                </a:lnTo>
                <a:lnTo>
                  <a:pt x="12848" y="10147"/>
                </a:lnTo>
                <a:lnTo>
                  <a:pt x="12751" y="10463"/>
                </a:lnTo>
                <a:lnTo>
                  <a:pt x="12654" y="10779"/>
                </a:lnTo>
                <a:lnTo>
                  <a:pt x="12508" y="11071"/>
                </a:lnTo>
                <a:lnTo>
                  <a:pt x="12362" y="11363"/>
                </a:lnTo>
                <a:lnTo>
                  <a:pt x="12167" y="11631"/>
                </a:lnTo>
                <a:lnTo>
                  <a:pt x="11972" y="11874"/>
                </a:lnTo>
                <a:lnTo>
                  <a:pt x="11753" y="12093"/>
                </a:lnTo>
                <a:lnTo>
                  <a:pt x="11510" y="12288"/>
                </a:lnTo>
                <a:lnTo>
                  <a:pt x="11242" y="12483"/>
                </a:lnTo>
                <a:lnTo>
                  <a:pt x="10975" y="12653"/>
                </a:lnTo>
                <a:lnTo>
                  <a:pt x="10683" y="12799"/>
                </a:lnTo>
                <a:lnTo>
                  <a:pt x="10366" y="12921"/>
                </a:lnTo>
                <a:lnTo>
                  <a:pt x="10050" y="13018"/>
                </a:lnTo>
                <a:lnTo>
                  <a:pt x="9709" y="13091"/>
                </a:lnTo>
                <a:lnTo>
                  <a:pt x="9369" y="13140"/>
                </a:lnTo>
                <a:lnTo>
                  <a:pt x="8736" y="13140"/>
                </a:lnTo>
                <a:lnTo>
                  <a:pt x="8420" y="13115"/>
                </a:lnTo>
                <a:lnTo>
                  <a:pt x="8128" y="13042"/>
                </a:lnTo>
                <a:lnTo>
                  <a:pt x="7836" y="12969"/>
                </a:lnTo>
                <a:lnTo>
                  <a:pt x="7568" y="12848"/>
                </a:lnTo>
                <a:lnTo>
                  <a:pt x="7276" y="12726"/>
                </a:lnTo>
                <a:lnTo>
                  <a:pt x="7033" y="12556"/>
                </a:lnTo>
                <a:lnTo>
                  <a:pt x="6790" y="12385"/>
                </a:lnTo>
                <a:lnTo>
                  <a:pt x="6546" y="12191"/>
                </a:lnTo>
                <a:lnTo>
                  <a:pt x="6352" y="11972"/>
                </a:lnTo>
                <a:lnTo>
                  <a:pt x="6157" y="11728"/>
                </a:lnTo>
                <a:lnTo>
                  <a:pt x="5962" y="11461"/>
                </a:lnTo>
                <a:lnTo>
                  <a:pt x="5816" y="11193"/>
                </a:lnTo>
                <a:lnTo>
                  <a:pt x="5670" y="10877"/>
                </a:lnTo>
                <a:lnTo>
                  <a:pt x="5597" y="10658"/>
                </a:lnTo>
                <a:lnTo>
                  <a:pt x="5524" y="10414"/>
                </a:lnTo>
                <a:lnTo>
                  <a:pt x="5476" y="10171"/>
                </a:lnTo>
                <a:lnTo>
                  <a:pt x="5427" y="9928"/>
                </a:lnTo>
                <a:lnTo>
                  <a:pt x="5403" y="9684"/>
                </a:lnTo>
                <a:lnTo>
                  <a:pt x="5403" y="9465"/>
                </a:lnTo>
                <a:lnTo>
                  <a:pt x="5403" y="9222"/>
                </a:lnTo>
                <a:lnTo>
                  <a:pt x="5427" y="8979"/>
                </a:lnTo>
                <a:lnTo>
                  <a:pt x="5451" y="8736"/>
                </a:lnTo>
                <a:lnTo>
                  <a:pt x="5500" y="8517"/>
                </a:lnTo>
                <a:lnTo>
                  <a:pt x="5573" y="8273"/>
                </a:lnTo>
                <a:lnTo>
                  <a:pt x="5646" y="8054"/>
                </a:lnTo>
                <a:lnTo>
                  <a:pt x="5743" y="7811"/>
                </a:lnTo>
                <a:lnTo>
                  <a:pt x="5865" y="7592"/>
                </a:lnTo>
                <a:lnTo>
                  <a:pt x="5987" y="7397"/>
                </a:lnTo>
                <a:lnTo>
                  <a:pt x="6133" y="7178"/>
                </a:lnTo>
                <a:lnTo>
                  <a:pt x="6376" y="6886"/>
                </a:lnTo>
                <a:lnTo>
                  <a:pt x="6644" y="6619"/>
                </a:lnTo>
                <a:lnTo>
                  <a:pt x="6911" y="6400"/>
                </a:lnTo>
                <a:lnTo>
                  <a:pt x="7228" y="6229"/>
                </a:lnTo>
                <a:lnTo>
                  <a:pt x="7544" y="6059"/>
                </a:lnTo>
                <a:lnTo>
                  <a:pt x="7884" y="5937"/>
                </a:lnTo>
                <a:lnTo>
                  <a:pt x="8225" y="5840"/>
                </a:lnTo>
                <a:lnTo>
                  <a:pt x="8590" y="5743"/>
                </a:lnTo>
                <a:lnTo>
                  <a:pt x="8687" y="5743"/>
                </a:lnTo>
                <a:lnTo>
                  <a:pt x="9052" y="5694"/>
                </a:lnTo>
                <a:close/>
                <a:moveTo>
                  <a:pt x="9150" y="5207"/>
                </a:moveTo>
                <a:lnTo>
                  <a:pt x="8760" y="5232"/>
                </a:lnTo>
                <a:lnTo>
                  <a:pt x="8420" y="5256"/>
                </a:lnTo>
                <a:lnTo>
                  <a:pt x="8055" y="5305"/>
                </a:lnTo>
                <a:lnTo>
                  <a:pt x="7714" y="5402"/>
                </a:lnTo>
                <a:lnTo>
                  <a:pt x="7373" y="5548"/>
                </a:lnTo>
                <a:lnTo>
                  <a:pt x="7057" y="5718"/>
                </a:lnTo>
                <a:lnTo>
                  <a:pt x="6741" y="5889"/>
                </a:lnTo>
                <a:lnTo>
                  <a:pt x="6473" y="6108"/>
                </a:lnTo>
                <a:lnTo>
                  <a:pt x="6181" y="6327"/>
                </a:lnTo>
                <a:lnTo>
                  <a:pt x="6035" y="6497"/>
                </a:lnTo>
                <a:lnTo>
                  <a:pt x="5865" y="6667"/>
                </a:lnTo>
                <a:lnTo>
                  <a:pt x="5597" y="7032"/>
                </a:lnTo>
                <a:lnTo>
                  <a:pt x="5354" y="7446"/>
                </a:lnTo>
                <a:lnTo>
                  <a:pt x="5159" y="7860"/>
                </a:lnTo>
                <a:lnTo>
                  <a:pt x="5013" y="8298"/>
                </a:lnTo>
                <a:lnTo>
                  <a:pt x="4916" y="8760"/>
                </a:lnTo>
                <a:lnTo>
                  <a:pt x="4867" y="9222"/>
                </a:lnTo>
                <a:lnTo>
                  <a:pt x="4867" y="9684"/>
                </a:lnTo>
                <a:lnTo>
                  <a:pt x="4916" y="10049"/>
                </a:lnTo>
                <a:lnTo>
                  <a:pt x="4965" y="10414"/>
                </a:lnTo>
                <a:lnTo>
                  <a:pt x="5062" y="10755"/>
                </a:lnTo>
                <a:lnTo>
                  <a:pt x="5184" y="11096"/>
                </a:lnTo>
                <a:lnTo>
                  <a:pt x="5330" y="11412"/>
                </a:lnTo>
                <a:lnTo>
                  <a:pt x="5500" y="11728"/>
                </a:lnTo>
                <a:lnTo>
                  <a:pt x="5695" y="12020"/>
                </a:lnTo>
                <a:lnTo>
                  <a:pt x="5914" y="12288"/>
                </a:lnTo>
                <a:lnTo>
                  <a:pt x="6157" y="12531"/>
                </a:lnTo>
                <a:lnTo>
                  <a:pt x="6425" y="12775"/>
                </a:lnTo>
                <a:lnTo>
                  <a:pt x="6717" y="12969"/>
                </a:lnTo>
                <a:lnTo>
                  <a:pt x="7009" y="13164"/>
                </a:lnTo>
                <a:lnTo>
                  <a:pt x="7325" y="13310"/>
                </a:lnTo>
                <a:lnTo>
                  <a:pt x="7665" y="13432"/>
                </a:lnTo>
                <a:lnTo>
                  <a:pt x="8006" y="13529"/>
                </a:lnTo>
                <a:lnTo>
                  <a:pt x="8371" y="13602"/>
                </a:lnTo>
                <a:lnTo>
                  <a:pt x="8687" y="13651"/>
                </a:lnTo>
                <a:lnTo>
                  <a:pt x="9296" y="13651"/>
                </a:lnTo>
                <a:lnTo>
                  <a:pt x="9612" y="13626"/>
                </a:lnTo>
                <a:lnTo>
                  <a:pt x="9928" y="13578"/>
                </a:lnTo>
                <a:lnTo>
                  <a:pt x="10220" y="13505"/>
                </a:lnTo>
                <a:lnTo>
                  <a:pt x="10512" y="13407"/>
                </a:lnTo>
                <a:lnTo>
                  <a:pt x="10804" y="13310"/>
                </a:lnTo>
                <a:lnTo>
                  <a:pt x="11072" y="13188"/>
                </a:lnTo>
                <a:lnTo>
                  <a:pt x="11340" y="13042"/>
                </a:lnTo>
                <a:lnTo>
                  <a:pt x="11607" y="12872"/>
                </a:lnTo>
                <a:lnTo>
                  <a:pt x="11851" y="12702"/>
                </a:lnTo>
                <a:lnTo>
                  <a:pt x="12094" y="12507"/>
                </a:lnTo>
                <a:lnTo>
                  <a:pt x="12313" y="12288"/>
                </a:lnTo>
                <a:lnTo>
                  <a:pt x="12508" y="12045"/>
                </a:lnTo>
                <a:lnTo>
                  <a:pt x="12702" y="11801"/>
                </a:lnTo>
                <a:lnTo>
                  <a:pt x="12897" y="11461"/>
                </a:lnTo>
                <a:lnTo>
                  <a:pt x="13092" y="11096"/>
                </a:lnTo>
                <a:lnTo>
                  <a:pt x="13213" y="10706"/>
                </a:lnTo>
                <a:lnTo>
                  <a:pt x="13335" y="10317"/>
                </a:lnTo>
                <a:lnTo>
                  <a:pt x="13384" y="9903"/>
                </a:lnTo>
                <a:lnTo>
                  <a:pt x="13432" y="9490"/>
                </a:lnTo>
                <a:lnTo>
                  <a:pt x="13432" y="9076"/>
                </a:lnTo>
                <a:lnTo>
                  <a:pt x="13384" y="8663"/>
                </a:lnTo>
                <a:lnTo>
                  <a:pt x="13311" y="8273"/>
                </a:lnTo>
                <a:lnTo>
                  <a:pt x="13189" y="7860"/>
                </a:lnTo>
                <a:lnTo>
                  <a:pt x="13043" y="7495"/>
                </a:lnTo>
                <a:lnTo>
                  <a:pt x="12873" y="7130"/>
                </a:lnTo>
                <a:lnTo>
                  <a:pt x="12654" y="6789"/>
                </a:lnTo>
                <a:lnTo>
                  <a:pt x="12386" y="6473"/>
                </a:lnTo>
                <a:lnTo>
                  <a:pt x="12094" y="6181"/>
                </a:lnTo>
                <a:lnTo>
                  <a:pt x="11778" y="5937"/>
                </a:lnTo>
                <a:lnTo>
                  <a:pt x="11461" y="5743"/>
                </a:lnTo>
                <a:lnTo>
                  <a:pt x="11096" y="5572"/>
                </a:lnTo>
                <a:lnTo>
                  <a:pt x="10731" y="5426"/>
                </a:lnTo>
                <a:lnTo>
                  <a:pt x="10342" y="5329"/>
                </a:lnTo>
                <a:lnTo>
                  <a:pt x="9953" y="5256"/>
                </a:lnTo>
                <a:lnTo>
                  <a:pt x="9539" y="5207"/>
                </a:lnTo>
                <a:close/>
                <a:moveTo>
                  <a:pt x="7714" y="511"/>
                </a:moveTo>
                <a:lnTo>
                  <a:pt x="8687" y="536"/>
                </a:lnTo>
                <a:lnTo>
                  <a:pt x="9685" y="560"/>
                </a:lnTo>
                <a:lnTo>
                  <a:pt x="10658" y="633"/>
                </a:lnTo>
                <a:lnTo>
                  <a:pt x="11340" y="633"/>
                </a:lnTo>
                <a:lnTo>
                  <a:pt x="11680" y="609"/>
                </a:lnTo>
                <a:lnTo>
                  <a:pt x="12021" y="609"/>
                </a:lnTo>
                <a:lnTo>
                  <a:pt x="12264" y="633"/>
                </a:lnTo>
                <a:lnTo>
                  <a:pt x="12483" y="706"/>
                </a:lnTo>
                <a:lnTo>
                  <a:pt x="12654" y="779"/>
                </a:lnTo>
                <a:lnTo>
                  <a:pt x="12800" y="876"/>
                </a:lnTo>
                <a:lnTo>
                  <a:pt x="12921" y="1022"/>
                </a:lnTo>
                <a:lnTo>
                  <a:pt x="13019" y="1168"/>
                </a:lnTo>
                <a:lnTo>
                  <a:pt x="13092" y="1314"/>
                </a:lnTo>
                <a:lnTo>
                  <a:pt x="13140" y="1484"/>
                </a:lnTo>
                <a:lnTo>
                  <a:pt x="13262" y="1874"/>
                </a:lnTo>
                <a:lnTo>
                  <a:pt x="13335" y="2263"/>
                </a:lnTo>
                <a:lnTo>
                  <a:pt x="13432" y="2652"/>
                </a:lnTo>
                <a:lnTo>
                  <a:pt x="13481" y="2847"/>
                </a:lnTo>
                <a:lnTo>
                  <a:pt x="13554" y="3017"/>
                </a:lnTo>
                <a:lnTo>
                  <a:pt x="13627" y="3115"/>
                </a:lnTo>
                <a:lnTo>
                  <a:pt x="13724" y="3139"/>
                </a:lnTo>
                <a:lnTo>
                  <a:pt x="13822" y="3139"/>
                </a:lnTo>
                <a:lnTo>
                  <a:pt x="13919" y="3090"/>
                </a:lnTo>
                <a:lnTo>
                  <a:pt x="14138" y="3066"/>
                </a:lnTo>
                <a:lnTo>
                  <a:pt x="14357" y="3066"/>
                </a:lnTo>
                <a:lnTo>
                  <a:pt x="14795" y="3090"/>
                </a:lnTo>
                <a:lnTo>
                  <a:pt x="15233" y="3139"/>
                </a:lnTo>
                <a:lnTo>
                  <a:pt x="15671" y="3163"/>
                </a:lnTo>
                <a:lnTo>
                  <a:pt x="16084" y="3188"/>
                </a:lnTo>
                <a:lnTo>
                  <a:pt x="16571" y="3212"/>
                </a:lnTo>
                <a:lnTo>
                  <a:pt x="16839" y="3212"/>
                </a:lnTo>
                <a:lnTo>
                  <a:pt x="17082" y="3188"/>
                </a:lnTo>
                <a:lnTo>
                  <a:pt x="17325" y="3163"/>
                </a:lnTo>
                <a:lnTo>
                  <a:pt x="17520" y="3066"/>
                </a:lnTo>
                <a:lnTo>
                  <a:pt x="17496" y="3261"/>
                </a:lnTo>
                <a:lnTo>
                  <a:pt x="17496" y="3480"/>
                </a:lnTo>
                <a:lnTo>
                  <a:pt x="17544" y="5086"/>
                </a:lnTo>
                <a:lnTo>
                  <a:pt x="17593" y="6789"/>
                </a:lnTo>
                <a:lnTo>
                  <a:pt x="17617" y="8517"/>
                </a:lnTo>
                <a:lnTo>
                  <a:pt x="17666" y="11753"/>
                </a:lnTo>
                <a:lnTo>
                  <a:pt x="17666" y="12483"/>
                </a:lnTo>
                <a:lnTo>
                  <a:pt x="17642" y="13213"/>
                </a:lnTo>
                <a:lnTo>
                  <a:pt x="17617" y="13943"/>
                </a:lnTo>
                <a:lnTo>
                  <a:pt x="17617" y="14673"/>
                </a:lnTo>
                <a:lnTo>
                  <a:pt x="17544" y="14673"/>
                </a:lnTo>
                <a:lnTo>
                  <a:pt x="16449" y="14746"/>
                </a:lnTo>
                <a:lnTo>
                  <a:pt x="15379" y="14794"/>
                </a:lnTo>
                <a:lnTo>
                  <a:pt x="14308" y="14794"/>
                </a:lnTo>
                <a:lnTo>
                  <a:pt x="13238" y="14770"/>
                </a:lnTo>
                <a:lnTo>
                  <a:pt x="11072" y="14721"/>
                </a:lnTo>
                <a:lnTo>
                  <a:pt x="10001" y="14697"/>
                </a:lnTo>
                <a:lnTo>
                  <a:pt x="8931" y="14673"/>
                </a:lnTo>
                <a:lnTo>
                  <a:pt x="7811" y="14673"/>
                </a:lnTo>
                <a:lnTo>
                  <a:pt x="6692" y="14721"/>
                </a:lnTo>
                <a:lnTo>
                  <a:pt x="4454" y="14819"/>
                </a:lnTo>
                <a:lnTo>
                  <a:pt x="2215" y="14892"/>
                </a:lnTo>
                <a:lnTo>
                  <a:pt x="1826" y="14892"/>
                </a:lnTo>
                <a:lnTo>
                  <a:pt x="1436" y="14867"/>
                </a:lnTo>
                <a:lnTo>
                  <a:pt x="828" y="14867"/>
                </a:lnTo>
                <a:lnTo>
                  <a:pt x="633" y="14916"/>
                </a:lnTo>
                <a:lnTo>
                  <a:pt x="658" y="14624"/>
                </a:lnTo>
                <a:lnTo>
                  <a:pt x="658" y="14308"/>
                </a:lnTo>
                <a:lnTo>
                  <a:pt x="658" y="13724"/>
                </a:lnTo>
                <a:lnTo>
                  <a:pt x="633" y="13115"/>
                </a:lnTo>
                <a:lnTo>
                  <a:pt x="633" y="12531"/>
                </a:lnTo>
                <a:lnTo>
                  <a:pt x="682" y="10804"/>
                </a:lnTo>
                <a:lnTo>
                  <a:pt x="706" y="9928"/>
                </a:lnTo>
                <a:lnTo>
                  <a:pt x="682" y="9076"/>
                </a:lnTo>
                <a:lnTo>
                  <a:pt x="585" y="7349"/>
                </a:lnTo>
                <a:lnTo>
                  <a:pt x="512" y="5597"/>
                </a:lnTo>
                <a:lnTo>
                  <a:pt x="463" y="4794"/>
                </a:lnTo>
                <a:lnTo>
                  <a:pt x="439" y="4380"/>
                </a:lnTo>
                <a:lnTo>
                  <a:pt x="439" y="3991"/>
                </a:lnTo>
                <a:lnTo>
                  <a:pt x="439" y="3601"/>
                </a:lnTo>
                <a:lnTo>
                  <a:pt x="390" y="3236"/>
                </a:lnTo>
                <a:lnTo>
                  <a:pt x="706" y="3285"/>
                </a:lnTo>
                <a:lnTo>
                  <a:pt x="1217" y="3285"/>
                </a:lnTo>
                <a:lnTo>
                  <a:pt x="1436" y="3261"/>
                </a:lnTo>
                <a:lnTo>
                  <a:pt x="1655" y="3212"/>
                </a:lnTo>
                <a:lnTo>
                  <a:pt x="1753" y="3163"/>
                </a:lnTo>
                <a:lnTo>
                  <a:pt x="1826" y="3115"/>
                </a:lnTo>
                <a:lnTo>
                  <a:pt x="1874" y="3042"/>
                </a:lnTo>
                <a:lnTo>
                  <a:pt x="1899" y="2969"/>
                </a:lnTo>
                <a:lnTo>
                  <a:pt x="1899" y="2896"/>
                </a:lnTo>
                <a:lnTo>
                  <a:pt x="1874" y="2823"/>
                </a:lnTo>
                <a:lnTo>
                  <a:pt x="1947" y="2725"/>
                </a:lnTo>
                <a:lnTo>
                  <a:pt x="2069" y="2652"/>
                </a:lnTo>
                <a:lnTo>
                  <a:pt x="2191" y="2579"/>
                </a:lnTo>
                <a:lnTo>
                  <a:pt x="2312" y="2555"/>
                </a:lnTo>
                <a:lnTo>
                  <a:pt x="2458" y="2531"/>
                </a:lnTo>
                <a:lnTo>
                  <a:pt x="2580" y="2531"/>
                </a:lnTo>
                <a:lnTo>
                  <a:pt x="2702" y="2555"/>
                </a:lnTo>
                <a:lnTo>
                  <a:pt x="2823" y="2579"/>
                </a:lnTo>
                <a:lnTo>
                  <a:pt x="2945" y="2628"/>
                </a:lnTo>
                <a:lnTo>
                  <a:pt x="3067" y="2677"/>
                </a:lnTo>
                <a:lnTo>
                  <a:pt x="3164" y="2774"/>
                </a:lnTo>
                <a:lnTo>
                  <a:pt x="3237" y="2847"/>
                </a:lnTo>
                <a:lnTo>
                  <a:pt x="3310" y="2944"/>
                </a:lnTo>
                <a:lnTo>
                  <a:pt x="3334" y="2993"/>
                </a:lnTo>
                <a:lnTo>
                  <a:pt x="3334" y="3017"/>
                </a:lnTo>
                <a:lnTo>
                  <a:pt x="3383" y="3115"/>
                </a:lnTo>
                <a:lnTo>
                  <a:pt x="3456" y="3163"/>
                </a:lnTo>
                <a:lnTo>
                  <a:pt x="3529" y="3188"/>
                </a:lnTo>
                <a:lnTo>
                  <a:pt x="3602" y="3163"/>
                </a:lnTo>
                <a:lnTo>
                  <a:pt x="3821" y="3188"/>
                </a:lnTo>
                <a:lnTo>
                  <a:pt x="4162" y="3212"/>
                </a:lnTo>
                <a:lnTo>
                  <a:pt x="4332" y="3188"/>
                </a:lnTo>
                <a:lnTo>
                  <a:pt x="4502" y="3139"/>
                </a:lnTo>
                <a:lnTo>
                  <a:pt x="4551" y="3090"/>
                </a:lnTo>
                <a:lnTo>
                  <a:pt x="4575" y="3042"/>
                </a:lnTo>
                <a:lnTo>
                  <a:pt x="4600" y="2993"/>
                </a:lnTo>
                <a:lnTo>
                  <a:pt x="4600" y="2920"/>
                </a:lnTo>
                <a:lnTo>
                  <a:pt x="4721" y="2725"/>
                </a:lnTo>
                <a:lnTo>
                  <a:pt x="4794" y="2506"/>
                </a:lnTo>
                <a:lnTo>
                  <a:pt x="4867" y="2263"/>
                </a:lnTo>
                <a:lnTo>
                  <a:pt x="4940" y="2020"/>
                </a:lnTo>
                <a:lnTo>
                  <a:pt x="5062" y="1533"/>
                </a:lnTo>
                <a:lnTo>
                  <a:pt x="5135" y="1290"/>
                </a:lnTo>
                <a:lnTo>
                  <a:pt x="5232" y="1095"/>
                </a:lnTo>
                <a:lnTo>
                  <a:pt x="5281" y="998"/>
                </a:lnTo>
                <a:lnTo>
                  <a:pt x="5354" y="925"/>
                </a:lnTo>
                <a:lnTo>
                  <a:pt x="5500" y="803"/>
                </a:lnTo>
                <a:lnTo>
                  <a:pt x="5695" y="706"/>
                </a:lnTo>
                <a:lnTo>
                  <a:pt x="5889" y="657"/>
                </a:lnTo>
                <a:lnTo>
                  <a:pt x="6108" y="609"/>
                </a:lnTo>
                <a:lnTo>
                  <a:pt x="6327" y="584"/>
                </a:lnTo>
                <a:lnTo>
                  <a:pt x="6717" y="560"/>
                </a:lnTo>
                <a:lnTo>
                  <a:pt x="7203" y="536"/>
                </a:lnTo>
                <a:lnTo>
                  <a:pt x="7714" y="511"/>
                </a:lnTo>
                <a:close/>
                <a:moveTo>
                  <a:pt x="7714" y="0"/>
                </a:moveTo>
                <a:lnTo>
                  <a:pt x="7130" y="25"/>
                </a:lnTo>
                <a:lnTo>
                  <a:pt x="6546" y="49"/>
                </a:lnTo>
                <a:lnTo>
                  <a:pt x="6157" y="98"/>
                </a:lnTo>
                <a:lnTo>
                  <a:pt x="5768" y="146"/>
                </a:lnTo>
                <a:lnTo>
                  <a:pt x="5573" y="195"/>
                </a:lnTo>
                <a:lnTo>
                  <a:pt x="5378" y="268"/>
                </a:lnTo>
                <a:lnTo>
                  <a:pt x="5208" y="365"/>
                </a:lnTo>
                <a:lnTo>
                  <a:pt x="5062" y="487"/>
                </a:lnTo>
                <a:lnTo>
                  <a:pt x="4940" y="584"/>
                </a:lnTo>
                <a:lnTo>
                  <a:pt x="4843" y="706"/>
                </a:lnTo>
                <a:lnTo>
                  <a:pt x="4697" y="949"/>
                </a:lnTo>
                <a:lnTo>
                  <a:pt x="4575" y="1241"/>
                </a:lnTo>
                <a:lnTo>
                  <a:pt x="4502" y="1533"/>
                </a:lnTo>
                <a:lnTo>
                  <a:pt x="4332" y="2141"/>
                </a:lnTo>
                <a:lnTo>
                  <a:pt x="4113" y="2750"/>
                </a:lnTo>
                <a:lnTo>
                  <a:pt x="3894" y="2774"/>
                </a:lnTo>
                <a:lnTo>
                  <a:pt x="3699" y="2774"/>
                </a:lnTo>
                <a:lnTo>
                  <a:pt x="3602" y="2628"/>
                </a:lnTo>
                <a:lnTo>
                  <a:pt x="3505" y="2482"/>
                </a:lnTo>
                <a:lnTo>
                  <a:pt x="3359" y="2385"/>
                </a:lnTo>
                <a:lnTo>
                  <a:pt x="3213" y="2287"/>
                </a:lnTo>
                <a:lnTo>
                  <a:pt x="3067" y="2214"/>
                </a:lnTo>
                <a:lnTo>
                  <a:pt x="2896" y="2166"/>
                </a:lnTo>
                <a:lnTo>
                  <a:pt x="2702" y="2117"/>
                </a:lnTo>
                <a:lnTo>
                  <a:pt x="2531" y="2093"/>
                </a:lnTo>
                <a:lnTo>
                  <a:pt x="2410" y="2117"/>
                </a:lnTo>
                <a:lnTo>
                  <a:pt x="2264" y="2141"/>
                </a:lnTo>
                <a:lnTo>
                  <a:pt x="2118" y="2166"/>
                </a:lnTo>
                <a:lnTo>
                  <a:pt x="1947" y="2239"/>
                </a:lnTo>
                <a:lnTo>
                  <a:pt x="1801" y="2312"/>
                </a:lnTo>
                <a:lnTo>
                  <a:pt x="1680" y="2409"/>
                </a:lnTo>
                <a:lnTo>
                  <a:pt x="1558" y="2506"/>
                </a:lnTo>
                <a:lnTo>
                  <a:pt x="1485" y="2628"/>
                </a:lnTo>
                <a:lnTo>
                  <a:pt x="1242" y="2652"/>
                </a:lnTo>
                <a:lnTo>
                  <a:pt x="1023" y="2677"/>
                </a:lnTo>
                <a:lnTo>
                  <a:pt x="220" y="2677"/>
                </a:lnTo>
                <a:lnTo>
                  <a:pt x="171" y="2701"/>
                </a:lnTo>
                <a:lnTo>
                  <a:pt x="122" y="2725"/>
                </a:lnTo>
                <a:lnTo>
                  <a:pt x="74" y="2774"/>
                </a:lnTo>
                <a:lnTo>
                  <a:pt x="25" y="2823"/>
                </a:lnTo>
                <a:lnTo>
                  <a:pt x="1" y="2896"/>
                </a:lnTo>
                <a:lnTo>
                  <a:pt x="25" y="4258"/>
                </a:lnTo>
                <a:lnTo>
                  <a:pt x="49" y="5597"/>
                </a:lnTo>
                <a:lnTo>
                  <a:pt x="98" y="7349"/>
                </a:lnTo>
                <a:lnTo>
                  <a:pt x="195" y="9076"/>
                </a:lnTo>
                <a:lnTo>
                  <a:pt x="195" y="9879"/>
                </a:lnTo>
                <a:lnTo>
                  <a:pt x="195" y="10706"/>
                </a:lnTo>
                <a:lnTo>
                  <a:pt x="171" y="11534"/>
                </a:lnTo>
                <a:lnTo>
                  <a:pt x="122" y="12337"/>
                </a:lnTo>
                <a:lnTo>
                  <a:pt x="98" y="12994"/>
                </a:lnTo>
                <a:lnTo>
                  <a:pt x="98" y="13626"/>
                </a:lnTo>
                <a:lnTo>
                  <a:pt x="122" y="14916"/>
                </a:lnTo>
                <a:lnTo>
                  <a:pt x="122" y="14965"/>
                </a:lnTo>
                <a:lnTo>
                  <a:pt x="147" y="15038"/>
                </a:lnTo>
                <a:lnTo>
                  <a:pt x="195" y="15086"/>
                </a:lnTo>
                <a:lnTo>
                  <a:pt x="244" y="15111"/>
                </a:lnTo>
                <a:lnTo>
                  <a:pt x="268" y="15184"/>
                </a:lnTo>
                <a:lnTo>
                  <a:pt x="317" y="15257"/>
                </a:lnTo>
                <a:lnTo>
                  <a:pt x="487" y="15354"/>
                </a:lnTo>
                <a:lnTo>
                  <a:pt x="706" y="15403"/>
                </a:lnTo>
                <a:lnTo>
                  <a:pt x="925" y="15427"/>
                </a:lnTo>
                <a:lnTo>
                  <a:pt x="1144" y="15451"/>
                </a:lnTo>
                <a:lnTo>
                  <a:pt x="1607" y="15451"/>
                </a:lnTo>
                <a:lnTo>
                  <a:pt x="2020" y="15427"/>
                </a:lnTo>
                <a:lnTo>
                  <a:pt x="3140" y="15403"/>
                </a:lnTo>
                <a:lnTo>
                  <a:pt x="4259" y="15378"/>
                </a:lnTo>
                <a:lnTo>
                  <a:pt x="5378" y="15330"/>
                </a:lnTo>
                <a:lnTo>
                  <a:pt x="6498" y="15281"/>
                </a:lnTo>
                <a:lnTo>
                  <a:pt x="7617" y="15232"/>
                </a:lnTo>
                <a:lnTo>
                  <a:pt x="8736" y="15208"/>
                </a:lnTo>
                <a:lnTo>
                  <a:pt x="9855" y="15232"/>
                </a:lnTo>
                <a:lnTo>
                  <a:pt x="10950" y="15257"/>
                </a:lnTo>
                <a:lnTo>
                  <a:pt x="13140" y="15305"/>
                </a:lnTo>
                <a:lnTo>
                  <a:pt x="14235" y="15330"/>
                </a:lnTo>
                <a:lnTo>
                  <a:pt x="15330" y="15330"/>
                </a:lnTo>
                <a:lnTo>
                  <a:pt x="16449" y="15305"/>
                </a:lnTo>
                <a:lnTo>
                  <a:pt x="17544" y="15208"/>
                </a:lnTo>
                <a:lnTo>
                  <a:pt x="17642" y="15184"/>
                </a:lnTo>
                <a:lnTo>
                  <a:pt x="17715" y="15135"/>
                </a:lnTo>
                <a:lnTo>
                  <a:pt x="17788" y="15184"/>
                </a:lnTo>
                <a:lnTo>
                  <a:pt x="17861" y="15208"/>
                </a:lnTo>
                <a:lnTo>
                  <a:pt x="17958" y="15232"/>
                </a:lnTo>
                <a:lnTo>
                  <a:pt x="18031" y="15208"/>
                </a:lnTo>
                <a:lnTo>
                  <a:pt x="18104" y="15184"/>
                </a:lnTo>
                <a:lnTo>
                  <a:pt x="18177" y="15111"/>
                </a:lnTo>
                <a:lnTo>
                  <a:pt x="18201" y="15038"/>
                </a:lnTo>
                <a:lnTo>
                  <a:pt x="18226" y="14940"/>
                </a:lnTo>
                <a:lnTo>
                  <a:pt x="18201" y="14186"/>
                </a:lnTo>
                <a:lnTo>
                  <a:pt x="18226" y="13432"/>
                </a:lnTo>
                <a:lnTo>
                  <a:pt x="18250" y="12677"/>
                </a:lnTo>
                <a:lnTo>
                  <a:pt x="18250" y="11923"/>
                </a:lnTo>
                <a:lnTo>
                  <a:pt x="18201" y="8711"/>
                </a:lnTo>
                <a:lnTo>
                  <a:pt x="18177" y="7081"/>
                </a:lnTo>
                <a:lnTo>
                  <a:pt x="18104" y="5475"/>
                </a:lnTo>
                <a:lnTo>
                  <a:pt x="18080" y="4794"/>
                </a:lnTo>
                <a:lnTo>
                  <a:pt x="18031" y="4137"/>
                </a:lnTo>
                <a:lnTo>
                  <a:pt x="17982" y="3480"/>
                </a:lnTo>
                <a:lnTo>
                  <a:pt x="17982" y="2798"/>
                </a:lnTo>
                <a:lnTo>
                  <a:pt x="17982" y="2750"/>
                </a:lnTo>
                <a:lnTo>
                  <a:pt x="17958" y="2701"/>
                </a:lnTo>
                <a:lnTo>
                  <a:pt x="17885" y="2652"/>
                </a:lnTo>
                <a:lnTo>
                  <a:pt x="17788" y="2628"/>
                </a:lnTo>
                <a:lnTo>
                  <a:pt x="17715" y="2628"/>
                </a:lnTo>
                <a:lnTo>
                  <a:pt x="17617" y="2579"/>
                </a:lnTo>
                <a:lnTo>
                  <a:pt x="17496" y="2555"/>
                </a:lnTo>
                <a:lnTo>
                  <a:pt x="17106" y="2555"/>
                </a:lnTo>
                <a:lnTo>
                  <a:pt x="16839" y="2604"/>
                </a:lnTo>
                <a:lnTo>
                  <a:pt x="16595" y="2628"/>
                </a:lnTo>
                <a:lnTo>
                  <a:pt x="15963" y="2652"/>
                </a:lnTo>
                <a:lnTo>
                  <a:pt x="15330" y="2628"/>
                </a:lnTo>
                <a:lnTo>
                  <a:pt x="14990" y="2604"/>
                </a:lnTo>
                <a:lnTo>
                  <a:pt x="14625" y="2555"/>
                </a:lnTo>
                <a:lnTo>
                  <a:pt x="14260" y="2555"/>
                </a:lnTo>
                <a:lnTo>
                  <a:pt x="14089" y="2579"/>
                </a:lnTo>
                <a:lnTo>
                  <a:pt x="13943" y="2628"/>
                </a:lnTo>
                <a:lnTo>
                  <a:pt x="13846" y="2263"/>
                </a:lnTo>
                <a:lnTo>
                  <a:pt x="13773" y="1874"/>
                </a:lnTo>
                <a:lnTo>
                  <a:pt x="13700" y="1509"/>
                </a:lnTo>
                <a:lnTo>
                  <a:pt x="13578" y="1168"/>
                </a:lnTo>
                <a:lnTo>
                  <a:pt x="13505" y="1022"/>
                </a:lnTo>
                <a:lnTo>
                  <a:pt x="13432" y="852"/>
                </a:lnTo>
                <a:lnTo>
                  <a:pt x="13335" y="706"/>
                </a:lnTo>
                <a:lnTo>
                  <a:pt x="13238" y="584"/>
                </a:lnTo>
                <a:lnTo>
                  <a:pt x="13092" y="463"/>
                </a:lnTo>
                <a:lnTo>
                  <a:pt x="12946" y="341"/>
                </a:lnTo>
                <a:lnTo>
                  <a:pt x="12775" y="268"/>
                </a:lnTo>
                <a:lnTo>
                  <a:pt x="12581" y="171"/>
                </a:lnTo>
                <a:lnTo>
                  <a:pt x="12386" y="146"/>
                </a:lnTo>
                <a:lnTo>
                  <a:pt x="12191" y="98"/>
                </a:lnTo>
                <a:lnTo>
                  <a:pt x="11802" y="98"/>
                </a:lnTo>
                <a:lnTo>
                  <a:pt x="11023" y="122"/>
                </a:lnTo>
                <a:lnTo>
                  <a:pt x="10488" y="122"/>
                </a:lnTo>
                <a:lnTo>
                  <a:pt x="9953" y="98"/>
                </a:lnTo>
                <a:lnTo>
                  <a:pt x="8882" y="25"/>
                </a:lnTo>
                <a:lnTo>
                  <a:pt x="8298" y="0"/>
                </a:lnTo>
                <a:close/>
              </a:path>
            </a:pathLst>
          </a:custGeom>
          <a:solidFill>
            <a:schemeClr val="dk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28673" name="Picture 1" descr="C:\Users\7272~1\AppData\Local\Temp\Rar$DRa6876.26306\Родительский причал. Совместные праздники с родителями. д.с.40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997293" y="3698241"/>
            <a:ext cx="2145187" cy="286007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8674" name="Picture 2" descr="C:\Users\7272~1\AppData\Local\Temp\Rar$DRa6876.27669\Родительский причал. Мастер класс.д.с.43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123440" y="2225040"/>
            <a:ext cx="2092960" cy="209296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8675" name="Picture 3" descr="C:\Users\7272~1\AppData\Local\Temp\Rar$DRa6876.29965\родительский причал. Взаимодействие с учителем-логопедрм. д.с.40.jpe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74320" y="4277360"/>
            <a:ext cx="2042421" cy="199136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8676" name="Picture 4" descr="C:\Users\7272~1\AppData\Local\Temp\Rar$DRa6876.31191\Родительский причал .д.с.40.jp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9702524" y="4340105"/>
            <a:ext cx="2052320" cy="205232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8677" name="Picture 5" descr="C:\Users\7272~1\AppData\Local\Temp\Rar$DRa6876.32745\Родительский причал . Взаимодействие с инструкторам по физ.культуре  д.с.40.jp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416800" y="2143760"/>
            <a:ext cx="2316480" cy="231648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34" name="Капля 33"/>
          <p:cNvSpPr/>
          <p:nvPr/>
        </p:nvSpPr>
        <p:spPr>
          <a:xfrm>
            <a:off x="56506" y="2313185"/>
            <a:ext cx="1950720" cy="1808480"/>
          </a:xfrm>
          <a:prstGeom prst="teardrop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b="1" dirty="0" smtClean="0"/>
              <a:t>Тренинг с учителем-логопедом </a:t>
            </a:r>
          </a:p>
          <a:p>
            <a:pPr algn="ctr"/>
            <a:r>
              <a:rPr lang="ru-RU" sz="1200" dirty="0" smtClean="0"/>
              <a:t>«МЫ ВМЕСТЕ»</a:t>
            </a:r>
            <a:endParaRPr lang="ru-RU" sz="1200" dirty="0"/>
          </a:p>
        </p:txBody>
      </p:sp>
      <p:sp>
        <p:nvSpPr>
          <p:cNvPr id="52" name="Капля 51"/>
          <p:cNvSpPr/>
          <p:nvPr/>
        </p:nvSpPr>
        <p:spPr>
          <a:xfrm>
            <a:off x="9860280" y="2524751"/>
            <a:ext cx="1950720" cy="1808480"/>
          </a:xfrm>
          <a:prstGeom prst="teardrop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Педагог-психолог «День открытых дверей «</a:t>
            </a:r>
            <a:r>
              <a:rPr lang="ru-RU" sz="1200" b="1" dirty="0" smtClean="0">
                <a:solidFill>
                  <a:schemeClr val="tx1"/>
                </a:solidFill>
              </a:rPr>
              <a:t>ДОВЕРИЕ</a:t>
            </a:r>
            <a:r>
              <a:rPr lang="ru-RU" sz="1200" dirty="0" smtClean="0">
                <a:solidFill>
                  <a:schemeClr val="tx1"/>
                </a:solidFill>
              </a:rPr>
              <a:t>»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53" name="Капля 52"/>
          <p:cNvSpPr/>
          <p:nvPr/>
        </p:nvSpPr>
        <p:spPr>
          <a:xfrm>
            <a:off x="2418080" y="4368800"/>
            <a:ext cx="1981200" cy="1676400"/>
          </a:xfrm>
          <a:prstGeom prst="teardrop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b="1" dirty="0" smtClean="0"/>
              <a:t>Мастер-класс</a:t>
            </a:r>
            <a:r>
              <a:rPr lang="ru-RU" sz="1200" dirty="0" smtClean="0"/>
              <a:t> «Наши руки –наши знания»</a:t>
            </a:r>
            <a:endParaRPr lang="ru-RU" sz="1200" dirty="0"/>
          </a:p>
        </p:txBody>
      </p:sp>
      <p:sp>
        <p:nvSpPr>
          <p:cNvPr id="55" name="Капля 54"/>
          <p:cNvSpPr/>
          <p:nvPr/>
        </p:nvSpPr>
        <p:spPr>
          <a:xfrm>
            <a:off x="7132319" y="4643120"/>
            <a:ext cx="2077095" cy="1808480"/>
          </a:xfrm>
          <a:prstGeom prst="teardrop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b="1" dirty="0" smtClean="0"/>
              <a:t>Образовательный терренкур </a:t>
            </a:r>
            <a:r>
              <a:rPr lang="ru-RU" sz="1200" b="1" dirty="0" smtClean="0"/>
              <a:t>с </a:t>
            </a:r>
            <a:r>
              <a:rPr lang="ru-RU" sz="1200" dirty="0" smtClean="0"/>
              <a:t>инструктором </a:t>
            </a:r>
            <a:r>
              <a:rPr lang="ru-RU" sz="1200" dirty="0" smtClean="0"/>
              <a:t>по физической культуре </a:t>
            </a:r>
          </a:p>
          <a:p>
            <a:pPr algn="ctr"/>
            <a:r>
              <a:rPr lang="ru-RU" sz="1200" b="1" dirty="0" smtClean="0"/>
              <a:t>«Тропа здоровья»</a:t>
            </a:r>
            <a:endParaRPr lang="ru-RU" sz="1200" b="1" dirty="0"/>
          </a:p>
        </p:txBody>
      </p:sp>
      <p:sp>
        <p:nvSpPr>
          <p:cNvPr id="56" name="Капля 55"/>
          <p:cNvSpPr/>
          <p:nvPr/>
        </p:nvSpPr>
        <p:spPr>
          <a:xfrm>
            <a:off x="5091163" y="1798321"/>
            <a:ext cx="1950720" cy="1808480"/>
          </a:xfrm>
          <a:prstGeom prst="teardrop">
            <a:avLst/>
          </a:prstGeom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b="1" dirty="0" smtClean="0"/>
              <a:t>Музыкальная театрализация </a:t>
            </a:r>
            <a:r>
              <a:rPr lang="ru-RU" sz="1200" dirty="0" smtClean="0"/>
              <a:t>«Сказочный мир в семье»</a:t>
            </a:r>
            <a:endParaRPr lang="ru-RU" sz="1200" dirty="0"/>
          </a:p>
        </p:txBody>
      </p:sp>
      <p:sp>
        <p:nvSpPr>
          <p:cNvPr id="57" name="Прямоугольник 56"/>
          <p:cNvSpPr/>
          <p:nvPr/>
        </p:nvSpPr>
        <p:spPr>
          <a:xfrm>
            <a:off x="179335" y="165298"/>
            <a:ext cx="9030079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/>
              <a:t>Клуб </a:t>
            </a:r>
            <a:r>
              <a:rPr lang="ru-RU" b="1" dirty="0"/>
              <a:t>«Родительский причал» - </a:t>
            </a:r>
            <a:endParaRPr lang="ru-RU" b="1" dirty="0" smtClean="0"/>
          </a:p>
          <a:p>
            <a:pPr algn="ctr"/>
            <a:r>
              <a:rPr lang="ru-RU" b="1" dirty="0" smtClean="0"/>
              <a:t>взаимодействие </a:t>
            </a:r>
            <a:r>
              <a:rPr lang="ru-RU" b="1" dirty="0"/>
              <a:t>родителей со специалистами ДОО. </a:t>
            </a:r>
          </a:p>
          <a:p>
            <a:pPr algn="just"/>
            <a:r>
              <a:rPr lang="ru-RU" dirty="0"/>
              <a:t>   </a:t>
            </a:r>
            <a:r>
              <a:rPr lang="ru-RU" b="1" dirty="0"/>
              <a:t>Цель : </a:t>
            </a:r>
            <a:r>
              <a:rPr lang="ru-RU" dirty="0"/>
              <a:t>создание условий для формирования </a:t>
            </a:r>
            <a:r>
              <a:rPr lang="ru-RU" dirty="0" smtClean="0"/>
              <a:t>доверительных</a:t>
            </a:r>
          </a:p>
          <a:p>
            <a:pPr algn="just"/>
            <a:r>
              <a:rPr lang="ru-RU" dirty="0"/>
              <a:t> </a:t>
            </a:r>
            <a:r>
              <a:rPr lang="ru-RU" dirty="0" smtClean="0"/>
              <a:t>  и </a:t>
            </a:r>
            <a:r>
              <a:rPr lang="ru-RU" dirty="0"/>
              <a:t>ответственных отношений между </a:t>
            </a:r>
            <a:r>
              <a:rPr lang="ru-RU" dirty="0" smtClean="0"/>
              <a:t>родителями воспитанников </a:t>
            </a:r>
            <a:r>
              <a:rPr lang="ru-RU" dirty="0" smtClean="0"/>
              <a:t>и специалистами </a:t>
            </a:r>
            <a:r>
              <a:rPr lang="ru-RU" dirty="0"/>
              <a:t>ДОО</a:t>
            </a:r>
            <a:r>
              <a:rPr lang="ru-RU" dirty="0" smtClean="0"/>
              <a:t>,</a:t>
            </a:r>
          </a:p>
          <a:p>
            <a:pPr algn="just"/>
            <a:r>
              <a:rPr lang="ru-RU" dirty="0"/>
              <a:t> </a:t>
            </a:r>
            <a:r>
              <a:rPr lang="ru-RU" dirty="0" smtClean="0"/>
              <a:t>   </a:t>
            </a:r>
            <a:r>
              <a:rPr lang="ru-RU" dirty="0"/>
              <a:t>комплексное психолого-педагогическое сопровождение </a:t>
            </a:r>
            <a:r>
              <a:rPr lang="ru-RU" dirty="0" smtClean="0"/>
              <a:t>семей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19340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4">
            <a:extLst>
              <a:ext uri="{FF2B5EF4-FFF2-40B4-BE49-F238E27FC236}">
                <a16:creationId xmlns:a16="http://schemas.microsoft.com/office/drawing/2014/main" xmlns="" id="{B210F6F7-62F4-4E9E-9E2E-B49C62584D97}"/>
              </a:ext>
            </a:extLst>
          </p:cNvPr>
          <p:cNvSpPr/>
          <p:nvPr/>
        </p:nvSpPr>
        <p:spPr>
          <a:xfrm>
            <a:off x="0" y="0"/>
            <a:ext cx="8726371" cy="2052320"/>
          </a:xfrm>
          <a:custGeom>
            <a:avLst/>
            <a:gdLst>
              <a:gd name="connsiteX0" fmla="*/ 0 w 5880100"/>
              <a:gd name="connsiteY0" fmla="*/ 0 h 5880100"/>
              <a:gd name="connsiteX1" fmla="*/ 5880100 w 5880100"/>
              <a:gd name="connsiteY1" fmla="*/ 0 h 5880100"/>
              <a:gd name="connsiteX2" fmla="*/ 5880100 w 5880100"/>
              <a:gd name="connsiteY2" fmla="*/ 5880100 h 5880100"/>
              <a:gd name="connsiteX3" fmla="*/ 0 w 5880100"/>
              <a:gd name="connsiteY3" fmla="*/ 5880100 h 5880100"/>
              <a:gd name="connsiteX4" fmla="*/ 0 w 5880100"/>
              <a:gd name="connsiteY4" fmla="*/ 0 h 5880100"/>
              <a:gd name="connsiteX0" fmla="*/ 0 w 6615112"/>
              <a:gd name="connsiteY0" fmla="*/ 0 h 6615112"/>
              <a:gd name="connsiteX1" fmla="*/ 5880100 w 6615112"/>
              <a:gd name="connsiteY1" fmla="*/ 0 h 6615112"/>
              <a:gd name="connsiteX2" fmla="*/ 5880100 w 6615112"/>
              <a:gd name="connsiteY2" fmla="*/ 5880100 h 6615112"/>
              <a:gd name="connsiteX3" fmla="*/ 0 w 6615112"/>
              <a:gd name="connsiteY3" fmla="*/ 5880100 h 6615112"/>
              <a:gd name="connsiteX4" fmla="*/ 0 w 6615112"/>
              <a:gd name="connsiteY4" fmla="*/ 0 h 6615112"/>
              <a:gd name="connsiteX0" fmla="*/ 0 w 6145189"/>
              <a:gd name="connsiteY0" fmla="*/ 0 h 6082525"/>
              <a:gd name="connsiteX1" fmla="*/ 5880100 w 6145189"/>
              <a:gd name="connsiteY1" fmla="*/ 0 h 6082525"/>
              <a:gd name="connsiteX2" fmla="*/ 3898900 w 6145189"/>
              <a:gd name="connsiteY2" fmla="*/ 3035300 h 6082525"/>
              <a:gd name="connsiteX3" fmla="*/ 0 w 6145189"/>
              <a:gd name="connsiteY3" fmla="*/ 5880100 h 6082525"/>
              <a:gd name="connsiteX4" fmla="*/ 0 w 6145189"/>
              <a:gd name="connsiteY4" fmla="*/ 0 h 6082525"/>
              <a:gd name="connsiteX0" fmla="*/ 0 w 6085854"/>
              <a:gd name="connsiteY0" fmla="*/ 0 h 6135502"/>
              <a:gd name="connsiteX1" fmla="*/ 5880100 w 6085854"/>
              <a:gd name="connsiteY1" fmla="*/ 0 h 6135502"/>
              <a:gd name="connsiteX2" fmla="*/ 3898900 w 6085854"/>
              <a:gd name="connsiteY2" fmla="*/ 3035300 h 6135502"/>
              <a:gd name="connsiteX3" fmla="*/ 0 w 6085854"/>
              <a:gd name="connsiteY3" fmla="*/ 5880100 h 6135502"/>
              <a:gd name="connsiteX4" fmla="*/ 0 w 6085854"/>
              <a:gd name="connsiteY4" fmla="*/ 0 h 6135502"/>
              <a:gd name="connsiteX0" fmla="*/ 0 w 6113652"/>
              <a:gd name="connsiteY0" fmla="*/ 0 h 6259192"/>
              <a:gd name="connsiteX1" fmla="*/ 5880100 w 6113652"/>
              <a:gd name="connsiteY1" fmla="*/ 0 h 6259192"/>
              <a:gd name="connsiteX2" fmla="*/ 4318000 w 6113652"/>
              <a:gd name="connsiteY2" fmla="*/ 4038600 h 6259192"/>
              <a:gd name="connsiteX3" fmla="*/ 0 w 6113652"/>
              <a:gd name="connsiteY3" fmla="*/ 5880100 h 6259192"/>
              <a:gd name="connsiteX4" fmla="*/ 0 w 6113652"/>
              <a:gd name="connsiteY4" fmla="*/ 0 h 6259192"/>
              <a:gd name="connsiteX0" fmla="*/ 0 w 6124861"/>
              <a:gd name="connsiteY0" fmla="*/ 0 h 6340446"/>
              <a:gd name="connsiteX1" fmla="*/ 5880100 w 6124861"/>
              <a:gd name="connsiteY1" fmla="*/ 0 h 6340446"/>
              <a:gd name="connsiteX2" fmla="*/ 4318000 w 6124861"/>
              <a:gd name="connsiteY2" fmla="*/ 4038600 h 6340446"/>
              <a:gd name="connsiteX3" fmla="*/ 0 w 6124861"/>
              <a:gd name="connsiteY3" fmla="*/ 5880100 h 6340446"/>
              <a:gd name="connsiteX4" fmla="*/ 0 w 6124861"/>
              <a:gd name="connsiteY4" fmla="*/ 0 h 6340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24861" h="6340446">
                <a:moveTo>
                  <a:pt x="0" y="0"/>
                </a:moveTo>
                <a:lnTo>
                  <a:pt x="5880100" y="0"/>
                </a:lnTo>
                <a:cubicBezTo>
                  <a:pt x="6860117" y="980017"/>
                  <a:pt x="4599517" y="1788583"/>
                  <a:pt x="4318000" y="4038600"/>
                </a:cubicBezTo>
                <a:cubicBezTo>
                  <a:pt x="4036483" y="6288617"/>
                  <a:pt x="980017" y="6860117"/>
                  <a:pt x="0" y="5880100"/>
                </a:cubicBezTo>
                <a:lnTo>
                  <a:pt x="0" y="0"/>
                </a:lnTo>
                <a:close/>
              </a:path>
            </a:pathLst>
          </a:cu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i="1" dirty="0" smtClean="0"/>
          </a:p>
        </p:txBody>
      </p:sp>
      <p:sp>
        <p:nvSpPr>
          <p:cNvPr id="12" name="Прямоугольник 11"/>
          <p:cNvSpPr/>
          <p:nvPr/>
        </p:nvSpPr>
        <p:spPr>
          <a:xfrm>
            <a:off x="2204184" y="5303519"/>
            <a:ext cx="247369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/>
              <a:t> </a:t>
            </a:r>
            <a:endParaRPr lang="ru-RU" dirty="0"/>
          </a:p>
        </p:txBody>
      </p:sp>
      <p:grpSp>
        <p:nvGrpSpPr>
          <p:cNvPr id="2" name="Group 9">
            <a:extLst>
              <a:ext uri="{FF2B5EF4-FFF2-40B4-BE49-F238E27FC236}">
                <a16:creationId xmlns:a16="http://schemas.microsoft.com/office/drawing/2014/main" xmlns="" id="{2EB978E7-A19C-4366-B94D-EEC57A5AE8DC}"/>
              </a:ext>
            </a:extLst>
          </p:cNvPr>
          <p:cNvGrpSpPr/>
          <p:nvPr/>
        </p:nvGrpSpPr>
        <p:grpSpPr>
          <a:xfrm>
            <a:off x="9956801" y="185039"/>
            <a:ext cx="1950720" cy="1867281"/>
            <a:chOff x="6705600" y="1238250"/>
            <a:chExt cx="866776" cy="866776"/>
          </a:xfrm>
        </p:grpSpPr>
        <p:sp>
          <p:nvSpPr>
            <p:cNvPr id="20" name="Oval 8">
              <a:extLst>
                <a:ext uri="{FF2B5EF4-FFF2-40B4-BE49-F238E27FC236}">
                  <a16:creationId xmlns:a16="http://schemas.microsoft.com/office/drawing/2014/main" xmlns="" id="{4A46D147-0CC5-4735-AE1F-65BCC6509DC0}"/>
                </a:ext>
              </a:extLst>
            </p:cNvPr>
            <p:cNvSpPr/>
            <p:nvPr/>
          </p:nvSpPr>
          <p:spPr>
            <a:xfrm>
              <a:off x="6705600" y="1238250"/>
              <a:ext cx="866776" cy="866776"/>
            </a:xfrm>
            <a:prstGeom prst="ellipse">
              <a:avLst/>
            </a:prstGeom>
            <a:ln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1" name="Oval 7">
              <a:extLst>
                <a:ext uri="{FF2B5EF4-FFF2-40B4-BE49-F238E27FC236}">
                  <a16:creationId xmlns:a16="http://schemas.microsoft.com/office/drawing/2014/main" xmlns="" id="{97103F70-3F4B-4955-9BCE-2928397D6D93}"/>
                </a:ext>
              </a:extLst>
            </p:cNvPr>
            <p:cNvSpPr/>
            <p:nvPr/>
          </p:nvSpPr>
          <p:spPr>
            <a:xfrm>
              <a:off x="6800851" y="1333501"/>
              <a:ext cx="676275" cy="676275"/>
            </a:xfrm>
            <a:prstGeom prst="ellipse">
              <a:avLst/>
            </a:prstGeom>
            <a:ln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ru-RU" sz="6000" dirty="0" smtClean="0"/>
                <a:t>5</a:t>
              </a:r>
              <a:endParaRPr lang="en-US" sz="6000" dirty="0"/>
            </a:p>
          </p:txBody>
        </p:sp>
      </p:grpSp>
      <p:pic>
        <p:nvPicPr>
          <p:cNvPr id="33" name="Рисунок 32">
            <a:extLst>
              <a:ext uri="{FF2B5EF4-FFF2-40B4-BE49-F238E27FC236}">
                <a16:creationId xmlns:a16="http://schemas.microsoft.com/office/drawing/2014/main" xmlns="" id="{F5A915BA-698F-4574-83F2-CC987DC1D5F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03796" y="191349"/>
            <a:ext cx="1888568" cy="509614"/>
          </a:xfrm>
          <a:prstGeom prst="rect">
            <a:avLst/>
          </a:prstGeom>
        </p:spPr>
      </p:pic>
      <p:grpSp>
        <p:nvGrpSpPr>
          <p:cNvPr id="3" name="Google Shape;541;p41"/>
          <p:cNvGrpSpPr/>
          <p:nvPr/>
        </p:nvGrpSpPr>
        <p:grpSpPr>
          <a:xfrm>
            <a:off x="10520181" y="1294629"/>
            <a:ext cx="853439" cy="1366662"/>
            <a:chOff x="9901824" y="937343"/>
            <a:chExt cx="744273" cy="793950"/>
          </a:xfrm>
        </p:grpSpPr>
        <p:grpSp>
          <p:nvGrpSpPr>
            <p:cNvPr id="4" name="Google Shape;542;p41"/>
            <p:cNvGrpSpPr/>
            <p:nvPr/>
          </p:nvGrpSpPr>
          <p:grpSpPr>
            <a:xfrm>
              <a:off x="9901824" y="937343"/>
              <a:ext cx="744273" cy="793950"/>
              <a:chOff x="9901824" y="937343"/>
              <a:chExt cx="744273" cy="793950"/>
            </a:xfrm>
          </p:grpSpPr>
          <p:sp>
            <p:nvSpPr>
              <p:cNvPr id="42" name="Google Shape;543;p41"/>
              <p:cNvSpPr/>
              <p:nvPr/>
            </p:nvSpPr>
            <p:spPr>
              <a:xfrm>
                <a:off x="10463799" y="1043794"/>
                <a:ext cx="76068" cy="75403"/>
              </a:xfrm>
              <a:custGeom>
                <a:avLst/>
                <a:gdLst/>
                <a:ahLst/>
                <a:cxnLst/>
                <a:rect l="l" t="t" r="r" b="b"/>
                <a:pathLst>
                  <a:path w="133" h="132" extrusionOk="0">
                    <a:moveTo>
                      <a:pt x="12" y="132"/>
                    </a:moveTo>
                    <a:cubicBezTo>
                      <a:pt x="9" y="132"/>
                      <a:pt x="6" y="131"/>
                      <a:pt x="4" y="128"/>
                    </a:cubicBezTo>
                    <a:cubicBezTo>
                      <a:pt x="0" y="124"/>
                      <a:pt x="0" y="118"/>
                      <a:pt x="4" y="114"/>
                    </a:cubicBezTo>
                    <a:cubicBezTo>
                      <a:pt x="113" y="4"/>
                      <a:pt x="113" y="4"/>
                      <a:pt x="113" y="4"/>
                    </a:cubicBezTo>
                    <a:cubicBezTo>
                      <a:pt x="118" y="0"/>
                      <a:pt x="124" y="0"/>
                      <a:pt x="128" y="4"/>
                    </a:cubicBezTo>
                    <a:cubicBezTo>
                      <a:pt x="133" y="8"/>
                      <a:pt x="133" y="15"/>
                      <a:pt x="128" y="19"/>
                    </a:cubicBezTo>
                    <a:cubicBezTo>
                      <a:pt x="19" y="128"/>
                      <a:pt x="19" y="128"/>
                      <a:pt x="19" y="128"/>
                    </a:cubicBezTo>
                    <a:cubicBezTo>
                      <a:pt x="17" y="131"/>
                      <a:pt x="14" y="132"/>
                      <a:pt x="12" y="132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4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" name="Google Shape;544;p41"/>
              <p:cNvSpPr/>
              <p:nvPr/>
            </p:nvSpPr>
            <p:spPr>
              <a:xfrm>
                <a:off x="10546077" y="1303491"/>
                <a:ext cx="100020" cy="11976"/>
              </a:xfrm>
              <a:custGeom>
                <a:avLst/>
                <a:gdLst/>
                <a:ahLst/>
                <a:cxnLst/>
                <a:rect l="l" t="t" r="r" b="b"/>
                <a:pathLst>
                  <a:path w="175" h="21" extrusionOk="0">
                    <a:moveTo>
                      <a:pt x="165" y="21"/>
                    </a:moveTo>
                    <a:cubicBezTo>
                      <a:pt x="10" y="21"/>
                      <a:pt x="10" y="21"/>
                      <a:pt x="10" y="21"/>
                    </a:cubicBezTo>
                    <a:cubicBezTo>
                      <a:pt x="4" y="21"/>
                      <a:pt x="0" y="17"/>
                      <a:pt x="0" y="11"/>
                    </a:cubicBezTo>
                    <a:cubicBezTo>
                      <a:pt x="0" y="5"/>
                      <a:pt x="4" y="0"/>
                      <a:pt x="10" y="0"/>
                    </a:cubicBezTo>
                    <a:cubicBezTo>
                      <a:pt x="165" y="0"/>
                      <a:pt x="165" y="0"/>
                      <a:pt x="165" y="0"/>
                    </a:cubicBezTo>
                    <a:cubicBezTo>
                      <a:pt x="171" y="0"/>
                      <a:pt x="175" y="5"/>
                      <a:pt x="175" y="11"/>
                    </a:cubicBezTo>
                    <a:cubicBezTo>
                      <a:pt x="175" y="17"/>
                      <a:pt x="171" y="21"/>
                      <a:pt x="165" y="2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4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" name="Google Shape;545;p41"/>
              <p:cNvSpPr/>
              <p:nvPr/>
            </p:nvSpPr>
            <p:spPr>
              <a:xfrm>
                <a:off x="10463799" y="1499539"/>
                <a:ext cx="76068" cy="75625"/>
              </a:xfrm>
              <a:custGeom>
                <a:avLst/>
                <a:gdLst/>
                <a:ahLst/>
                <a:cxnLst/>
                <a:rect l="l" t="t" r="r" b="b"/>
                <a:pathLst>
                  <a:path w="133" h="132" extrusionOk="0">
                    <a:moveTo>
                      <a:pt x="121" y="132"/>
                    </a:moveTo>
                    <a:cubicBezTo>
                      <a:pt x="119" y="132"/>
                      <a:pt x="116" y="131"/>
                      <a:pt x="114" y="129"/>
                    </a:cubicBezTo>
                    <a:cubicBezTo>
                      <a:pt x="5" y="19"/>
                      <a:pt x="5" y="19"/>
                      <a:pt x="5" y="19"/>
                    </a:cubicBezTo>
                    <a:cubicBezTo>
                      <a:pt x="0" y="15"/>
                      <a:pt x="0" y="8"/>
                      <a:pt x="5" y="4"/>
                    </a:cubicBezTo>
                    <a:cubicBezTo>
                      <a:pt x="9" y="0"/>
                      <a:pt x="15" y="0"/>
                      <a:pt x="20" y="4"/>
                    </a:cubicBezTo>
                    <a:cubicBezTo>
                      <a:pt x="129" y="114"/>
                      <a:pt x="129" y="114"/>
                      <a:pt x="129" y="114"/>
                    </a:cubicBezTo>
                    <a:cubicBezTo>
                      <a:pt x="133" y="118"/>
                      <a:pt x="133" y="124"/>
                      <a:pt x="129" y="129"/>
                    </a:cubicBezTo>
                    <a:cubicBezTo>
                      <a:pt x="127" y="131"/>
                      <a:pt x="124" y="132"/>
                      <a:pt x="121" y="132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4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" name="Google Shape;546;p41"/>
              <p:cNvSpPr/>
              <p:nvPr/>
            </p:nvSpPr>
            <p:spPr>
              <a:xfrm>
                <a:off x="10008275" y="1500204"/>
                <a:ext cx="76068" cy="74960"/>
              </a:xfrm>
              <a:custGeom>
                <a:avLst/>
                <a:gdLst/>
                <a:ahLst/>
                <a:cxnLst/>
                <a:rect l="l" t="t" r="r" b="b"/>
                <a:pathLst>
                  <a:path w="133" h="131" extrusionOk="0">
                    <a:moveTo>
                      <a:pt x="12" y="131"/>
                    </a:moveTo>
                    <a:cubicBezTo>
                      <a:pt x="9" y="131"/>
                      <a:pt x="7" y="130"/>
                      <a:pt x="5" y="128"/>
                    </a:cubicBezTo>
                    <a:cubicBezTo>
                      <a:pt x="0" y="124"/>
                      <a:pt x="0" y="117"/>
                      <a:pt x="5" y="113"/>
                    </a:cubicBezTo>
                    <a:cubicBezTo>
                      <a:pt x="114" y="4"/>
                      <a:pt x="114" y="4"/>
                      <a:pt x="114" y="4"/>
                    </a:cubicBezTo>
                    <a:cubicBezTo>
                      <a:pt x="118" y="0"/>
                      <a:pt x="125" y="0"/>
                      <a:pt x="129" y="4"/>
                    </a:cubicBezTo>
                    <a:cubicBezTo>
                      <a:pt x="133" y="8"/>
                      <a:pt x="133" y="14"/>
                      <a:pt x="129" y="19"/>
                    </a:cubicBezTo>
                    <a:cubicBezTo>
                      <a:pt x="19" y="128"/>
                      <a:pt x="19" y="128"/>
                      <a:pt x="19" y="128"/>
                    </a:cubicBezTo>
                    <a:cubicBezTo>
                      <a:pt x="17" y="130"/>
                      <a:pt x="15" y="131"/>
                      <a:pt x="12" y="13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4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" name="Google Shape;547;p41"/>
              <p:cNvSpPr/>
              <p:nvPr/>
            </p:nvSpPr>
            <p:spPr>
              <a:xfrm>
                <a:off x="9901824" y="1303934"/>
                <a:ext cx="100020" cy="11976"/>
              </a:xfrm>
              <a:custGeom>
                <a:avLst/>
                <a:gdLst/>
                <a:ahLst/>
                <a:cxnLst/>
                <a:rect l="l" t="t" r="r" b="b"/>
                <a:pathLst>
                  <a:path w="175" h="21" extrusionOk="0">
                    <a:moveTo>
                      <a:pt x="165" y="21"/>
                    </a:moveTo>
                    <a:cubicBezTo>
                      <a:pt x="10" y="21"/>
                      <a:pt x="10" y="21"/>
                      <a:pt x="10" y="21"/>
                    </a:cubicBezTo>
                    <a:cubicBezTo>
                      <a:pt x="4" y="21"/>
                      <a:pt x="0" y="16"/>
                      <a:pt x="0" y="10"/>
                    </a:cubicBezTo>
                    <a:cubicBezTo>
                      <a:pt x="0" y="5"/>
                      <a:pt x="4" y="0"/>
                      <a:pt x="10" y="0"/>
                    </a:cubicBezTo>
                    <a:cubicBezTo>
                      <a:pt x="165" y="0"/>
                      <a:pt x="165" y="0"/>
                      <a:pt x="165" y="0"/>
                    </a:cubicBezTo>
                    <a:cubicBezTo>
                      <a:pt x="171" y="0"/>
                      <a:pt x="175" y="5"/>
                      <a:pt x="175" y="10"/>
                    </a:cubicBezTo>
                    <a:cubicBezTo>
                      <a:pt x="175" y="16"/>
                      <a:pt x="171" y="21"/>
                      <a:pt x="165" y="2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4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" name="Google Shape;548;p41"/>
              <p:cNvSpPr/>
              <p:nvPr/>
            </p:nvSpPr>
            <p:spPr>
              <a:xfrm>
                <a:off x="10008275" y="1044237"/>
                <a:ext cx="75403" cy="74960"/>
              </a:xfrm>
              <a:custGeom>
                <a:avLst/>
                <a:gdLst/>
                <a:ahLst/>
                <a:cxnLst/>
                <a:rect l="l" t="t" r="r" b="b"/>
                <a:pathLst>
                  <a:path w="132" h="131" extrusionOk="0">
                    <a:moveTo>
                      <a:pt x="121" y="131"/>
                    </a:moveTo>
                    <a:cubicBezTo>
                      <a:pt x="118" y="131"/>
                      <a:pt x="115" y="130"/>
                      <a:pt x="113" y="128"/>
                    </a:cubicBezTo>
                    <a:cubicBezTo>
                      <a:pt x="4" y="19"/>
                      <a:pt x="4" y="19"/>
                      <a:pt x="4" y="19"/>
                    </a:cubicBezTo>
                    <a:cubicBezTo>
                      <a:pt x="0" y="14"/>
                      <a:pt x="0" y="8"/>
                      <a:pt x="4" y="4"/>
                    </a:cubicBezTo>
                    <a:cubicBezTo>
                      <a:pt x="8" y="0"/>
                      <a:pt x="15" y="0"/>
                      <a:pt x="19" y="4"/>
                    </a:cubicBezTo>
                    <a:cubicBezTo>
                      <a:pt x="128" y="113"/>
                      <a:pt x="128" y="113"/>
                      <a:pt x="128" y="113"/>
                    </a:cubicBezTo>
                    <a:cubicBezTo>
                      <a:pt x="132" y="117"/>
                      <a:pt x="132" y="124"/>
                      <a:pt x="128" y="128"/>
                    </a:cubicBezTo>
                    <a:cubicBezTo>
                      <a:pt x="126" y="130"/>
                      <a:pt x="124" y="131"/>
                      <a:pt x="121" y="13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4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8" name="Google Shape;549;p41"/>
              <p:cNvSpPr/>
              <p:nvPr/>
            </p:nvSpPr>
            <p:spPr>
              <a:xfrm>
                <a:off x="10267751" y="937343"/>
                <a:ext cx="11976" cy="100020"/>
              </a:xfrm>
              <a:custGeom>
                <a:avLst/>
                <a:gdLst/>
                <a:ahLst/>
                <a:cxnLst/>
                <a:rect l="l" t="t" r="r" b="b"/>
                <a:pathLst>
                  <a:path w="21" h="175" extrusionOk="0">
                    <a:moveTo>
                      <a:pt x="11" y="175"/>
                    </a:moveTo>
                    <a:cubicBezTo>
                      <a:pt x="5" y="175"/>
                      <a:pt x="0" y="171"/>
                      <a:pt x="0" y="165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4"/>
                      <a:pt x="5" y="0"/>
                      <a:pt x="11" y="0"/>
                    </a:cubicBezTo>
                    <a:cubicBezTo>
                      <a:pt x="17" y="0"/>
                      <a:pt x="21" y="4"/>
                      <a:pt x="21" y="10"/>
                    </a:cubicBezTo>
                    <a:cubicBezTo>
                      <a:pt x="21" y="165"/>
                      <a:pt x="21" y="165"/>
                      <a:pt x="21" y="165"/>
                    </a:cubicBezTo>
                    <a:cubicBezTo>
                      <a:pt x="21" y="171"/>
                      <a:pt x="17" y="175"/>
                      <a:pt x="11" y="175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4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9" name="Google Shape;550;p41"/>
              <p:cNvSpPr/>
              <p:nvPr/>
            </p:nvSpPr>
            <p:spPr>
              <a:xfrm>
                <a:off x="10183698" y="1629498"/>
                <a:ext cx="180080" cy="25726"/>
              </a:xfrm>
              <a:custGeom>
                <a:avLst/>
                <a:gdLst/>
                <a:ahLst/>
                <a:cxnLst/>
                <a:rect l="l" t="t" r="r" b="b"/>
                <a:pathLst>
                  <a:path w="315" h="45" extrusionOk="0">
                    <a:moveTo>
                      <a:pt x="0" y="23"/>
                    </a:moveTo>
                    <a:cubicBezTo>
                      <a:pt x="0" y="35"/>
                      <a:pt x="10" y="45"/>
                      <a:pt x="22" y="45"/>
                    </a:cubicBezTo>
                    <a:cubicBezTo>
                      <a:pt x="293" y="45"/>
                      <a:pt x="293" y="45"/>
                      <a:pt x="293" y="45"/>
                    </a:cubicBezTo>
                    <a:cubicBezTo>
                      <a:pt x="305" y="45"/>
                      <a:pt x="315" y="35"/>
                      <a:pt x="315" y="23"/>
                    </a:cubicBezTo>
                    <a:cubicBezTo>
                      <a:pt x="315" y="23"/>
                      <a:pt x="315" y="23"/>
                      <a:pt x="315" y="23"/>
                    </a:cubicBezTo>
                    <a:cubicBezTo>
                      <a:pt x="315" y="11"/>
                      <a:pt x="305" y="0"/>
                      <a:pt x="293" y="0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10" y="0"/>
                      <a:pt x="0" y="11"/>
                      <a:pt x="0" y="23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4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" name="Google Shape;551;p41"/>
              <p:cNvSpPr/>
              <p:nvPr/>
            </p:nvSpPr>
            <p:spPr>
              <a:xfrm>
                <a:off x="10188356" y="1667865"/>
                <a:ext cx="170766" cy="25726"/>
              </a:xfrm>
              <a:custGeom>
                <a:avLst/>
                <a:gdLst/>
                <a:ahLst/>
                <a:cxnLst/>
                <a:rect l="l" t="t" r="r" b="b"/>
                <a:pathLst>
                  <a:path w="299" h="45" extrusionOk="0">
                    <a:moveTo>
                      <a:pt x="0" y="22"/>
                    </a:moveTo>
                    <a:cubicBezTo>
                      <a:pt x="0" y="35"/>
                      <a:pt x="10" y="45"/>
                      <a:pt x="23" y="45"/>
                    </a:cubicBezTo>
                    <a:cubicBezTo>
                      <a:pt x="277" y="45"/>
                      <a:pt x="277" y="45"/>
                      <a:pt x="277" y="45"/>
                    </a:cubicBezTo>
                    <a:cubicBezTo>
                      <a:pt x="289" y="45"/>
                      <a:pt x="299" y="35"/>
                      <a:pt x="299" y="22"/>
                    </a:cubicBezTo>
                    <a:cubicBezTo>
                      <a:pt x="299" y="22"/>
                      <a:pt x="299" y="22"/>
                      <a:pt x="299" y="22"/>
                    </a:cubicBezTo>
                    <a:cubicBezTo>
                      <a:pt x="299" y="10"/>
                      <a:pt x="289" y="0"/>
                      <a:pt x="277" y="0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10" y="0"/>
                      <a:pt x="0" y="10"/>
                      <a:pt x="0" y="22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4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" name="Google Shape;552;p41"/>
              <p:cNvSpPr/>
              <p:nvPr/>
            </p:nvSpPr>
            <p:spPr>
              <a:xfrm>
                <a:off x="10212751" y="1705567"/>
                <a:ext cx="122419" cy="25726"/>
              </a:xfrm>
              <a:custGeom>
                <a:avLst/>
                <a:gdLst/>
                <a:ahLst/>
                <a:cxnLst/>
                <a:rect l="l" t="t" r="r" b="b"/>
                <a:pathLst>
                  <a:path w="214" h="45" extrusionOk="0">
                    <a:moveTo>
                      <a:pt x="0" y="23"/>
                    </a:moveTo>
                    <a:cubicBezTo>
                      <a:pt x="0" y="35"/>
                      <a:pt x="10" y="45"/>
                      <a:pt x="22" y="45"/>
                    </a:cubicBezTo>
                    <a:cubicBezTo>
                      <a:pt x="192" y="45"/>
                      <a:pt x="192" y="45"/>
                      <a:pt x="192" y="45"/>
                    </a:cubicBezTo>
                    <a:cubicBezTo>
                      <a:pt x="204" y="45"/>
                      <a:pt x="214" y="35"/>
                      <a:pt x="214" y="23"/>
                    </a:cubicBezTo>
                    <a:cubicBezTo>
                      <a:pt x="214" y="23"/>
                      <a:pt x="214" y="23"/>
                      <a:pt x="214" y="23"/>
                    </a:cubicBezTo>
                    <a:cubicBezTo>
                      <a:pt x="214" y="10"/>
                      <a:pt x="204" y="0"/>
                      <a:pt x="192" y="0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10" y="0"/>
                      <a:pt x="0" y="10"/>
                      <a:pt x="0" y="23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4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36" name="Google Shape;553;p41"/>
            <p:cNvSpPr/>
            <p:nvPr/>
          </p:nvSpPr>
          <p:spPr>
            <a:xfrm>
              <a:off x="10047751" y="1220548"/>
              <a:ext cx="217117" cy="205362"/>
            </a:xfrm>
            <a:custGeom>
              <a:avLst/>
              <a:gdLst/>
              <a:ahLst/>
              <a:cxnLst/>
              <a:rect l="l" t="t" r="r" b="b"/>
              <a:pathLst>
                <a:path w="380" h="359" extrusionOk="0">
                  <a:moveTo>
                    <a:pt x="63" y="268"/>
                  </a:moveTo>
                  <a:cubicBezTo>
                    <a:pt x="78" y="297"/>
                    <a:pt x="94" y="324"/>
                    <a:pt x="108" y="350"/>
                  </a:cubicBezTo>
                  <a:cubicBezTo>
                    <a:pt x="113" y="359"/>
                    <a:pt x="113" y="359"/>
                    <a:pt x="113" y="359"/>
                  </a:cubicBezTo>
                  <a:cubicBezTo>
                    <a:pt x="380" y="206"/>
                    <a:pt x="380" y="206"/>
                    <a:pt x="380" y="206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2" y="2"/>
                    <a:pt x="22" y="4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0" y="88"/>
                    <a:pt x="14" y="174"/>
                    <a:pt x="63" y="268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" name="Google Shape;554;p41"/>
            <p:cNvSpPr/>
            <p:nvPr/>
          </p:nvSpPr>
          <p:spPr>
            <a:xfrm>
              <a:off x="10063053" y="1080830"/>
              <a:ext cx="205806" cy="250604"/>
            </a:xfrm>
            <a:custGeom>
              <a:avLst/>
              <a:gdLst/>
              <a:ahLst/>
              <a:cxnLst/>
              <a:rect l="l" t="t" r="r" b="b"/>
              <a:pathLst>
                <a:path w="360" h="438" extrusionOk="0">
                  <a:moveTo>
                    <a:pt x="0" y="230"/>
                  </a:moveTo>
                  <a:cubicBezTo>
                    <a:pt x="360" y="438"/>
                    <a:pt x="360" y="438"/>
                    <a:pt x="360" y="438"/>
                  </a:cubicBezTo>
                  <a:cubicBezTo>
                    <a:pt x="360" y="0"/>
                    <a:pt x="360" y="0"/>
                    <a:pt x="360" y="0"/>
                  </a:cubicBezTo>
                  <a:cubicBezTo>
                    <a:pt x="174" y="3"/>
                    <a:pt x="40" y="117"/>
                    <a:pt x="0" y="23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" name="Google Shape;555;p41"/>
            <p:cNvSpPr/>
            <p:nvPr/>
          </p:nvSpPr>
          <p:spPr>
            <a:xfrm>
              <a:off x="10276400" y="1080830"/>
              <a:ext cx="208024" cy="250604"/>
            </a:xfrm>
            <a:custGeom>
              <a:avLst/>
              <a:gdLst/>
              <a:ahLst/>
              <a:cxnLst/>
              <a:rect l="l" t="t" r="r" b="b"/>
              <a:pathLst>
                <a:path w="364" h="438" extrusionOk="0">
                  <a:moveTo>
                    <a:pt x="0" y="0"/>
                  </a:moveTo>
                  <a:cubicBezTo>
                    <a:pt x="0" y="438"/>
                    <a:pt x="0" y="438"/>
                    <a:pt x="0" y="438"/>
                  </a:cubicBezTo>
                  <a:cubicBezTo>
                    <a:pt x="364" y="228"/>
                    <a:pt x="364" y="228"/>
                    <a:pt x="364" y="228"/>
                  </a:cubicBezTo>
                  <a:cubicBezTo>
                    <a:pt x="323" y="115"/>
                    <a:pt x="186" y="1"/>
                    <a:pt x="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" name="Google Shape;556;p41"/>
            <p:cNvSpPr/>
            <p:nvPr/>
          </p:nvSpPr>
          <p:spPr>
            <a:xfrm>
              <a:off x="10280392" y="1218773"/>
              <a:ext cx="219334" cy="208689"/>
            </a:xfrm>
            <a:custGeom>
              <a:avLst/>
              <a:gdLst/>
              <a:ahLst/>
              <a:cxnLst/>
              <a:rect l="l" t="t" r="r" b="b"/>
              <a:pathLst>
                <a:path w="384" h="365" extrusionOk="0">
                  <a:moveTo>
                    <a:pt x="322" y="271"/>
                  </a:moveTo>
                  <a:cubicBezTo>
                    <a:pt x="371" y="177"/>
                    <a:pt x="384" y="91"/>
                    <a:pt x="364" y="9"/>
                  </a:cubicBezTo>
                  <a:cubicBezTo>
                    <a:pt x="364" y="9"/>
                    <a:pt x="364" y="9"/>
                    <a:pt x="364" y="9"/>
                  </a:cubicBezTo>
                  <a:cubicBezTo>
                    <a:pt x="363" y="6"/>
                    <a:pt x="362" y="3"/>
                    <a:pt x="361" y="0"/>
                  </a:cubicBezTo>
                  <a:cubicBezTo>
                    <a:pt x="0" y="209"/>
                    <a:pt x="0" y="209"/>
                    <a:pt x="0" y="209"/>
                  </a:cubicBezTo>
                  <a:cubicBezTo>
                    <a:pt x="270" y="365"/>
                    <a:pt x="270" y="365"/>
                    <a:pt x="270" y="365"/>
                  </a:cubicBezTo>
                  <a:cubicBezTo>
                    <a:pt x="277" y="353"/>
                    <a:pt x="277" y="353"/>
                    <a:pt x="277" y="353"/>
                  </a:cubicBezTo>
                  <a:cubicBezTo>
                    <a:pt x="291" y="327"/>
                    <a:pt x="307" y="300"/>
                    <a:pt x="322" y="27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" name="Google Shape;557;p41"/>
            <p:cNvSpPr/>
            <p:nvPr/>
          </p:nvSpPr>
          <p:spPr>
            <a:xfrm>
              <a:off x="10116279" y="1345184"/>
              <a:ext cx="152580" cy="267681"/>
            </a:xfrm>
            <a:custGeom>
              <a:avLst/>
              <a:gdLst/>
              <a:ahLst/>
              <a:cxnLst/>
              <a:rect l="l" t="t" r="r" b="b"/>
              <a:pathLst>
                <a:path w="267" h="468" extrusionOk="0">
                  <a:moveTo>
                    <a:pt x="267" y="468"/>
                  </a:moveTo>
                  <a:cubicBezTo>
                    <a:pt x="267" y="0"/>
                    <a:pt x="267" y="0"/>
                    <a:pt x="267" y="0"/>
                  </a:cubicBezTo>
                  <a:cubicBezTo>
                    <a:pt x="0" y="153"/>
                    <a:pt x="0" y="153"/>
                    <a:pt x="0" y="153"/>
                  </a:cubicBezTo>
                  <a:cubicBezTo>
                    <a:pt x="21" y="190"/>
                    <a:pt x="42" y="229"/>
                    <a:pt x="61" y="272"/>
                  </a:cubicBezTo>
                  <a:cubicBezTo>
                    <a:pt x="75" y="304"/>
                    <a:pt x="83" y="346"/>
                    <a:pt x="90" y="383"/>
                  </a:cubicBezTo>
                  <a:cubicBezTo>
                    <a:pt x="92" y="398"/>
                    <a:pt x="95" y="411"/>
                    <a:pt x="98" y="424"/>
                  </a:cubicBezTo>
                  <a:cubicBezTo>
                    <a:pt x="105" y="457"/>
                    <a:pt x="116" y="466"/>
                    <a:pt x="151" y="467"/>
                  </a:cubicBezTo>
                  <a:cubicBezTo>
                    <a:pt x="157" y="468"/>
                    <a:pt x="157" y="468"/>
                    <a:pt x="157" y="468"/>
                  </a:cubicBezTo>
                  <a:cubicBezTo>
                    <a:pt x="185" y="468"/>
                    <a:pt x="185" y="468"/>
                    <a:pt x="185" y="468"/>
                  </a:cubicBezTo>
                  <a:cubicBezTo>
                    <a:pt x="237" y="468"/>
                    <a:pt x="237" y="468"/>
                    <a:pt x="237" y="468"/>
                  </a:cubicBezTo>
                  <a:cubicBezTo>
                    <a:pt x="247" y="468"/>
                    <a:pt x="257" y="468"/>
                    <a:pt x="267" y="468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" name="Google Shape;558;p41"/>
            <p:cNvSpPr/>
            <p:nvPr/>
          </p:nvSpPr>
          <p:spPr>
            <a:xfrm>
              <a:off x="10276400" y="1345184"/>
              <a:ext cx="154798" cy="267681"/>
            </a:xfrm>
            <a:custGeom>
              <a:avLst/>
              <a:gdLst/>
              <a:ahLst/>
              <a:cxnLst/>
              <a:rect l="l" t="t" r="r" b="b"/>
              <a:pathLst>
                <a:path w="271" h="468" extrusionOk="0">
                  <a:moveTo>
                    <a:pt x="174" y="424"/>
                  </a:moveTo>
                  <a:cubicBezTo>
                    <a:pt x="177" y="411"/>
                    <a:pt x="180" y="398"/>
                    <a:pt x="182" y="383"/>
                  </a:cubicBezTo>
                  <a:cubicBezTo>
                    <a:pt x="189" y="346"/>
                    <a:pt x="197" y="304"/>
                    <a:pt x="211" y="272"/>
                  </a:cubicBezTo>
                  <a:cubicBezTo>
                    <a:pt x="230" y="229"/>
                    <a:pt x="251" y="191"/>
                    <a:pt x="271" y="15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67"/>
                    <a:pt x="0" y="467"/>
                    <a:pt x="0" y="467"/>
                  </a:cubicBezTo>
                  <a:cubicBezTo>
                    <a:pt x="5" y="467"/>
                    <a:pt x="5" y="467"/>
                    <a:pt x="5" y="467"/>
                  </a:cubicBezTo>
                  <a:cubicBezTo>
                    <a:pt x="5" y="468"/>
                    <a:pt x="5" y="468"/>
                    <a:pt x="5" y="468"/>
                  </a:cubicBezTo>
                  <a:cubicBezTo>
                    <a:pt x="5" y="468"/>
                    <a:pt x="5" y="468"/>
                    <a:pt x="5" y="468"/>
                  </a:cubicBezTo>
                  <a:cubicBezTo>
                    <a:pt x="15" y="468"/>
                    <a:pt x="25" y="468"/>
                    <a:pt x="36" y="468"/>
                  </a:cubicBezTo>
                  <a:cubicBezTo>
                    <a:pt x="42" y="467"/>
                    <a:pt x="42" y="467"/>
                    <a:pt x="42" y="467"/>
                  </a:cubicBezTo>
                  <a:cubicBezTo>
                    <a:pt x="94" y="468"/>
                    <a:pt x="94" y="468"/>
                    <a:pt x="94" y="468"/>
                  </a:cubicBezTo>
                  <a:cubicBezTo>
                    <a:pt x="101" y="468"/>
                    <a:pt x="108" y="468"/>
                    <a:pt x="115" y="467"/>
                  </a:cubicBezTo>
                  <a:cubicBezTo>
                    <a:pt x="157" y="467"/>
                    <a:pt x="167" y="456"/>
                    <a:pt x="174" y="424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7" name="Стрелка: шеврон 14">
            <a:extLst>
              <a:ext uri="{FF2B5EF4-FFF2-40B4-BE49-F238E27FC236}">
                <a16:creationId xmlns:a16="http://schemas.microsoft.com/office/drawing/2014/main" xmlns="" id="{EEE07FF5-FDDC-47FD-AD56-4550D5A61AB2}"/>
              </a:ext>
            </a:extLst>
          </p:cNvPr>
          <p:cNvSpPr/>
          <p:nvPr/>
        </p:nvSpPr>
        <p:spPr>
          <a:xfrm>
            <a:off x="98659" y="6293110"/>
            <a:ext cx="5096042" cy="470888"/>
          </a:xfrm>
          <a:prstGeom prst="chevron">
            <a:avLst>
              <a:gd name="adj" fmla="val 41371"/>
            </a:avLst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chemeClr val="tx1"/>
                </a:solidFill>
              </a:rPr>
              <a:t>Филиал МБДОУ «Детский сад№43»-»детский сад №41»</a:t>
            </a: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28" name="Google Shape;384;p40"/>
          <p:cNvSpPr/>
          <p:nvPr/>
        </p:nvSpPr>
        <p:spPr>
          <a:xfrm>
            <a:off x="10647680" y="278008"/>
            <a:ext cx="690879" cy="575431"/>
          </a:xfrm>
          <a:custGeom>
            <a:avLst/>
            <a:gdLst/>
            <a:ahLst/>
            <a:cxnLst/>
            <a:rect l="l" t="t" r="r" b="b"/>
            <a:pathLst>
              <a:path w="18251" h="15452" extrusionOk="0">
                <a:moveTo>
                  <a:pt x="10634" y="2409"/>
                </a:moveTo>
                <a:lnTo>
                  <a:pt x="9953" y="2433"/>
                </a:lnTo>
                <a:lnTo>
                  <a:pt x="9296" y="2458"/>
                </a:lnTo>
                <a:lnTo>
                  <a:pt x="7592" y="2531"/>
                </a:lnTo>
                <a:lnTo>
                  <a:pt x="7228" y="2531"/>
                </a:lnTo>
                <a:lnTo>
                  <a:pt x="6814" y="2555"/>
                </a:lnTo>
                <a:lnTo>
                  <a:pt x="6619" y="2555"/>
                </a:lnTo>
                <a:lnTo>
                  <a:pt x="6425" y="2579"/>
                </a:lnTo>
                <a:lnTo>
                  <a:pt x="6230" y="2652"/>
                </a:lnTo>
                <a:lnTo>
                  <a:pt x="6060" y="2725"/>
                </a:lnTo>
                <a:lnTo>
                  <a:pt x="6035" y="2750"/>
                </a:lnTo>
                <a:lnTo>
                  <a:pt x="6011" y="2798"/>
                </a:lnTo>
                <a:lnTo>
                  <a:pt x="6035" y="2847"/>
                </a:lnTo>
                <a:lnTo>
                  <a:pt x="6060" y="2896"/>
                </a:lnTo>
                <a:lnTo>
                  <a:pt x="6230" y="2969"/>
                </a:lnTo>
                <a:lnTo>
                  <a:pt x="6376" y="3017"/>
                </a:lnTo>
                <a:lnTo>
                  <a:pt x="6546" y="3042"/>
                </a:lnTo>
                <a:lnTo>
                  <a:pt x="7422" y="3042"/>
                </a:lnTo>
                <a:lnTo>
                  <a:pt x="8298" y="3017"/>
                </a:lnTo>
                <a:lnTo>
                  <a:pt x="9150" y="2993"/>
                </a:lnTo>
                <a:lnTo>
                  <a:pt x="9831" y="2969"/>
                </a:lnTo>
                <a:lnTo>
                  <a:pt x="10488" y="2944"/>
                </a:lnTo>
                <a:lnTo>
                  <a:pt x="10829" y="2969"/>
                </a:lnTo>
                <a:lnTo>
                  <a:pt x="11169" y="2993"/>
                </a:lnTo>
                <a:lnTo>
                  <a:pt x="11486" y="3042"/>
                </a:lnTo>
                <a:lnTo>
                  <a:pt x="11826" y="3090"/>
                </a:lnTo>
                <a:lnTo>
                  <a:pt x="11948" y="3115"/>
                </a:lnTo>
                <a:lnTo>
                  <a:pt x="12045" y="3066"/>
                </a:lnTo>
                <a:lnTo>
                  <a:pt x="12094" y="2993"/>
                </a:lnTo>
                <a:lnTo>
                  <a:pt x="12143" y="2896"/>
                </a:lnTo>
                <a:lnTo>
                  <a:pt x="12167" y="2798"/>
                </a:lnTo>
                <a:lnTo>
                  <a:pt x="12143" y="2701"/>
                </a:lnTo>
                <a:lnTo>
                  <a:pt x="12070" y="2628"/>
                </a:lnTo>
                <a:lnTo>
                  <a:pt x="11972" y="2579"/>
                </a:lnTo>
                <a:lnTo>
                  <a:pt x="11632" y="2506"/>
                </a:lnTo>
                <a:lnTo>
                  <a:pt x="11315" y="2458"/>
                </a:lnTo>
                <a:lnTo>
                  <a:pt x="10975" y="2433"/>
                </a:lnTo>
                <a:lnTo>
                  <a:pt x="10634" y="2409"/>
                </a:lnTo>
                <a:close/>
                <a:moveTo>
                  <a:pt x="15573" y="4940"/>
                </a:moveTo>
                <a:lnTo>
                  <a:pt x="15890" y="4964"/>
                </a:lnTo>
                <a:lnTo>
                  <a:pt x="16157" y="5037"/>
                </a:lnTo>
                <a:lnTo>
                  <a:pt x="16182" y="5280"/>
                </a:lnTo>
                <a:lnTo>
                  <a:pt x="16206" y="5524"/>
                </a:lnTo>
                <a:lnTo>
                  <a:pt x="16206" y="5889"/>
                </a:lnTo>
                <a:lnTo>
                  <a:pt x="16206" y="6254"/>
                </a:lnTo>
                <a:lnTo>
                  <a:pt x="15671" y="6278"/>
                </a:lnTo>
                <a:lnTo>
                  <a:pt x="15136" y="6302"/>
                </a:lnTo>
                <a:lnTo>
                  <a:pt x="14625" y="6327"/>
                </a:lnTo>
                <a:lnTo>
                  <a:pt x="14333" y="6375"/>
                </a:lnTo>
                <a:lnTo>
                  <a:pt x="14308" y="6302"/>
                </a:lnTo>
                <a:lnTo>
                  <a:pt x="14284" y="6132"/>
                </a:lnTo>
                <a:lnTo>
                  <a:pt x="14284" y="5962"/>
                </a:lnTo>
                <a:lnTo>
                  <a:pt x="14284" y="5645"/>
                </a:lnTo>
                <a:lnTo>
                  <a:pt x="14284" y="5329"/>
                </a:lnTo>
                <a:lnTo>
                  <a:pt x="14284" y="5159"/>
                </a:lnTo>
                <a:lnTo>
                  <a:pt x="14235" y="5013"/>
                </a:lnTo>
                <a:lnTo>
                  <a:pt x="14430" y="5013"/>
                </a:lnTo>
                <a:lnTo>
                  <a:pt x="14625" y="4988"/>
                </a:lnTo>
                <a:lnTo>
                  <a:pt x="14990" y="4940"/>
                </a:lnTo>
                <a:close/>
                <a:moveTo>
                  <a:pt x="15330" y="4404"/>
                </a:moveTo>
                <a:lnTo>
                  <a:pt x="14990" y="4429"/>
                </a:lnTo>
                <a:lnTo>
                  <a:pt x="14771" y="4453"/>
                </a:lnTo>
                <a:lnTo>
                  <a:pt x="14503" y="4502"/>
                </a:lnTo>
                <a:lnTo>
                  <a:pt x="14357" y="4526"/>
                </a:lnTo>
                <a:lnTo>
                  <a:pt x="14260" y="4575"/>
                </a:lnTo>
                <a:lnTo>
                  <a:pt x="14138" y="4648"/>
                </a:lnTo>
                <a:lnTo>
                  <a:pt x="14065" y="4721"/>
                </a:lnTo>
                <a:lnTo>
                  <a:pt x="14016" y="4721"/>
                </a:lnTo>
                <a:lnTo>
                  <a:pt x="13968" y="4745"/>
                </a:lnTo>
                <a:lnTo>
                  <a:pt x="13943" y="4745"/>
                </a:lnTo>
                <a:lnTo>
                  <a:pt x="13919" y="4769"/>
                </a:lnTo>
                <a:lnTo>
                  <a:pt x="13895" y="4794"/>
                </a:lnTo>
                <a:lnTo>
                  <a:pt x="13870" y="4891"/>
                </a:lnTo>
                <a:lnTo>
                  <a:pt x="13773" y="5670"/>
                </a:lnTo>
                <a:lnTo>
                  <a:pt x="13773" y="6059"/>
                </a:lnTo>
                <a:lnTo>
                  <a:pt x="13773" y="6254"/>
                </a:lnTo>
                <a:lnTo>
                  <a:pt x="13822" y="6424"/>
                </a:lnTo>
                <a:lnTo>
                  <a:pt x="13846" y="6497"/>
                </a:lnTo>
                <a:lnTo>
                  <a:pt x="13870" y="6570"/>
                </a:lnTo>
                <a:lnTo>
                  <a:pt x="13870" y="6594"/>
                </a:lnTo>
                <a:lnTo>
                  <a:pt x="13895" y="6667"/>
                </a:lnTo>
                <a:lnTo>
                  <a:pt x="13919" y="6740"/>
                </a:lnTo>
                <a:lnTo>
                  <a:pt x="13968" y="6789"/>
                </a:lnTo>
                <a:lnTo>
                  <a:pt x="14041" y="6813"/>
                </a:lnTo>
                <a:lnTo>
                  <a:pt x="14308" y="6886"/>
                </a:lnTo>
                <a:lnTo>
                  <a:pt x="14600" y="6911"/>
                </a:lnTo>
                <a:lnTo>
                  <a:pt x="14892" y="6935"/>
                </a:lnTo>
                <a:lnTo>
                  <a:pt x="15184" y="6911"/>
                </a:lnTo>
                <a:lnTo>
                  <a:pt x="15768" y="6886"/>
                </a:lnTo>
                <a:lnTo>
                  <a:pt x="16328" y="6813"/>
                </a:lnTo>
                <a:lnTo>
                  <a:pt x="16449" y="6789"/>
                </a:lnTo>
                <a:lnTo>
                  <a:pt x="16522" y="6740"/>
                </a:lnTo>
                <a:lnTo>
                  <a:pt x="16595" y="6643"/>
                </a:lnTo>
                <a:lnTo>
                  <a:pt x="16620" y="6546"/>
                </a:lnTo>
                <a:lnTo>
                  <a:pt x="16668" y="6448"/>
                </a:lnTo>
                <a:lnTo>
                  <a:pt x="16717" y="6327"/>
                </a:lnTo>
                <a:lnTo>
                  <a:pt x="16741" y="6108"/>
                </a:lnTo>
                <a:lnTo>
                  <a:pt x="16741" y="5864"/>
                </a:lnTo>
                <a:lnTo>
                  <a:pt x="16717" y="5645"/>
                </a:lnTo>
                <a:lnTo>
                  <a:pt x="16644" y="5159"/>
                </a:lnTo>
                <a:lnTo>
                  <a:pt x="16620" y="4940"/>
                </a:lnTo>
                <a:lnTo>
                  <a:pt x="16547" y="4721"/>
                </a:lnTo>
                <a:lnTo>
                  <a:pt x="16498" y="4648"/>
                </a:lnTo>
                <a:lnTo>
                  <a:pt x="16449" y="4599"/>
                </a:lnTo>
                <a:lnTo>
                  <a:pt x="16401" y="4575"/>
                </a:lnTo>
                <a:lnTo>
                  <a:pt x="16328" y="4526"/>
                </a:lnTo>
                <a:lnTo>
                  <a:pt x="16011" y="4453"/>
                </a:lnTo>
                <a:lnTo>
                  <a:pt x="15671" y="4404"/>
                </a:lnTo>
                <a:close/>
                <a:moveTo>
                  <a:pt x="8176" y="7105"/>
                </a:moveTo>
                <a:lnTo>
                  <a:pt x="7884" y="7373"/>
                </a:lnTo>
                <a:lnTo>
                  <a:pt x="7641" y="7689"/>
                </a:lnTo>
                <a:lnTo>
                  <a:pt x="7422" y="8006"/>
                </a:lnTo>
                <a:lnTo>
                  <a:pt x="7252" y="8346"/>
                </a:lnTo>
                <a:lnTo>
                  <a:pt x="7082" y="8687"/>
                </a:lnTo>
                <a:lnTo>
                  <a:pt x="6936" y="9052"/>
                </a:lnTo>
                <a:lnTo>
                  <a:pt x="6790" y="9417"/>
                </a:lnTo>
                <a:lnTo>
                  <a:pt x="6692" y="9782"/>
                </a:lnTo>
                <a:lnTo>
                  <a:pt x="6619" y="9441"/>
                </a:lnTo>
                <a:lnTo>
                  <a:pt x="6619" y="9198"/>
                </a:lnTo>
                <a:lnTo>
                  <a:pt x="6619" y="8955"/>
                </a:lnTo>
                <a:lnTo>
                  <a:pt x="6644" y="8711"/>
                </a:lnTo>
                <a:lnTo>
                  <a:pt x="6717" y="8492"/>
                </a:lnTo>
                <a:lnTo>
                  <a:pt x="6790" y="8273"/>
                </a:lnTo>
                <a:lnTo>
                  <a:pt x="6911" y="8079"/>
                </a:lnTo>
                <a:lnTo>
                  <a:pt x="7033" y="7884"/>
                </a:lnTo>
                <a:lnTo>
                  <a:pt x="7203" y="7689"/>
                </a:lnTo>
                <a:lnTo>
                  <a:pt x="7398" y="7519"/>
                </a:lnTo>
                <a:lnTo>
                  <a:pt x="7617" y="7373"/>
                </a:lnTo>
                <a:lnTo>
                  <a:pt x="7836" y="7251"/>
                </a:lnTo>
                <a:lnTo>
                  <a:pt x="8079" y="7154"/>
                </a:lnTo>
                <a:lnTo>
                  <a:pt x="8176" y="7105"/>
                </a:lnTo>
                <a:close/>
                <a:moveTo>
                  <a:pt x="11413" y="8444"/>
                </a:moveTo>
                <a:lnTo>
                  <a:pt x="11486" y="8711"/>
                </a:lnTo>
                <a:lnTo>
                  <a:pt x="11534" y="8979"/>
                </a:lnTo>
                <a:lnTo>
                  <a:pt x="11559" y="9246"/>
                </a:lnTo>
                <a:lnTo>
                  <a:pt x="11534" y="9514"/>
                </a:lnTo>
                <a:lnTo>
                  <a:pt x="11461" y="9782"/>
                </a:lnTo>
                <a:lnTo>
                  <a:pt x="11388" y="10049"/>
                </a:lnTo>
                <a:lnTo>
                  <a:pt x="11267" y="10293"/>
                </a:lnTo>
                <a:lnTo>
                  <a:pt x="11145" y="10512"/>
                </a:lnTo>
                <a:lnTo>
                  <a:pt x="10975" y="10731"/>
                </a:lnTo>
                <a:lnTo>
                  <a:pt x="11048" y="10536"/>
                </a:lnTo>
                <a:lnTo>
                  <a:pt x="11121" y="10317"/>
                </a:lnTo>
                <a:lnTo>
                  <a:pt x="11194" y="9928"/>
                </a:lnTo>
                <a:lnTo>
                  <a:pt x="11267" y="9563"/>
                </a:lnTo>
                <a:lnTo>
                  <a:pt x="11315" y="9198"/>
                </a:lnTo>
                <a:lnTo>
                  <a:pt x="11413" y="8444"/>
                </a:lnTo>
                <a:close/>
                <a:moveTo>
                  <a:pt x="9028" y="6911"/>
                </a:moveTo>
                <a:lnTo>
                  <a:pt x="8858" y="7057"/>
                </a:lnTo>
                <a:lnTo>
                  <a:pt x="8736" y="7251"/>
                </a:lnTo>
                <a:lnTo>
                  <a:pt x="8614" y="7446"/>
                </a:lnTo>
                <a:lnTo>
                  <a:pt x="8517" y="7641"/>
                </a:lnTo>
                <a:lnTo>
                  <a:pt x="8322" y="8079"/>
                </a:lnTo>
                <a:lnTo>
                  <a:pt x="8176" y="8492"/>
                </a:lnTo>
                <a:lnTo>
                  <a:pt x="8030" y="8833"/>
                </a:lnTo>
                <a:lnTo>
                  <a:pt x="7884" y="9173"/>
                </a:lnTo>
                <a:lnTo>
                  <a:pt x="7568" y="9830"/>
                </a:lnTo>
                <a:lnTo>
                  <a:pt x="7325" y="10317"/>
                </a:lnTo>
                <a:lnTo>
                  <a:pt x="7228" y="10560"/>
                </a:lnTo>
                <a:lnTo>
                  <a:pt x="7130" y="10804"/>
                </a:lnTo>
                <a:lnTo>
                  <a:pt x="6936" y="10463"/>
                </a:lnTo>
                <a:lnTo>
                  <a:pt x="6790" y="10122"/>
                </a:lnTo>
                <a:lnTo>
                  <a:pt x="6838" y="10122"/>
                </a:lnTo>
                <a:lnTo>
                  <a:pt x="6911" y="10098"/>
                </a:lnTo>
                <a:lnTo>
                  <a:pt x="6960" y="10074"/>
                </a:lnTo>
                <a:lnTo>
                  <a:pt x="7009" y="10001"/>
                </a:lnTo>
                <a:lnTo>
                  <a:pt x="7276" y="9222"/>
                </a:lnTo>
                <a:lnTo>
                  <a:pt x="7592" y="8468"/>
                </a:lnTo>
                <a:lnTo>
                  <a:pt x="7787" y="8103"/>
                </a:lnTo>
                <a:lnTo>
                  <a:pt x="7982" y="7738"/>
                </a:lnTo>
                <a:lnTo>
                  <a:pt x="8176" y="7373"/>
                </a:lnTo>
                <a:lnTo>
                  <a:pt x="8395" y="7032"/>
                </a:lnTo>
                <a:lnTo>
                  <a:pt x="8493" y="7032"/>
                </a:lnTo>
                <a:lnTo>
                  <a:pt x="8760" y="6959"/>
                </a:lnTo>
                <a:lnTo>
                  <a:pt x="9028" y="6911"/>
                </a:lnTo>
                <a:close/>
                <a:moveTo>
                  <a:pt x="9344" y="6911"/>
                </a:moveTo>
                <a:lnTo>
                  <a:pt x="9588" y="6935"/>
                </a:lnTo>
                <a:lnTo>
                  <a:pt x="9831" y="7008"/>
                </a:lnTo>
                <a:lnTo>
                  <a:pt x="9734" y="7105"/>
                </a:lnTo>
                <a:lnTo>
                  <a:pt x="9636" y="7203"/>
                </a:lnTo>
                <a:lnTo>
                  <a:pt x="9490" y="7446"/>
                </a:lnTo>
                <a:lnTo>
                  <a:pt x="9393" y="7714"/>
                </a:lnTo>
                <a:lnTo>
                  <a:pt x="9271" y="7957"/>
                </a:lnTo>
                <a:lnTo>
                  <a:pt x="9150" y="8298"/>
                </a:lnTo>
                <a:lnTo>
                  <a:pt x="9004" y="8663"/>
                </a:lnTo>
                <a:lnTo>
                  <a:pt x="8760" y="9368"/>
                </a:lnTo>
                <a:lnTo>
                  <a:pt x="8468" y="10122"/>
                </a:lnTo>
                <a:lnTo>
                  <a:pt x="8128" y="10852"/>
                </a:lnTo>
                <a:lnTo>
                  <a:pt x="7957" y="11290"/>
                </a:lnTo>
                <a:lnTo>
                  <a:pt x="7909" y="11388"/>
                </a:lnTo>
                <a:lnTo>
                  <a:pt x="7884" y="11485"/>
                </a:lnTo>
                <a:lnTo>
                  <a:pt x="7884" y="11558"/>
                </a:lnTo>
                <a:lnTo>
                  <a:pt x="7665" y="11388"/>
                </a:lnTo>
                <a:lnTo>
                  <a:pt x="7446" y="11193"/>
                </a:lnTo>
                <a:lnTo>
                  <a:pt x="7568" y="10901"/>
                </a:lnTo>
                <a:lnTo>
                  <a:pt x="7690" y="10609"/>
                </a:lnTo>
                <a:lnTo>
                  <a:pt x="7811" y="10317"/>
                </a:lnTo>
                <a:lnTo>
                  <a:pt x="7933" y="10049"/>
                </a:lnTo>
                <a:lnTo>
                  <a:pt x="8201" y="9514"/>
                </a:lnTo>
                <a:lnTo>
                  <a:pt x="8444" y="8979"/>
                </a:lnTo>
                <a:lnTo>
                  <a:pt x="8882" y="7933"/>
                </a:lnTo>
                <a:lnTo>
                  <a:pt x="9101" y="7422"/>
                </a:lnTo>
                <a:lnTo>
                  <a:pt x="9344" y="6911"/>
                </a:lnTo>
                <a:close/>
                <a:moveTo>
                  <a:pt x="10610" y="7397"/>
                </a:moveTo>
                <a:lnTo>
                  <a:pt x="10829" y="7592"/>
                </a:lnTo>
                <a:lnTo>
                  <a:pt x="11023" y="7811"/>
                </a:lnTo>
                <a:lnTo>
                  <a:pt x="11194" y="8054"/>
                </a:lnTo>
                <a:lnTo>
                  <a:pt x="11340" y="8322"/>
                </a:lnTo>
                <a:lnTo>
                  <a:pt x="11340" y="8346"/>
                </a:lnTo>
                <a:lnTo>
                  <a:pt x="11169" y="8663"/>
                </a:lnTo>
                <a:lnTo>
                  <a:pt x="11023" y="8979"/>
                </a:lnTo>
                <a:lnTo>
                  <a:pt x="10926" y="9295"/>
                </a:lnTo>
                <a:lnTo>
                  <a:pt x="10829" y="9660"/>
                </a:lnTo>
                <a:lnTo>
                  <a:pt x="10731" y="10025"/>
                </a:lnTo>
                <a:lnTo>
                  <a:pt x="10610" y="10414"/>
                </a:lnTo>
                <a:lnTo>
                  <a:pt x="10512" y="10706"/>
                </a:lnTo>
                <a:lnTo>
                  <a:pt x="10464" y="10852"/>
                </a:lnTo>
                <a:lnTo>
                  <a:pt x="10439" y="11023"/>
                </a:lnTo>
                <a:lnTo>
                  <a:pt x="10464" y="11071"/>
                </a:lnTo>
                <a:lnTo>
                  <a:pt x="10488" y="11120"/>
                </a:lnTo>
                <a:lnTo>
                  <a:pt x="10537" y="11144"/>
                </a:lnTo>
                <a:lnTo>
                  <a:pt x="10585" y="11169"/>
                </a:lnTo>
                <a:lnTo>
                  <a:pt x="10318" y="11388"/>
                </a:lnTo>
                <a:lnTo>
                  <a:pt x="10001" y="11558"/>
                </a:lnTo>
                <a:lnTo>
                  <a:pt x="10001" y="11558"/>
                </a:lnTo>
                <a:lnTo>
                  <a:pt x="10099" y="11412"/>
                </a:lnTo>
                <a:lnTo>
                  <a:pt x="10147" y="11242"/>
                </a:lnTo>
                <a:lnTo>
                  <a:pt x="10269" y="10877"/>
                </a:lnTo>
                <a:lnTo>
                  <a:pt x="10439" y="10244"/>
                </a:lnTo>
                <a:lnTo>
                  <a:pt x="10585" y="9684"/>
                </a:lnTo>
                <a:lnTo>
                  <a:pt x="10780" y="9100"/>
                </a:lnTo>
                <a:lnTo>
                  <a:pt x="10950" y="8517"/>
                </a:lnTo>
                <a:lnTo>
                  <a:pt x="11072" y="7957"/>
                </a:lnTo>
                <a:lnTo>
                  <a:pt x="11072" y="7908"/>
                </a:lnTo>
                <a:lnTo>
                  <a:pt x="11048" y="7884"/>
                </a:lnTo>
                <a:lnTo>
                  <a:pt x="10975" y="7884"/>
                </a:lnTo>
                <a:lnTo>
                  <a:pt x="10804" y="8079"/>
                </a:lnTo>
                <a:lnTo>
                  <a:pt x="10683" y="8273"/>
                </a:lnTo>
                <a:lnTo>
                  <a:pt x="10561" y="8517"/>
                </a:lnTo>
                <a:lnTo>
                  <a:pt x="10464" y="8760"/>
                </a:lnTo>
                <a:lnTo>
                  <a:pt x="10318" y="9246"/>
                </a:lnTo>
                <a:lnTo>
                  <a:pt x="10196" y="9733"/>
                </a:lnTo>
                <a:lnTo>
                  <a:pt x="10050" y="10293"/>
                </a:lnTo>
                <a:lnTo>
                  <a:pt x="9880" y="10828"/>
                </a:lnTo>
                <a:lnTo>
                  <a:pt x="9782" y="11071"/>
                </a:lnTo>
                <a:lnTo>
                  <a:pt x="9685" y="11290"/>
                </a:lnTo>
                <a:lnTo>
                  <a:pt x="9563" y="11534"/>
                </a:lnTo>
                <a:lnTo>
                  <a:pt x="9539" y="11655"/>
                </a:lnTo>
                <a:lnTo>
                  <a:pt x="9515" y="11777"/>
                </a:lnTo>
                <a:lnTo>
                  <a:pt x="9320" y="11826"/>
                </a:lnTo>
                <a:lnTo>
                  <a:pt x="9247" y="11850"/>
                </a:lnTo>
                <a:lnTo>
                  <a:pt x="9247" y="11850"/>
                </a:lnTo>
                <a:lnTo>
                  <a:pt x="9369" y="11607"/>
                </a:lnTo>
                <a:lnTo>
                  <a:pt x="9442" y="11339"/>
                </a:lnTo>
                <a:lnTo>
                  <a:pt x="9612" y="10828"/>
                </a:lnTo>
                <a:lnTo>
                  <a:pt x="9758" y="10317"/>
                </a:lnTo>
                <a:lnTo>
                  <a:pt x="9928" y="9806"/>
                </a:lnTo>
                <a:lnTo>
                  <a:pt x="10147" y="9222"/>
                </a:lnTo>
                <a:lnTo>
                  <a:pt x="10342" y="8614"/>
                </a:lnTo>
                <a:lnTo>
                  <a:pt x="10488" y="8006"/>
                </a:lnTo>
                <a:lnTo>
                  <a:pt x="10561" y="7714"/>
                </a:lnTo>
                <a:lnTo>
                  <a:pt x="10610" y="7397"/>
                </a:lnTo>
                <a:close/>
                <a:moveTo>
                  <a:pt x="10026" y="7081"/>
                </a:moveTo>
                <a:lnTo>
                  <a:pt x="10220" y="7154"/>
                </a:lnTo>
                <a:lnTo>
                  <a:pt x="10391" y="7251"/>
                </a:lnTo>
                <a:lnTo>
                  <a:pt x="10172" y="7811"/>
                </a:lnTo>
                <a:lnTo>
                  <a:pt x="10001" y="8395"/>
                </a:lnTo>
                <a:lnTo>
                  <a:pt x="9831" y="8955"/>
                </a:lnTo>
                <a:lnTo>
                  <a:pt x="9636" y="9538"/>
                </a:lnTo>
                <a:lnTo>
                  <a:pt x="9442" y="10098"/>
                </a:lnTo>
                <a:lnTo>
                  <a:pt x="9271" y="10706"/>
                </a:lnTo>
                <a:lnTo>
                  <a:pt x="9101" y="11266"/>
                </a:lnTo>
                <a:lnTo>
                  <a:pt x="8979" y="11558"/>
                </a:lnTo>
                <a:lnTo>
                  <a:pt x="8833" y="11826"/>
                </a:lnTo>
                <a:lnTo>
                  <a:pt x="8833" y="11874"/>
                </a:lnTo>
                <a:lnTo>
                  <a:pt x="8639" y="11850"/>
                </a:lnTo>
                <a:lnTo>
                  <a:pt x="8468" y="11826"/>
                </a:lnTo>
                <a:lnTo>
                  <a:pt x="8298" y="11753"/>
                </a:lnTo>
                <a:lnTo>
                  <a:pt x="8128" y="11680"/>
                </a:lnTo>
                <a:lnTo>
                  <a:pt x="8176" y="11655"/>
                </a:lnTo>
                <a:lnTo>
                  <a:pt x="8201" y="11631"/>
                </a:lnTo>
                <a:lnTo>
                  <a:pt x="8274" y="11534"/>
                </a:lnTo>
                <a:lnTo>
                  <a:pt x="8371" y="11315"/>
                </a:lnTo>
                <a:lnTo>
                  <a:pt x="8639" y="10633"/>
                </a:lnTo>
                <a:lnTo>
                  <a:pt x="8931" y="9976"/>
                </a:lnTo>
                <a:lnTo>
                  <a:pt x="9077" y="9636"/>
                </a:lnTo>
                <a:lnTo>
                  <a:pt x="9223" y="9271"/>
                </a:lnTo>
                <a:lnTo>
                  <a:pt x="9466" y="8565"/>
                </a:lnTo>
                <a:lnTo>
                  <a:pt x="9612" y="8200"/>
                </a:lnTo>
                <a:lnTo>
                  <a:pt x="9758" y="7835"/>
                </a:lnTo>
                <a:lnTo>
                  <a:pt x="9928" y="7446"/>
                </a:lnTo>
                <a:lnTo>
                  <a:pt x="9977" y="7276"/>
                </a:lnTo>
                <a:lnTo>
                  <a:pt x="10026" y="7081"/>
                </a:lnTo>
                <a:close/>
                <a:moveTo>
                  <a:pt x="9247" y="6424"/>
                </a:moveTo>
                <a:lnTo>
                  <a:pt x="8931" y="6448"/>
                </a:lnTo>
                <a:lnTo>
                  <a:pt x="8639" y="6497"/>
                </a:lnTo>
                <a:lnTo>
                  <a:pt x="8347" y="6570"/>
                </a:lnTo>
                <a:lnTo>
                  <a:pt x="8274" y="6619"/>
                </a:lnTo>
                <a:lnTo>
                  <a:pt x="8225" y="6667"/>
                </a:lnTo>
                <a:lnTo>
                  <a:pt x="7836" y="6789"/>
                </a:lnTo>
                <a:lnTo>
                  <a:pt x="7568" y="6911"/>
                </a:lnTo>
                <a:lnTo>
                  <a:pt x="7325" y="7032"/>
                </a:lnTo>
                <a:lnTo>
                  <a:pt x="7106" y="7203"/>
                </a:lnTo>
                <a:lnTo>
                  <a:pt x="6887" y="7373"/>
                </a:lnTo>
                <a:lnTo>
                  <a:pt x="6668" y="7592"/>
                </a:lnTo>
                <a:lnTo>
                  <a:pt x="6498" y="7835"/>
                </a:lnTo>
                <a:lnTo>
                  <a:pt x="6352" y="8103"/>
                </a:lnTo>
                <a:lnTo>
                  <a:pt x="6254" y="8371"/>
                </a:lnTo>
                <a:lnTo>
                  <a:pt x="6206" y="8663"/>
                </a:lnTo>
                <a:lnTo>
                  <a:pt x="6157" y="8979"/>
                </a:lnTo>
                <a:lnTo>
                  <a:pt x="6157" y="9271"/>
                </a:lnTo>
                <a:lnTo>
                  <a:pt x="6181" y="9563"/>
                </a:lnTo>
                <a:lnTo>
                  <a:pt x="6206" y="9855"/>
                </a:lnTo>
                <a:lnTo>
                  <a:pt x="6279" y="10122"/>
                </a:lnTo>
                <a:lnTo>
                  <a:pt x="6376" y="10390"/>
                </a:lnTo>
                <a:lnTo>
                  <a:pt x="6498" y="10658"/>
                </a:lnTo>
                <a:lnTo>
                  <a:pt x="6644" y="10925"/>
                </a:lnTo>
                <a:lnTo>
                  <a:pt x="6814" y="11169"/>
                </a:lnTo>
                <a:lnTo>
                  <a:pt x="6984" y="11388"/>
                </a:lnTo>
                <a:lnTo>
                  <a:pt x="7203" y="11607"/>
                </a:lnTo>
                <a:lnTo>
                  <a:pt x="7422" y="11801"/>
                </a:lnTo>
                <a:lnTo>
                  <a:pt x="7665" y="11947"/>
                </a:lnTo>
                <a:lnTo>
                  <a:pt x="7909" y="12093"/>
                </a:lnTo>
                <a:lnTo>
                  <a:pt x="8176" y="12191"/>
                </a:lnTo>
                <a:lnTo>
                  <a:pt x="8444" y="12288"/>
                </a:lnTo>
                <a:lnTo>
                  <a:pt x="8736" y="12312"/>
                </a:lnTo>
                <a:lnTo>
                  <a:pt x="9028" y="12312"/>
                </a:lnTo>
                <a:lnTo>
                  <a:pt x="9320" y="12288"/>
                </a:lnTo>
                <a:lnTo>
                  <a:pt x="9588" y="12215"/>
                </a:lnTo>
                <a:lnTo>
                  <a:pt x="9880" y="12118"/>
                </a:lnTo>
                <a:lnTo>
                  <a:pt x="10147" y="11996"/>
                </a:lnTo>
                <a:lnTo>
                  <a:pt x="10415" y="11826"/>
                </a:lnTo>
                <a:lnTo>
                  <a:pt x="10658" y="11655"/>
                </a:lnTo>
                <a:lnTo>
                  <a:pt x="10877" y="11461"/>
                </a:lnTo>
                <a:lnTo>
                  <a:pt x="11096" y="11242"/>
                </a:lnTo>
                <a:lnTo>
                  <a:pt x="11291" y="10998"/>
                </a:lnTo>
                <a:lnTo>
                  <a:pt x="11461" y="10731"/>
                </a:lnTo>
                <a:lnTo>
                  <a:pt x="11632" y="10463"/>
                </a:lnTo>
                <a:lnTo>
                  <a:pt x="11753" y="10195"/>
                </a:lnTo>
                <a:lnTo>
                  <a:pt x="11851" y="9903"/>
                </a:lnTo>
                <a:lnTo>
                  <a:pt x="11924" y="9611"/>
                </a:lnTo>
                <a:lnTo>
                  <a:pt x="11948" y="9319"/>
                </a:lnTo>
                <a:lnTo>
                  <a:pt x="11972" y="9027"/>
                </a:lnTo>
                <a:lnTo>
                  <a:pt x="11924" y="8736"/>
                </a:lnTo>
                <a:lnTo>
                  <a:pt x="11851" y="8444"/>
                </a:lnTo>
                <a:lnTo>
                  <a:pt x="11753" y="8176"/>
                </a:lnTo>
                <a:lnTo>
                  <a:pt x="11632" y="7908"/>
                </a:lnTo>
                <a:lnTo>
                  <a:pt x="11461" y="7665"/>
                </a:lnTo>
                <a:lnTo>
                  <a:pt x="11291" y="7422"/>
                </a:lnTo>
                <a:lnTo>
                  <a:pt x="11096" y="7203"/>
                </a:lnTo>
                <a:lnTo>
                  <a:pt x="10853" y="7032"/>
                </a:lnTo>
                <a:lnTo>
                  <a:pt x="10610" y="6862"/>
                </a:lnTo>
                <a:lnTo>
                  <a:pt x="10366" y="6716"/>
                </a:lnTo>
                <a:lnTo>
                  <a:pt x="10099" y="6594"/>
                </a:lnTo>
                <a:lnTo>
                  <a:pt x="9807" y="6521"/>
                </a:lnTo>
                <a:lnTo>
                  <a:pt x="9515" y="6448"/>
                </a:lnTo>
                <a:lnTo>
                  <a:pt x="9247" y="6424"/>
                </a:lnTo>
                <a:close/>
                <a:moveTo>
                  <a:pt x="9417" y="5694"/>
                </a:moveTo>
                <a:lnTo>
                  <a:pt x="9782" y="5718"/>
                </a:lnTo>
                <a:lnTo>
                  <a:pt x="10172" y="5791"/>
                </a:lnTo>
                <a:lnTo>
                  <a:pt x="10537" y="5889"/>
                </a:lnTo>
                <a:lnTo>
                  <a:pt x="10877" y="6010"/>
                </a:lnTo>
                <a:lnTo>
                  <a:pt x="11218" y="6181"/>
                </a:lnTo>
                <a:lnTo>
                  <a:pt x="11534" y="6351"/>
                </a:lnTo>
                <a:lnTo>
                  <a:pt x="11729" y="6497"/>
                </a:lnTo>
                <a:lnTo>
                  <a:pt x="11899" y="6619"/>
                </a:lnTo>
                <a:lnTo>
                  <a:pt x="12045" y="6789"/>
                </a:lnTo>
                <a:lnTo>
                  <a:pt x="12191" y="6959"/>
                </a:lnTo>
                <a:lnTo>
                  <a:pt x="12313" y="7130"/>
                </a:lnTo>
                <a:lnTo>
                  <a:pt x="12435" y="7324"/>
                </a:lnTo>
                <a:lnTo>
                  <a:pt x="12532" y="7519"/>
                </a:lnTo>
                <a:lnTo>
                  <a:pt x="12629" y="7714"/>
                </a:lnTo>
                <a:lnTo>
                  <a:pt x="12775" y="8152"/>
                </a:lnTo>
                <a:lnTo>
                  <a:pt x="12873" y="8590"/>
                </a:lnTo>
                <a:lnTo>
                  <a:pt x="12921" y="9027"/>
                </a:lnTo>
                <a:lnTo>
                  <a:pt x="12921" y="9465"/>
                </a:lnTo>
                <a:lnTo>
                  <a:pt x="12897" y="9806"/>
                </a:lnTo>
                <a:lnTo>
                  <a:pt x="12848" y="10147"/>
                </a:lnTo>
                <a:lnTo>
                  <a:pt x="12751" y="10463"/>
                </a:lnTo>
                <a:lnTo>
                  <a:pt x="12654" y="10779"/>
                </a:lnTo>
                <a:lnTo>
                  <a:pt x="12508" y="11071"/>
                </a:lnTo>
                <a:lnTo>
                  <a:pt x="12362" y="11363"/>
                </a:lnTo>
                <a:lnTo>
                  <a:pt x="12167" y="11631"/>
                </a:lnTo>
                <a:lnTo>
                  <a:pt x="11972" y="11874"/>
                </a:lnTo>
                <a:lnTo>
                  <a:pt x="11753" y="12093"/>
                </a:lnTo>
                <a:lnTo>
                  <a:pt x="11510" y="12288"/>
                </a:lnTo>
                <a:lnTo>
                  <a:pt x="11242" y="12483"/>
                </a:lnTo>
                <a:lnTo>
                  <a:pt x="10975" y="12653"/>
                </a:lnTo>
                <a:lnTo>
                  <a:pt x="10683" y="12799"/>
                </a:lnTo>
                <a:lnTo>
                  <a:pt x="10366" y="12921"/>
                </a:lnTo>
                <a:lnTo>
                  <a:pt x="10050" y="13018"/>
                </a:lnTo>
                <a:lnTo>
                  <a:pt x="9709" y="13091"/>
                </a:lnTo>
                <a:lnTo>
                  <a:pt x="9369" y="13140"/>
                </a:lnTo>
                <a:lnTo>
                  <a:pt x="8736" y="13140"/>
                </a:lnTo>
                <a:lnTo>
                  <a:pt x="8420" y="13115"/>
                </a:lnTo>
                <a:lnTo>
                  <a:pt x="8128" y="13042"/>
                </a:lnTo>
                <a:lnTo>
                  <a:pt x="7836" y="12969"/>
                </a:lnTo>
                <a:lnTo>
                  <a:pt x="7568" y="12848"/>
                </a:lnTo>
                <a:lnTo>
                  <a:pt x="7276" y="12726"/>
                </a:lnTo>
                <a:lnTo>
                  <a:pt x="7033" y="12556"/>
                </a:lnTo>
                <a:lnTo>
                  <a:pt x="6790" y="12385"/>
                </a:lnTo>
                <a:lnTo>
                  <a:pt x="6546" y="12191"/>
                </a:lnTo>
                <a:lnTo>
                  <a:pt x="6352" y="11972"/>
                </a:lnTo>
                <a:lnTo>
                  <a:pt x="6157" y="11728"/>
                </a:lnTo>
                <a:lnTo>
                  <a:pt x="5962" y="11461"/>
                </a:lnTo>
                <a:lnTo>
                  <a:pt x="5816" y="11193"/>
                </a:lnTo>
                <a:lnTo>
                  <a:pt x="5670" y="10877"/>
                </a:lnTo>
                <a:lnTo>
                  <a:pt x="5597" y="10658"/>
                </a:lnTo>
                <a:lnTo>
                  <a:pt x="5524" y="10414"/>
                </a:lnTo>
                <a:lnTo>
                  <a:pt x="5476" y="10171"/>
                </a:lnTo>
                <a:lnTo>
                  <a:pt x="5427" y="9928"/>
                </a:lnTo>
                <a:lnTo>
                  <a:pt x="5403" y="9684"/>
                </a:lnTo>
                <a:lnTo>
                  <a:pt x="5403" y="9465"/>
                </a:lnTo>
                <a:lnTo>
                  <a:pt x="5403" y="9222"/>
                </a:lnTo>
                <a:lnTo>
                  <a:pt x="5427" y="8979"/>
                </a:lnTo>
                <a:lnTo>
                  <a:pt x="5451" y="8736"/>
                </a:lnTo>
                <a:lnTo>
                  <a:pt x="5500" y="8517"/>
                </a:lnTo>
                <a:lnTo>
                  <a:pt x="5573" y="8273"/>
                </a:lnTo>
                <a:lnTo>
                  <a:pt x="5646" y="8054"/>
                </a:lnTo>
                <a:lnTo>
                  <a:pt x="5743" y="7811"/>
                </a:lnTo>
                <a:lnTo>
                  <a:pt x="5865" y="7592"/>
                </a:lnTo>
                <a:lnTo>
                  <a:pt x="5987" y="7397"/>
                </a:lnTo>
                <a:lnTo>
                  <a:pt x="6133" y="7178"/>
                </a:lnTo>
                <a:lnTo>
                  <a:pt x="6376" y="6886"/>
                </a:lnTo>
                <a:lnTo>
                  <a:pt x="6644" y="6619"/>
                </a:lnTo>
                <a:lnTo>
                  <a:pt x="6911" y="6400"/>
                </a:lnTo>
                <a:lnTo>
                  <a:pt x="7228" y="6229"/>
                </a:lnTo>
                <a:lnTo>
                  <a:pt x="7544" y="6059"/>
                </a:lnTo>
                <a:lnTo>
                  <a:pt x="7884" y="5937"/>
                </a:lnTo>
                <a:lnTo>
                  <a:pt x="8225" y="5840"/>
                </a:lnTo>
                <a:lnTo>
                  <a:pt x="8590" y="5743"/>
                </a:lnTo>
                <a:lnTo>
                  <a:pt x="8687" y="5743"/>
                </a:lnTo>
                <a:lnTo>
                  <a:pt x="9052" y="5694"/>
                </a:lnTo>
                <a:close/>
                <a:moveTo>
                  <a:pt x="9150" y="5207"/>
                </a:moveTo>
                <a:lnTo>
                  <a:pt x="8760" y="5232"/>
                </a:lnTo>
                <a:lnTo>
                  <a:pt x="8420" y="5256"/>
                </a:lnTo>
                <a:lnTo>
                  <a:pt x="8055" y="5305"/>
                </a:lnTo>
                <a:lnTo>
                  <a:pt x="7714" y="5402"/>
                </a:lnTo>
                <a:lnTo>
                  <a:pt x="7373" y="5548"/>
                </a:lnTo>
                <a:lnTo>
                  <a:pt x="7057" y="5718"/>
                </a:lnTo>
                <a:lnTo>
                  <a:pt x="6741" y="5889"/>
                </a:lnTo>
                <a:lnTo>
                  <a:pt x="6473" y="6108"/>
                </a:lnTo>
                <a:lnTo>
                  <a:pt x="6181" y="6327"/>
                </a:lnTo>
                <a:lnTo>
                  <a:pt x="6035" y="6497"/>
                </a:lnTo>
                <a:lnTo>
                  <a:pt x="5865" y="6667"/>
                </a:lnTo>
                <a:lnTo>
                  <a:pt x="5597" y="7032"/>
                </a:lnTo>
                <a:lnTo>
                  <a:pt x="5354" y="7446"/>
                </a:lnTo>
                <a:lnTo>
                  <a:pt x="5159" y="7860"/>
                </a:lnTo>
                <a:lnTo>
                  <a:pt x="5013" y="8298"/>
                </a:lnTo>
                <a:lnTo>
                  <a:pt x="4916" y="8760"/>
                </a:lnTo>
                <a:lnTo>
                  <a:pt x="4867" y="9222"/>
                </a:lnTo>
                <a:lnTo>
                  <a:pt x="4867" y="9684"/>
                </a:lnTo>
                <a:lnTo>
                  <a:pt x="4916" y="10049"/>
                </a:lnTo>
                <a:lnTo>
                  <a:pt x="4965" y="10414"/>
                </a:lnTo>
                <a:lnTo>
                  <a:pt x="5062" y="10755"/>
                </a:lnTo>
                <a:lnTo>
                  <a:pt x="5184" y="11096"/>
                </a:lnTo>
                <a:lnTo>
                  <a:pt x="5330" y="11412"/>
                </a:lnTo>
                <a:lnTo>
                  <a:pt x="5500" y="11728"/>
                </a:lnTo>
                <a:lnTo>
                  <a:pt x="5695" y="12020"/>
                </a:lnTo>
                <a:lnTo>
                  <a:pt x="5914" y="12288"/>
                </a:lnTo>
                <a:lnTo>
                  <a:pt x="6157" y="12531"/>
                </a:lnTo>
                <a:lnTo>
                  <a:pt x="6425" y="12775"/>
                </a:lnTo>
                <a:lnTo>
                  <a:pt x="6717" y="12969"/>
                </a:lnTo>
                <a:lnTo>
                  <a:pt x="7009" y="13164"/>
                </a:lnTo>
                <a:lnTo>
                  <a:pt x="7325" y="13310"/>
                </a:lnTo>
                <a:lnTo>
                  <a:pt x="7665" y="13432"/>
                </a:lnTo>
                <a:lnTo>
                  <a:pt x="8006" y="13529"/>
                </a:lnTo>
                <a:lnTo>
                  <a:pt x="8371" y="13602"/>
                </a:lnTo>
                <a:lnTo>
                  <a:pt x="8687" y="13651"/>
                </a:lnTo>
                <a:lnTo>
                  <a:pt x="9296" y="13651"/>
                </a:lnTo>
                <a:lnTo>
                  <a:pt x="9612" y="13626"/>
                </a:lnTo>
                <a:lnTo>
                  <a:pt x="9928" y="13578"/>
                </a:lnTo>
                <a:lnTo>
                  <a:pt x="10220" y="13505"/>
                </a:lnTo>
                <a:lnTo>
                  <a:pt x="10512" y="13407"/>
                </a:lnTo>
                <a:lnTo>
                  <a:pt x="10804" y="13310"/>
                </a:lnTo>
                <a:lnTo>
                  <a:pt x="11072" y="13188"/>
                </a:lnTo>
                <a:lnTo>
                  <a:pt x="11340" y="13042"/>
                </a:lnTo>
                <a:lnTo>
                  <a:pt x="11607" y="12872"/>
                </a:lnTo>
                <a:lnTo>
                  <a:pt x="11851" y="12702"/>
                </a:lnTo>
                <a:lnTo>
                  <a:pt x="12094" y="12507"/>
                </a:lnTo>
                <a:lnTo>
                  <a:pt x="12313" y="12288"/>
                </a:lnTo>
                <a:lnTo>
                  <a:pt x="12508" y="12045"/>
                </a:lnTo>
                <a:lnTo>
                  <a:pt x="12702" y="11801"/>
                </a:lnTo>
                <a:lnTo>
                  <a:pt x="12897" y="11461"/>
                </a:lnTo>
                <a:lnTo>
                  <a:pt x="13092" y="11096"/>
                </a:lnTo>
                <a:lnTo>
                  <a:pt x="13213" y="10706"/>
                </a:lnTo>
                <a:lnTo>
                  <a:pt x="13335" y="10317"/>
                </a:lnTo>
                <a:lnTo>
                  <a:pt x="13384" y="9903"/>
                </a:lnTo>
                <a:lnTo>
                  <a:pt x="13432" y="9490"/>
                </a:lnTo>
                <a:lnTo>
                  <a:pt x="13432" y="9076"/>
                </a:lnTo>
                <a:lnTo>
                  <a:pt x="13384" y="8663"/>
                </a:lnTo>
                <a:lnTo>
                  <a:pt x="13311" y="8273"/>
                </a:lnTo>
                <a:lnTo>
                  <a:pt x="13189" y="7860"/>
                </a:lnTo>
                <a:lnTo>
                  <a:pt x="13043" y="7495"/>
                </a:lnTo>
                <a:lnTo>
                  <a:pt x="12873" y="7130"/>
                </a:lnTo>
                <a:lnTo>
                  <a:pt x="12654" y="6789"/>
                </a:lnTo>
                <a:lnTo>
                  <a:pt x="12386" y="6473"/>
                </a:lnTo>
                <a:lnTo>
                  <a:pt x="12094" y="6181"/>
                </a:lnTo>
                <a:lnTo>
                  <a:pt x="11778" y="5937"/>
                </a:lnTo>
                <a:lnTo>
                  <a:pt x="11461" y="5743"/>
                </a:lnTo>
                <a:lnTo>
                  <a:pt x="11096" y="5572"/>
                </a:lnTo>
                <a:lnTo>
                  <a:pt x="10731" y="5426"/>
                </a:lnTo>
                <a:lnTo>
                  <a:pt x="10342" y="5329"/>
                </a:lnTo>
                <a:lnTo>
                  <a:pt x="9953" y="5256"/>
                </a:lnTo>
                <a:lnTo>
                  <a:pt x="9539" y="5207"/>
                </a:lnTo>
                <a:close/>
                <a:moveTo>
                  <a:pt x="7714" y="511"/>
                </a:moveTo>
                <a:lnTo>
                  <a:pt x="8687" y="536"/>
                </a:lnTo>
                <a:lnTo>
                  <a:pt x="9685" y="560"/>
                </a:lnTo>
                <a:lnTo>
                  <a:pt x="10658" y="633"/>
                </a:lnTo>
                <a:lnTo>
                  <a:pt x="11340" y="633"/>
                </a:lnTo>
                <a:lnTo>
                  <a:pt x="11680" y="609"/>
                </a:lnTo>
                <a:lnTo>
                  <a:pt x="12021" y="609"/>
                </a:lnTo>
                <a:lnTo>
                  <a:pt x="12264" y="633"/>
                </a:lnTo>
                <a:lnTo>
                  <a:pt x="12483" y="706"/>
                </a:lnTo>
                <a:lnTo>
                  <a:pt x="12654" y="779"/>
                </a:lnTo>
                <a:lnTo>
                  <a:pt x="12800" y="876"/>
                </a:lnTo>
                <a:lnTo>
                  <a:pt x="12921" y="1022"/>
                </a:lnTo>
                <a:lnTo>
                  <a:pt x="13019" y="1168"/>
                </a:lnTo>
                <a:lnTo>
                  <a:pt x="13092" y="1314"/>
                </a:lnTo>
                <a:lnTo>
                  <a:pt x="13140" y="1484"/>
                </a:lnTo>
                <a:lnTo>
                  <a:pt x="13262" y="1874"/>
                </a:lnTo>
                <a:lnTo>
                  <a:pt x="13335" y="2263"/>
                </a:lnTo>
                <a:lnTo>
                  <a:pt x="13432" y="2652"/>
                </a:lnTo>
                <a:lnTo>
                  <a:pt x="13481" y="2847"/>
                </a:lnTo>
                <a:lnTo>
                  <a:pt x="13554" y="3017"/>
                </a:lnTo>
                <a:lnTo>
                  <a:pt x="13627" y="3115"/>
                </a:lnTo>
                <a:lnTo>
                  <a:pt x="13724" y="3139"/>
                </a:lnTo>
                <a:lnTo>
                  <a:pt x="13822" y="3139"/>
                </a:lnTo>
                <a:lnTo>
                  <a:pt x="13919" y="3090"/>
                </a:lnTo>
                <a:lnTo>
                  <a:pt x="14138" y="3066"/>
                </a:lnTo>
                <a:lnTo>
                  <a:pt x="14357" y="3066"/>
                </a:lnTo>
                <a:lnTo>
                  <a:pt x="14795" y="3090"/>
                </a:lnTo>
                <a:lnTo>
                  <a:pt x="15233" y="3139"/>
                </a:lnTo>
                <a:lnTo>
                  <a:pt x="15671" y="3163"/>
                </a:lnTo>
                <a:lnTo>
                  <a:pt x="16084" y="3188"/>
                </a:lnTo>
                <a:lnTo>
                  <a:pt x="16571" y="3212"/>
                </a:lnTo>
                <a:lnTo>
                  <a:pt x="16839" y="3212"/>
                </a:lnTo>
                <a:lnTo>
                  <a:pt x="17082" y="3188"/>
                </a:lnTo>
                <a:lnTo>
                  <a:pt x="17325" y="3163"/>
                </a:lnTo>
                <a:lnTo>
                  <a:pt x="17520" y="3066"/>
                </a:lnTo>
                <a:lnTo>
                  <a:pt x="17496" y="3261"/>
                </a:lnTo>
                <a:lnTo>
                  <a:pt x="17496" y="3480"/>
                </a:lnTo>
                <a:lnTo>
                  <a:pt x="17544" y="5086"/>
                </a:lnTo>
                <a:lnTo>
                  <a:pt x="17593" y="6789"/>
                </a:lnTo>
                <a:lnTo>
                  <a:pt x="17617" y="8517"/>
                </a:lnTo>
                <a:lnTo>
                  <a:pt x="17666" y="11753"/>
                </a:lnTo>
                <a:lnTo>
                  <a:pt x="17666" y="12483"/>
                </a:lnTo>
                <a:lnTo>
                  <a:pt x="17642" y="13213"/>
                </a:lnTo>
                <a:lnTo>
                  <a:pt x="17617" y="13943"/>
                </a:lnTo>
                <a:lnTo>
                  <a:pt x="17617" y="14673"/>
                </a:lnTo>
                <a:lnTo>
                  <a:pt x="17544" y="14673"/>
                </a:lnTo>
                <a:lnTo>
                  <a:pt x="16449" y="14746"/>
                </a:lnTo>
                <a:lnTo>
                  <a:pt x="15379" y="14794"/>
                </a:lnTo>
                <a:lnTo>
                  <a:pt x="14308" y="14794"/>
                </a:lnTo>
                <a:lnTo>
                  <a:pt x="13238" y="14770"/>
                </a:lnTo>
                <a:lnTo>
                  <a:pt x="11072" y="14721"/>
                </a:lnTo>
                <a:lnTo>
                  <a:pt x="10001" y="14697"/>
                </a:lnTo>
                <a:lnTo>
                  <a:pt x="8931" y="14673"/>
                </a:lnTo>
                <a:lnTo>
                  <a:pt x="7811" y="14673"/>
                </a:lnTo>
                <a:lnTo>
                  <a:pt x="6692" y="14721"/>
                </a:lnTo>
                <a:lnTo>
                  <a:pt x="4454" y="14819"/>
                </a:lnTo>
                <a:lnTo>
                  <a:pt x="2215" y="14892"/>
                </a:lnTo>
                <a:lnTo>
                  <a:pt x="1826" y="14892"/>
                </a:lnTo>
                <a:lnTo>
                  <a:pt x="1436" y="14867"/>
                </a:lnTo>
                <a:lnTo>
                  <a:pt x="828" y="14867"/>
                </a:lnTo>
                <a:lnTo>
                  <a:pt x="633" y="14916"/>
                </a:lnTo>
                <a:lnTo>
                  <a:pt x="658" y="14624"/>
                </a:lnTo>
                <a:lnTo>
                  <a:pt x="658" y="14308"/>
                </a:lnTo>
                <a:lnTo>
                  <a:pt x="658" y="13724"/>
                </a:lnTo>
                <a:lnTo>
                  <a:pt x="633" y="13115"/>
                </a:lnTo>
                <a:lnTo>
                  <a:pt x="633" y="12531"/>
                </a:lnTo>
                <a:lnTo>
                  <a:pt x="682" y="10804"/>
                </a:lnTo>
                <a:lnTo>
                  <a:pt x="706" y="9928"/>
                </a:lnTo>
                <a:lnTo>
                  <a:pt x="682" y="9076"/>
                </a:lnTo>
                <a:lnTo>
                  <a:pt x="585" y="7349"/>
                </a:lnTo>
                <a:lnTo>
                  <a:pt x="512" y="5597"/>
                </a:lnTo>
                <a:lnTo>
                  <a:pt x="463" y="4794"/>
                </a:lnTo>
                <a:lnTo>
                  <a:pt x="439" y="4380"/>
                </a:lnTo>
                <a:lnTo>
                  <a:pt x="439" y="3991"/>
                </a:lnTo>
                <a:lnTo>
                  <a:pt x="439" y="3601"/>
                </a:lnTo>
                <a:lnTo>
                  <a:pt x="390" y="3236"/>
                </a:lnTo>
                <a:lnTo>
                  <a:pt x="706" y="3285"/>
                </a:lnTo>
                <a:lnTo>
                  <a:pt x="1217" y="3285"/>
                </a:lnTo>
                <a:lnTo>
                  <a:pt x="1436" y="3261"/>
                </a:lnTo>
                <a:lnTo>
                  <a:pt x="1655" y="3212"/>
                </a:lnTo>
                <a:lnTo>
                  <a:pt x="1753" y="3163"/>
                </a:lnTo>
                <a:lnTo>
                  <a:pt x="1826" y="3115"/>
                </a:lnTo>
                <a:lnTo>
                  <a:pt x="1874" y="3042"/>
                </a:lnTo>
                <a:lnTo>
                  <a:pt x="1899" y="2969"/>
                </a:lnTo>
                <a:lnTo>
                  <a:pt x="1899" y="2896"/>
                </a:lnTo>
                <a:lnTo>
                  <a:pt x="1874" y="2823"/>
                </a:lnTo>
                <a:lnTo>
                  <a:pt x="1947" y="2725"/>
                </a:lnTo>
                <a:lnTo>
                  <a:pt x="2069" y="2652"/>
                </a:lnTo>
                <a:lnTo>
                  <a:pt x="2191" y="2579"/>
                </a:lnTo>
                <a:lnTo>
                  <a:pt x="2312" y="2555"/>
                </a:lnTo>
                <a:lnTo>
                  <a:pt x="2458" y="2531"/>
                </a:lnTo>
                <a:lnTo>
                  <a:pt x="2580" y="2531"/>
                </a:lnTo>
                <a:lnTo>
                  <a:pt x="2702" y="2555"/>
                </a:lnTo>
                <a:lnTo>
                  <a:pt x="2823" y="2579"/>
                </a:lnTo>
                <a:lnTo>
                  <a:pt x="2945" y="2628"/>
                </a:lnTo>
                <a:lnTo>
                  <a:pt x="3067" y="2677"/>
                </a:lnTo>
                <a:lnTo>
                  <a:pt x="3164" y="2774"/>
                </a:lnTo>
                <a:lnTo>
                  <a:pt x="3237" y="2847"/>
                </a:lnTo>
                <a:lnTo>
                  <a:pt x="3310" y="2944"/>
                </a:lnTo>
                <a:lnTo>
                  <a:pt x="3334" y="2993"/>
                </a:lnTo>
                <a:lnTo>
                  <a:pt x="3334" y="3017"/>
                </a:lnTo>
                <a:lnTo>
                  <a:pt x="3383" y="3115"/>
                </a:lnTo>
                <a:lnTo>
                  <a:pt x="3456" y="3163"/>
                </a:lnTo>
                <a:lnTo>
                  <a:pt x="3529" y="3188"/>
                </a:lnTo>
                <a:lnTo>
                  <a:pt x="3602" y="3163"/>
                </a:lnTo>
                <a:lnTo>
                  <a:pt x="3821" y="3188"/>
                </a:lnTo>
                <a:lnTo>
                  <a:pt x="4162" y="3212"/>
                </a:lnTo>
                <a:lnTo>
                  <a:pt x="4332" y="3188"/>
                </a:lnTo>
                <a:lnTo>
                  <a:pt x="4502" y="3139"/>
                </a:lnTo>
                <a:lnTo>
                  <a:pt x="4551" y="3090"/>
                </a:lnTo>
                <a:lnTo>
                  <a:pt x="4575" y="3042"/>
                </a:lnTo>
                <a:lnTo>
                  <a:pt x="4600" y="2993"/>
                </a:lnTo>
                <a:lnTo>
                  <a:pt x="4600" y="2920"/>
                </a:lnTo>
                <a:lnTo>
                  <a:pt x="4721" y="2725"/>
                </a:lnTo>
                <a:lnTo>
                  <a:pt x="4794" y="2506"/>
                </a:lnTo>
                <a:lnTo>
                  <a:pt x="4867" y="2263"/>
                </a:lnTo>
                <a:lnTo>
                  <a:pt x="4940" y="2020"/>
                </a:lnTo>
                <a:lnTo>
                  <a:pt x="5062" y="1533"/>
                </a:lnTo>
                <a:lnTo>
                  <a:pt x="5135" y="1290"/>
                </a:lnTo>
                <a:lnTo>
                  <a:pt x="5232" y="1095"/>
                </a:lnTo>
                <a:lnTo>
                  <a:pt x="5281" y="998"/>
                </a:lnTo>
                <a:lnTo>
                  <a:pt x="5354" y="925"/>
                </a:lnTo>
                <a:lnTo>
                  <a:pt x="5500" y="803"/>
                </a:lnTo>
                <a:lnTo>
                  <a:pt x="5695" y="706"/>
                </a:lnTo>
                <a:lnTo>
                  <a:pt x="5889" y="657"/>
                </a:lnTo>
                <a:lnTo>
                  <a:pt x="6108" y="609"/>
                </a:lnTo>
                <a:lnTo>
                  <a:pt x="6327" y="584"/>
                </a:lnTo>
                <a:lnTo>
                  <a:pt x="6717" y="560"/>
                </a:lnTo>
                <a:lnTo>
                  <a:pt x="7203" y="536"/>
                </a:lnTo>
                <a:lnTo>
                  <a:pt x="7714" y="511"/>
                </a:lnTo>
                <a:close/>
                <a:moveTo>
                  <a:pt x="7714" y="0"/>
                </a:moveTo>
                <a:lnTo>
                  <a:pt x="7130" y="25"/>
                </a:lnTo>
                <a:lnTo>
                  <a:pt x="6546" y="49"/>
                </a:lnTo>
                <a:lnTo>
                  <a:pt x="6157" y="98"/>
                </a:lnTo>
                <a:lnTo>
                  <a:pt x="5768" y="146"/>
                </a:lnTo>
                <a:lnTo>
                  <a:pt x="5573" y="195"/>
                </a:lnTo>
                <a:lnTo>
                  <a:pt x="5378" y="268"/>
                </a:lnTo>
                <a:lnTo>
                  <a:pt x="5208" y="365"/>
                </a:lnTo>
                <a:lnTo>
                  <a:pt x="5062" y="487"/>
                </a:lnTo>
                <a:lnTo>
                  <a:pt x="4940" y="584"/>
                </a:lnTo>
                <a:lnTo>
                  <a:pt x="4843" y="706"/>
                </a:lnTo>
                <a:lnTo>
                  <a:pt x="4697" y="949"/>
                </a:lnTo>
                <a:lnTo>
                  <a:pt x="4575" y="1241"/>
                </a:lnTo>
                <a:lnTo>
                  <a:pt x="4502" y="1533"/>
                </a:lnTo>
                <a:lnTo>
                  <a:pt x="4332" y="2141"/>
                </a:lnTo>
                <a:lnTo>
                  <a:pt x="4113" y="2750"/>
                </a:lnTo>
                <a:lnTo>
                  <a:pt x="3894" y="2774"/>
                </a:lnTo>
                <a:lnTo>
                  <a:pt x="3699" y="2774"/>
                </a:lnTo>
                <a:lnTo>
                  <a:pt x="3602" y="2628"/>
                </a:lnTo>
                <a:lnTo>
                  <a:pt x="3505" y="2482"/>
                </a:lnTo>
                <a:lnTo>
                  <a:pt x="3359" y="2385"/>
                </a:lnTo>
                <a:lnTo>
                  <a:pt x="3213" y="2287"/>
                </a:lnTo>
                <a:lnTo>
                  <a:pt x="3067" y="2214"/>
                </a:lnTo>
                <a:lnTo>
                  <a:pt x="2896" y="2166"/>
                </a:lnTo>
                <a:lnTo>
                  <a:pt x="2702" y="2117"/>
                </a:lnTo>
                <a:lnTo>
                  <a:pt x="2531" y="2093"/>
                </a:lnTo>
                <a:lnTo>
                  <a:pt x="2410" y="2117"/>
                </a:lnTo>
                <a:lnTo>
                  <a:pt x="2264" y="2141"/>
                </a:lnTo>
                <a:lnTo>
                  <a:pt x="2118" y="2166"/>
                </a:lnTo>
                <a:lnTo>
                  <a:pt x="1947" y="2239"/>
                </a:lnTo>
                <a:lnTo>
                  <a:pt x="1801" y="2312"/>
                </a:lnTo>
                <a:lnTo>
                  <a:pt x="1680" y="2409"/>
                </a:lnTo>
                <a:lnTo>
                  <a:pt x="1558" y="2506"/>
                </a:lnTo>
                <a:lnTo>
                  <a:pt x="1485" y="2628"/>
                </a:lnTo>
                <a:lnTo>
                  <a:pt x="1242" y="2652"/>
                </a:lnTo>
                <a:lnTo>
                  <a:pt x="1023" y="2677"/>
                </a:lnTo>
                <a:lnTo>
                  <a:pt x="220" y="2677"/>
                </a:lnTo>
                <a:lnTo>
                  <a:pt x="171" y="2701"/>
                </a:lnTo>
                <a:lnTo>
                  <a:pt x="122" y="2725"/>
                </a:lnTo>
                <a:lnTo>
                  <a:pt x="74" y="2774"/>
                </a:lnTo>
                <a:lnTo>
                  <a:pt x="25" y="2823"/>
                </a:lnTo>
                <a:lnTo>
                  <a:pt x="1" y="2896"/>
                </a:lnTo>
                <a:lnTo>
                  <a:pt x="25" y="4258"/>
                </a:lnTo>
                <a:lnTo>
                  <a:pt x="49" y="5597"/>
                </a:lnTo>
                <a:lnTo>
                  <a:pt x="98" y="7349"/>
                </a:lnTo>
                <a:lnTo>
                  <a:pt x="195" y="9076"/>
                </a:lnTo>
                <a:lnTo>
                  <a:pt x="195" y="9879"/>
                </a:lnTo>
                <a:lnTo>
                  <a:pt x="195" y="10706"/>
                </a:lnTo>
                <a:lnTo>
                  <a:pt x="171" y="11534"/>
                </a:lnTo>
                <a:lnTo>
                  <a:pt x="122" y="12337"/>
                </a:lnTo>
                <a:lnTo>
                  <a:pt x="98" y="12994"/>
                </a:lnTo>
                <a:lnTo>
                  <a:pt x="98" y="13626"/>
                </a:lnTo>
                <a:lnTo>
                  <a:pt x="122" y="14916"/>
                </a:lnTo>
                <a:lnTo>
                  <a:pt x="122" y="14965"/>
                </a:lnTo>
                <a:lnTo>
                  <a:pt x="147" y="15038"/>
                </a:lnTo>
                <a:lnTo>
                  <a:pt x="195" y="15086"/>
                </a:lnTo>
                <a:lnTo>
                  <a:pt x="244" y="15111"/>
                </a:lnTo>
                <a:lnTo>
                  <a:pt x="268" y="15184"/>
                </a:lnTo>
                <a:lnTo>
                  <a:pt x="317" y="15257"/>
                </a:lnTo>
                <a:lnTo>
                  <a:pt x="487" y="15354"/>
                </a:lnTo>
                <a:lnTo>
                  <a:pt x="706" y="15403"/>
                </a:lnTo>
                <a:lnTo>
                  <a:pt x="925" y="15427"/>
                </a:lnTo>
                <a:lnTo>
                  <a:pt x="1144" y="15451"/>
                </a:lnTo>
                <a:lnTo>
                  <a:pt x="1607" y="15451"/>
                </a:lnTo>
                <a:lnTo>
                  <a:pt x="2020" y="15427"/>
                </a:lnTo>
                <a:lnTo>
                  <a:pt x="3140" y="15403"/>
                </a:lnTo>
                <a:lnTo>
                  <a:pt x="4259" y="15378"/>
                </a:lnTo>
                <a:lnTo>
                  <a:pt x="5378" y="15330"/>
                </a:lnTo>
                <a:lnTo>
                  <a:pt x="6498" y="15281"/>
                </a:lnTo>
                <a:lnTo>
                  <a:pt x="7617" y="15232"/>
                </a:lnTo>
                <a:lnTo>
                  <a:pt x="8736" y="15208"/>
                </a:lnTo>
                <a:lnTo>
                  <a:pt x="9855" y="15232"/>
                </a:lnTo>
                <a:lnTo>
                  <a:pt x="10950" y="15257"/>
                </a:lnTo>
                <a:lnTo>
                  <a:pt x="13140" y="15305"/>
                </a:lnTo>
                <a:lnTo>
                  <a:pt x="14235" y="15330"/>
                </a:lnTo>
                <a:lnTo>
                  <a:pt x="15330" y="15330"/>
                </a:lnTo>
                <a:lnTo>
                  <a:pt x="16449" y="15305"/>
                </a:lnTo>
                <a:lnTo>
                  <a:pt x="17544" y="15208"/>
                </a:lnTo>
                <a:lnTo>
                  <a:pt x="17642" y="15184"/>
                </a:lnTo>
                <a:lnTo>
                  <a:pt x="17715" y="15135"/>
                </a:lnTo>
                <a:lnTo>
                  <a:pt x="17788" y="15184"/>
                </a:lnTo>
                <a:lnTo>
                  <a:pt x="17861" y="15208"/>
                </a:lnTo>
                <a:lnTo>
                  <a:pt x="17958" y="15232"/>
                </a:lnTo>
                <a:lnTo>
                  <a:pt x="18031" y="15208"/>
                </a:lnTo>
                <a:lnTo>
                  <a:pt x="18104" y="15184"/>
                </a:lnTo>
                <a:lnTo>
                  <a:pt x="18177" y="15111"/>
                </a:lnTo>
                <a:lnTo>
                  <a:pt x="18201" y="15038"/>
                </a:lnTo>
                <a:lnTo>
                  <a:pt x="18226" y="14940"/>
                </a:lnTo>
                <a:lnTo>
                  <a:pt x="18201" y="14186"/>
                </a:lnTo>
                <a:lnTo>
                  <a:pt x="18226" y="13432"/>
                </a:lnTo>
                <a:lnTo>
                  <a:pt x="18250" y="12677"/>
                </a:lnTo>
                <a:lnTo>
                  <a:pt x="18250" y="11923"/>
                </a:lnTo>
                <a:lnTo>
                  <a:pt x="18201" y="8711"/>
                </a:lnTo>
                <a:lnTo>
                  <a:pt x="18177" y="7081"/>
                </a:lnTo>
                <a:lnTo>
                  <a:pt x="18104" y="5475"/>
                </a:lnTo>
                <a:lnTo>
                  <a:pt x="18080" y="4794"/>
                </a:lnTo>
                <a:lnTo>
                  <a:pt x="18031" y="4137"/>
                </a:lnTo>
                <a:lnTo>
                  <a:pt x="17982" y="3480"/>
                </a:lnTo>
                <a:lnTo>
                  <a:pt x="17982" y="2798"/>
                </a:lnTo>
                <a:lnTo>
                  <a:pt x="17982" y="2750"/>
                </a:lnTo>
                <a:lnTo>
                  <a:pt x="17958" y="2701"/>
                </a:lnTo>
                <a:lnTo>
                  <a:pt x="17885" y="2652"/>
                </a:lnTo>
                <a:lnTo>
                  <a:pt x="17788" y="2628"/>
                </a:lnTo>
                <a:lnTo>
                  <a:pt x="17715" y="2628"/>
                </a:lnTo>
                <a:lnTo>
                  <a:pt x="17617" y="2579"/>
                </a:lnTo>
                <a:lnTo>
                  <a:pt x="17496" y="2555"/>
                </a:lnTo>
                <a:lnTo>
                  <a:pt x="17106" y="2555"/>
                </a:lnTo>
                <a:lnTo>
                  <a:pt x="16839" y="2604"/>
                </a:lnTo>
                <a:lnTo>
                  <a:pt x="16595" y="2628"/>
                </a:lnTo>
                <a:lnTo>
                  <a:pt x="15963" y="2652"/>
                </a:lnTo>
                <a:lnTo>
                  <a:pt x="15330" y="2628"/>
                </a:lnTo>
                <a:lnTo>
                  <a:pt x="14990" y="2604"/>
                </a:lnTo>
                <a:lnTo>
                  <a:pt x="14625" y="2555"/>
                </a:lnTo>
                <a:lnTo>
                  <a:pt x="14260" y="2555"/>
                </a:lnTo>
                <a:lnTo>
                  <a:pt x="14089" y="2579"/>
                </a:lnTo>
                <a:lnTo>
                  <a:pt x="13943" y="2628"/>
                </a:lnTo>
                <a:lnTo>
                  <a:pt x="13846" y="2263"/>
                </a:lnTo>
                <a:lnTo>
                  <a:pt x="13773" y="1874"/>
                </a:lnTo>
                <a:lnTo>
                  <a:pt x="13700" y="1509"/>
                </a:lnTo>
                <a:lnTo>
                  <a:pt x="13578" y="1168"/>
                </a:lnTo>
                <a:lnTo>
                  <a:pt x="13505" y="1022"/>
                </a:lnTo>
                <a:lnTo>
                  <a:pt x="13432" y="852"/>
                </a:lnTo>
                <a:lnTo>
                  <a:pt x="13335" y="706"/>
                </a:lnTo>
                <a:lnTo>
                  <a:pt x="13238" y="584"/>
                </a:lnTo>
                <a:lnTo>
                  <a:pt x="13092" y="463"/>
                </a:lnTo>
                <a:lnTo>
                  <a:pt x="12946" y="341"/>
                </a:lnTo>
                <a:lnTo>
                  <a:pt x="12775" y="268"/>
                </a:lnTo>
                <a:lnTo>
                  <a:pt x="12581" y="171"/>
                </a:lnTo>
                <a:lnTo>
                  <a:pt x="12386" y="146"/>
                </a:lnTo>
                <a:lnTo>
                  <a:pt x="12191" y="98"/>
                </a:lnTo>
                <a:lnTo>
                  <a:pt x="11802" y="98"/>
                </a:lnTo>
                <a:lnTo>
                  <a:pt x="11023" y="122"/>
                </a:lnTo>
                <a:lnTo>
                  <a:pt x="10488" y="122"/>
                </a:lnTo>
                <a:lnTo>
                  <a:pt x="9953" y="98"/>
                </a:lnTo>
                <a:lnTo>
                  <a:pt x="8882" y="25"/>
                </a:lnTo>
                <a:lnTo>
                  <a:pt x="8298" y="0"/>
                </a:lnTo>
                <a:close/>
              </a:path>
            </a:pathLst>
          </a:custGeom>
          <a:solidFill>
            <a:schemeClr val="dk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26625" name="Picture 1" descr="C:\Users\7272~1\AppData\Local\Temp\Rar$DRa9624.31882\Круглый стол Семейные традиции\collage (11)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0" y="3571240"/>
            <a:ext cx="2296160" cy="229616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9" name="Выноска-облако 28"/>
          <p:cNvSpPr/>
          <p:nvPr/>
        </p:nvSpPr>
        <p:spPr>
          <a:xfrm>
            <a:off x="314960" y="1798320"/>
            <a:ext cx="1960880" cy="1483360"/>
          </a:xfrm>
          <a:prstGeom prst="cloudCallou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b="1" dirty="0" smtClean="0"/>
              <a:t>Экспедиция-путешествие </a:t>
            </a:r>
            <a:r>
              <a:rPr lang="ru-RU" sz="1200" dirty="0" smtClean="0"/>
              <a:t>«Семейные традиции»</a:t>
            </a:r>
            <a:endParaRPr lang="ru-RU" sz="1200" dirty="0"/>
          </a:p>
        </p:txBody>
      </p:sp>
      <p:pic>
        <p:nvPicPr>
          <p:cNvPr id="26626" name="Picture 2" descr="C:\Users\7272~1\AppData\Local\Temp\Rar$DRa9624.5885\Мастер класс по изготовлению обереге куклы Желанницы\collage (2).pn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407920" y="4221480"/>
            <a:ext cx="1960880" cy="196088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31" name="Выноска-облако 30"/>
          <p:cNvSpPr/>
          <p:nvPr/>
        </p:nvSpPr>
        <p:spPr>
          <a:xfrm>
            <a:off x="2346960" y="2834640"/>
            <a:ext cx="1889760" cy="1310640"/>
          </a:xfrm>
          <a:prstGeom prst="cloudCallou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b="1" dirty="0" smtClean="0"/>
              <a:t>Мастер –класс </a:t>
            </a:r>
            <a:r>
              <a:rPr lang="ru-RU" sz="1200" dirty="0" smtClean="0"/>
              <a:t>по изготовлению оберега куклы Желанницы </a:t>
            </a:r>
            <a:endParaRPr lang="ru-RU" sz="1200" dirty="0"/>
          </a:p>
        </p:txBody>
      </p:sp>
      <p:pic>
        <p:nvPicPr>
          <p:cNvPr id="26628" name="Picture 4" descr="C:\Users\7272~1\AppData\Local\Temp\Rar$DRa9624.29333\Мастер-класс  Вселый Петрушка\collage (8).pn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4597400" y="4211320"/>
            <a:ext cx="2087880" cy="208788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34" name="Выноска-облако 33"/>
          <p:cNvSpPr/>
          <p:nvPr/>
        </p:nvSpPr>
        <p:spPr>
          <a:xfrm rot="-1200000">
            <a:off x="4673600" y="2600960"/>
            <a:ext cx="1879600" cy="1440000"/>
          </a:xfrm>
          <a:prstGeom prst="cloudCallout">
            <a:avLst/>
          </a:prstGeom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b="1" dirty="0" smtClean="0"/>
              <a:t>Драматизация</a:t>
            </a:r>
            <a:r>
              <a:rPr lang="ru-RU" sz="1200" dirty="0" smtClean="0"/>
              <a:t> «Веселые игры с Петрушкой»</a:t>
            </a:r>
            <a:endParaRPr lang="ru-RU" sz="1200" dirty="0"/>
          </a:p>
        </p:txBody>
      </p:sp>
      <p:pic>
        <p:nvPicPr>
          <p:cNvPr id="26629" name="Picture 5" descr="C:\Users\7272~1\AppData\Local\Temp\Rar$DRa9624.4121\Мой папа может всё\collage (10).pn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107680" y="1823720"/>
            <a:ext cx="1798320" cy="179832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52" name="Блок-схема: память с посл. доступом 51"/>
          <p:cNvSpPr/>
          <p:nvPr/>
        </p:nvSpPr>
        <p:spPr>
          <a:xfrm>
            <a:off x="6685280" y="1686560"/>
            <a:ext cx="1452880" cy="1117600"/>
          </a:xfrm>
          <a:prstGeom prst="flowChartMagneticTape">
            <a:avLst/>
          </a:prstGeom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b="1" dirty="0" smtClean="0"/>
              <a:t>День Отца </a:t>
            </a:r>
            <a:r>
              <a:rPr lang="ru-RU" sz="1200" dirty="0" smtClean="0"/>
              <a:t>«Лучший папа мой»</a:t>
            </a:r>
            <a:endParaRPr lang="ru-RU" sz="1200" dirty="0"/>
          </a:p>
        </p:txBody>
      </p:sp>
      <p:pic>
        <p:nvPicPr>
          <p:cNvPr id="26630" name="Picture 6" descr="C:\Users\7272~1\AppData\Local\Temp\Rar$DRa9624.14986\Практикум для родителей Какие игрушки выбирают ваши дети\collage (5).pn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715760" y="4277360"/>
            <a:ext cx="1910080" cy="191008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53" name="Овальная выноска 52"/>
          <p:cNvSpPr/>
          <p:nvPr/>
        </p:nvSpPr>
        <p:spPr>
          <a:xfrm>
            <a:off x="6593840" y="3230880"/>
            <a:ext cx="1859280" cy="934720"/>
          </a:xfrm>
          <a:prstGeom prst="wedgeEllipseCallou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chemeClr val="tx1"/>
                </a:solidFill>
              </a:rPr>
              <a:t>Практикум </a:t>
            </a:r>
            <a:r>
              <a:rPr lang="ru-RU" sz="1200" dirty="0" smtClean="0">
                <a:solidFill>
                  <a:schemeClr val="tx1"/>
                </a:solidFill>
              </a:rPr>
              <a:t>«Какие игрушки выбирают ваши дети»</a:t>
            </a:r>
            <a:endParaRPr lang="ru-RU" sz="1200" dirty="0">
              <a:solidFill>
                <a:schemeClr val="tx1"/>
              </a:solidFill>
            </a:endParaRPr>
          </a:p>
        </p:txBody>
      </p:sp>
      <p:pic>
        <p:nvPicPr>
          <p:cNvPr id="26631" name="Picture 7" descr="C:\Users\7272~1\AppData\Local\Temp\Rar$DRa9624.40450\Мастер-класс по росписи глиняных игрушек\collage.pn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8636000" y="4307840"/>
            <a:ext cx="1925320" cy="192532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54" name="Выноска-облако 53"/>
          <p:cNvSpPr/>
          <p:nvPr/>
        </p:nvSpPr>
        <p:spPr>
          <a:xfrm rot="1320000">
            <a:off x="9707129" y="3017038"/>
            <a:ext cx="2171844" cy="1402080"/>
          </a:xfrm>
          <a:prstGeom prst="cloudCallou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chemeClr val="tx1"/>
                </a:solidFill>
              </a:rPr>
              <a:t>Мастер-класс</a:t>
            </a:r>
            <a:r>
              <a:rPr lang="ru-RU" sz="1200" dirty="0" smtClean="0">
                <a:solidFill>
                  <a:schemeClr val="tx1"/>
                </a:solidFill>
              </a:rPr>
              <a:t>  по росписи глиняных игрушек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55" name="Прямоугольник 54"/>
          <p:cNvSpPr/>
          <p:nvPr/>
        </p:nvSpPr>
        <p:spPr>
          <a:xfrm>
            <a:off x="98659" y="232231"/>
            <a:ext cx="9318591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/>
              <a:t>Родительская  гостиная «Детские бирюльки</a:t>
            </a:r>
            <a:r>
              <a:rPr lang="ru-RU" b="1" dirty="0" smtClean="0"/>
              <a:t>»</a:t>
            </a:r>
          </a:p>
          <a:p>
            <a:pPr algn="ctr"/>
            <a:r>
              <a:rPr lang="ru-RU" dirty="0" smtClean="0"/>
              <a:t> </a:t>
            </a:r>
            <a:endParaRPr lang="ru-RU" dirty="0"/>
          </a:p>
          <a:p>
            <a:pPr algn="just"/>
            <a:r>
              <a:rPr lang="ru-RU" b="1" dirty="0"/>
              <a:t>Цель: </a:t>
            </a:r>
            <a:r>
              <a:rPr lang="ru-RU" dirty="0"/>
              <a:t>укрепление семейных отношений; создание возможностей для совместного </a:t>
            </a:r>
            <a:r>
              <a:rPr lang="ru-RU" dirty="0" smtClean="0"/>
              <a:t>досуга родителей </a:t>
            </a:r>
            <a:r>
              <a:rPr lang="ru-RU" dirty="0"/>
              <a:t>и детей (тематические праздники, игры, спортивные мероприятия), способствующие укреплению семейных </a:t>
            </a:r>
            <a:r>
              <a:rPr lang="ru-RU" dirty="0" smtClean="0"/>
              <a:t>отношений, традиций, ценностей </a:t>
            </a:r>
            <a:r>
              <a:rPr lang="ru-RU" dirty="0"/>
              <a:t>и связей в </a:t>
            </a:r>
            <a:r>
              <a:rPr lang="ru-RU" dirty="0" smtClean="0"/>
              <a:t>диаде  </a:t>
            </a:r>
            <a:r>
              <a:rPr lang="ru-RU" dirty="0"/>
              <a:t>«</a:t>
            </a:r>
            <a:r>
              <a:rPr lang="ru-RU" dirty="0" smtClean="0"/>
              <a:t>ДОО- </a:t>
            </a:r>
            <a:r>
              <a:rPr lang="ru-RU" dirty="0"/>
              <a:t>семья»</a:t>
            </a:r>
            <a:endParaRPr lang="ru-RU" sz="1600" dirty="0"/>
          </a:p>
        </p:txBody>
      </p:sp>
    </p:spTree>
    <p:extLst>
      <p:ext uri="{BB962C8B-B14F-4D97-AF65-F5344CB8AC3E}">
        <p14:creationId xmlns:p14="http://schemas.microsoft.com/office/powerpoint/2010/main" val="1019340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4">
            <a:extLst>
              <a:ext uri="{FF2B5EF4-FFF2-40B4-BE49-F238E27FC236}">
                <a16:creationId xmlns:a16="http://schemas.microsoft.com/office/drawing/2014/main" xmlns="" id="{B210F6F7-62F4-4E9E-9E2E-B49C62584D97}"/>
              </a:ext>
            </a:extLst>
          </p:cNvPr>
          <p:cNvSpPr/>
          <p:nvPr/>
        </p:nvSpPr>
        <p:spPr>
          <a:xfrm>
            <a:off x="0" y="0"/>
            <a:ext cx="10018488" cy="2025237"/>
          </a:xfrm>
          <a:custGeom>
            <a:avLst/>
            <a:gdLst>
              <a:gd name="connsiteX0" fmla="*/ 0 w 5880100"/>
              <a:gd name="connsiteY0" fmla="*/ 0 h 5880100"/>
              <a:gd name="connsiteX1" fmla="*/ 5880100 w 5880100"/>
              <a:gd name="connsiteY1" fmla="*/ 0 h 5880100"/>
              <a:gd name="connsiteX2" fmla="*/ 5880100 w 5880100"/>
              <a:gd name="connsiteY2" fmla="*/ 5880100 h 5880100"/>
              <a:gd name="connsiteX3" fmla="*/ 0 w 5880100"/>
              <a:gd name="connsiteY3" fmla="*/ 5880100 h 5880100"/>
              <a:gd name="connsiteX4" fmla="*/ 0 w 5880100"/>
              <a:gd name="connsiteY4" fmla="*/ 0 h 5880100"/>
              <a:gd name="connsiteX0" fmla="*/ 0 w 6615112"/>
              <a:gd name="connsiteY0" fmla="*/ 0 h 6615112"/>
              <a:gd name="connsiteX1" fmla="*/ 5880100 w 6615112"/>
              <a:gd name="connsiteY1" fmla="*/ 0 h 6615112"/>
              <a:gd name="connsiteX2" fmla="*/ 5880100 w 6615112"/>
              <a:gd name="connsiteY2" fmla="*/ 5880100 h 6615112"/>
              <a:gd name="connsiteX3" fmla="*/ 0 w 6615112"/>
              <a:gd name="connsiteY3" fmla="*/ 5880100 h 6615112"/>
              <a:gd name="connsiteX4" fmla="*/ 0 w 6615112"/>
              <a:gd name="connsiteY4" fmla="*/ 0 h 6615112"/>
              <a:gd name="connsiteX0" fmla="*/ 0 w 6145189"/>
              <a:gd name="connsiteY0" fmla="*/ 0 h 6082525"/>
              <a:gd name="connsiteX1" fmla="*/ 5880100 w 6145189"/>
              <a:gd name="connsiteY1" fmla="*/ 0 h 6082525"/>
              <a:gd name="connsiteX2" fmla="*/ 3898900 w 6145189"/>
              <a:gd name="connsiteY2" fmla="*/ 3035300 h 6082525"/>
              <a:gd name="connsiteX3" fmla="*/ 0 w 6145189"/>
              <a:gd name="connsiteY3" fmla="*/ 5880100 h 6082525"/>
              <a:gd name="connsiteX4" fmla="*/ 0 w 6145189"/>
              <a:gd name="connsiteY4" fmla="*/ 0 h 6082525"/>
              <a:gd name="connsiteX0" fmla="*/ 0 w 6085854"/>
              <a:gd name="connsiteY0" fmla="*/ 0 h 6135502"/>
              <a:gd name="connsiteX1" fmla="*/ 5880100 w 6085854"/>
              <a:gd name="connsiteY1" fmla="*/ 0 h 6135502"/>
              <a:gd name="connsiteX2" fmla="*/ 3898900 w 6085854"/>
              <a:gd name="connsiteY2" fmla="*/ 3035300 h 6135502"/>
              <a:gd name="connsiteX3" fmla="*/ 0 w 6085854"/>
              <a:gd name="connsiteY3" fmla="*/ 5880100 h 6135502"/>
              <a:gd name="connsiteX4" fmla="*/ 0 w 6085854"/>
              <a:gd name="connsiteY4" fmla="*/ 0 h 6135502"/>
              <a:gd name="connsiteX0" fmla="*/ 0 w 6113652"/>
              <a:gd name="connsiteY0" fmla="*/ 0 h 6259192"/>
              <a:gd name="connsiteX1" fmla="*/ 5880100 w 6113652"/>
              <a:gd name="connsiteY1" fmla="*/ 0 h 6259192"/>
              <a:gd name="connsiteX2" fmla="*/ 4318000 w 6113652"/>
              <a:gd name="connsiteY2" fmla="*/ 4038600 h 6259192"/>
              <a:gd name="connsiteX3" fmla="*/ 0 w 6113652"/>
              <a:gd name="connsiteY3" fmla="*/ 5880100 h 6259192"/>
              <a:gd name="connsiteX4" fmla="*/ 0 w 6113652"/>
              <a:gd name="connsiteY4" fmla="*/ 0 h 6259192"/>
              <a:gd name="connsiteX0" fmla="*/ 0 w 6124861"/>
              <a:gd name="connsiteY0" fmla="*/ 0 h 6340446"/>
              <a:gd name="connsiteX1" fmla="*/ 5880100 w 6124861"/>
              <a:gd name="connsiteY1" fmla="*/ 0 h 6340446"/>
              <a:gd name="connsiteX2" fmla="*/ 4318000 w 6124861"/>
              <a:gd name="connsiteY2" fmla="*/ 4038600 h 6340446"/>
              <a:gd name="connsiteX3" fmla="*/ 0 w 6124861"/>
              <a:gd name="connsiteY3" fmla="*/ 5880100 h 6340446"/>
              <a:gd name="connsiteX4" fmla="*/ 0 w 6124861"/>
              <a:gd name="connsiteY4" fmla="*/ 0 h 6340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24861" h="6340446">
                <a:moveTo>
                  <a:pt x="0" y="0"/>
                </a:moveTo>
                <a:lnTo>
                  <a:pt x="5880100" y="0"/>
                </a:lnTo>
                <a:cubicBezTo>
                  <a:pt x="6860117" y="980017"/>
                  <a:pt x="4599517" y="1788583"/>
                  <a:pt x="4318000" y="4038600"/>
                </a:cubicBezTo>
                <a:cubicBezTo>
                  <a:pt x="4036483" y="6288617"/>
                  <a:pt x="980017" y="6860117"/>
                  <a:pt x="0" y="5880100"/>
                </a:cubicBezTo>
                <a:lnTo>
                  <a:pt x="0" y="0"/>
                </a:lnTo>
                <a:close/>
              </a:path>
            </a:pathLst>
          </a:cu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 smtClean="0"/>
          </a:p>
        </p:txBody>
      </p:sp>
      <p:sp>
        <p:nvSpPr>
          <p:cNvPr id="12" name="Прямоугольник 11"/>
          <p:cNvSpPr/>
          <p:nvPr/>
        </p:nvSpPr>
        <p:spPr>
          <a:xfrm>
            <a:off x="2204184" y="5303519"/>
            <a:ext cx="247369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/>
              <a:t> </a:t>
            </a:r>
            <a:endParaRPr lang="ru-RU" dirty="0"/>
          </a:p>
        </p:txBody>
      </p:sp>
      <p:grpSp>
        <p:nvGrpSpPr>
          <p:cNvPr id="2" name="Group 9">
            <a:extLst>
              <a:ext uri="{FF2B5EF4-FFF2-40B4-BE49-F238E27FC236}">
                <a16:creationId xmlns:a16="http://schemas.microsoft.com/office/drawing/2014/main" xmlns="" id="{2EB978E7-A19C-4366-B94D-EEC57A5AE8DC}"/>
              </a:ext>
            </a:extLst>
          </p:cNvPr>
          <p:cNvGrpSpPr/>
          <p:nvPr/>
        </p:nvGrpSpPr>
        <p:grpSpPr>
          <a:xfrm>
            <a:off x="10018488" y="76712"/>
            <a:ext cx="1950720" cy="1867281"/>
            <a:chOff x="6705600" y="1238250"/>
            <a:chExt cx="866776" cy="866776"/>
          </a:xfrm>
        </p:grpSpPr>
        <p:sp>
          <p:nvSpPr>
            <p:cNvPr id="20" name="Oval 8">
              <a:extLst>
                <a:ext uri="{FF2B5EF4-FFF2-40B4-BE49-F238E27FC236}">
                  <a16:creationId xmlns:a16="http://schemas.microsoft.com/office/drawing/2014/main" xmlns="" id="{4A46D147-0CC5-4735-AE1F-65BCC6509DC0}"/>
                </a:ext>
              </a:extLst>
            </p:cNvPr>
            <p:cNvSpPr/>
            <p:nvPr/>
          </p:nvSpPr>
          <p:spPr>
            <a:xfrm>
              <a:off x="6705600" y="1238250"/>
              <a:ext cx="866776" cy="866776"/>
            </a:xfrm>
            <a:prstGeom prst="ellipse">
              <a:avLst/>
            </a:prstGeom>
            <a:ln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1" name="Oval 7">
              <a:extLst>
                <a:ext uri="{FF2B5EF4-FFF2-40B4-BE49-F238E27FC236}">
                  <a16:creationId xmlns:a16="http://schemas.microsoft.com/office/drawing/2014/main" xmlns="" id="{97103F70-3F4B-4955-9BCE-2928397D6D93}"/>
                </a:ext>
              </a:extLst>
            </p:cNvPr>
            <p:cNvSpPr/>
            <p:nvPr/>
          </p:nvSpPr>
          <p:spPr>
            <a:xfrm>
              <a:off x="6800851" y="1333501"/>
              <a:ext cx="676275" cy="676275"/>
            </a:xfrm>
            <a:prstGeom prst="ellipse">
              <a:avLst/>
            </a:prstGeom>
            <a:ln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6000" dirty="0"/>
            </a:p>
          </p:txBody>
        </p:sp>
      </p:grpSp>
      <p:pic>
        <p:nvPicPr>
          <p:cNvPr id="33" name="Рисунок 32">
            <a:extLst>
              <a:ext uri="{FF2B5EF4-FFF2-40B4-BE49-F238E27FC236}">
                <a16:creationId xmlns:a16="http://schemas.microsoft.com/office/drawing/2014/main" xmlns="" id="{F5A915BA-698F-4574-83F2-CC987DC1D5F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87158" y="100793"/>
            <a:ext cx="1888568" cy="509614"/>
          </a:xfrm>
          <a:prstGeom prst="rect">
            <a:avLst/>
          </a:prstGeom>
        </p:spPr>
      </p:pic>
      <p:grpSp>
        <p:nvGrpSpPr>
          <p:cNvPr id="3" name="Google Shape;541;p41"/>
          <p:cNvGrpSpPr/>
          <p:nvPr/>
        </p:nvGrpSpPr>
        <p:grpSpPr>
          <a:xfrm>
            <a:off x="10635775" y="897822"/>
            <a:ext cx="772159" cy="1204102"/>
            <a:chOff x="9901824" y="937343"/>
            <a:chExt cx="744273" cy="793950"/>
          </a:xfrm>
        </p:grpSpPr>
        <p:grpSp>
          <p:nvGrpSpPr>
            <p:cNvPr id="4" name="Google Shape;542;p41"/>
            <p:cNvGrpSpPr/>
            <p:nvPr/>
          </p:nvGrpSpPr>
          <p:grpSpPr>
            <a:xfrm>
              <a:off x="9901824" y="937343"/>
              <a:ext cx="744273" cy="793950"/>
              <a:chOff x="9901824" y="937343"/>
              <a:chExt cx="744273" cy="793950"/>
            </a:xfrm>
          </p:grpSpPr>
          <p:sp>
            <p:nvSpPr>
              <p:cNvPr id="42" name="Google Shape;543;p41"/>
              <p:cNvSpPr/>
              <p:nvPr/>
            </p:nvSpPr>
            <p:spPr>
              <a:xfrm>
                <a:off x="10463799" y="1043794"/>
                <a:ext cx="76068" cy="75403"/>
              </a:xfrm>
              <a:custGeom>
                <a:avLst/>
                <a:gdLst/>
                <a:ahLst/>
                <a:cxnLst/>
                <a:rect l="l" t="t" r="r" b="b"/>
                <a:pathLst>
                  <a:path w="133" h="132" extrusionOk="0">
                    <a:moveTo>
                      <a:pt x="12" y="132"/>
                    </a:moveTo>
                    <a:cubicBezTo>
                      <a:pt x="9" y="132"/>
                      <a:pt x="6" y="131"/>
                      <a:pt x="4" y="128"/>
                    </a:cubicBezTo>
                    <a:cubicBezTo>
                      <a:pt x="0" y="124"/>
                      <a:pt x="0" y="118"/>
                      <a:pt x="4" y="114"/>
                    </a:cubicBezTo>
                    <a:cubicBezTo>
                      <a:pt x="113" y="4"/>
                      <a:pt x="113" y="4"/>
                      <a:pt x="113" y="4"/>
                    </a:cubicBezTo>
                    <a:cubicBezTo>
                      <a:pt x="118" y="0"/>
                      <a:pt x="124" y="0"/>
                      <a:pt x="128" y="4"/>
                    </a:cubicBezTo>
                    <a:cubicBezTo>
                      <a:pt x="133" y="8"/>
                      <a:pt x="133" y="15"/>
                      <a:pt x="128" y="19"/>
                    </a:cubicBezTo>
                    <a:cubicBezTo>
                      <a:pt x="19" y="128"/>
                      <a:pt x="19" y="128"/>
                      <a:pt x="19" y="128"/>
                    </a:cubicBezTo>
                    <a:cubicBezTo>
                      <a:pt x="17" y="131"/>
                      <a:pt x="14" y="132"/>
                      <a:pt x="12" y="132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4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" name="Google Shape;544;p41"/>
              <p:cNvSpPr/>
              <p:nvPr/>
            </p:nvSpPr>
            <p:spPr>
              <a:xfrm>
                <a:off x="10546077" y="1303491"/>
                <a:ext cx="100020" cy="11976"/>
              </a:xfrm>
              <a:custGeom>
                <a:avLst/>
                <a:gdLst/>
                <a:ahLst/>
                <a:cxnLst/>
                <a:rect l="l" t="t" r="r" b="b"/>
                <a:pathLst>
                  <a:path w="175" h="21" extrusionOk="0">
                    <a:moveTo>
                      <a:pt x="165" y="21"/>
                    </a:moveTo>
                    <a:cubicBezTo>
                      <a:pt x="10" y="21"/>
                      <a:pt x="10" y="21"/>
                      <a:pt x="10" y="21"/>
                    </a:cubicBezTo>
                    <a:cubicBezTo>
                      <a:pt x="4" y="21"/>
                      <a:pt x="0" y="17"/>
                      <a:pt x="0" y="11"/>
                    </a:cubicBezTo>
                    <a:cubicBezTo>
                      <a:pt x="0" y="5"/>
                      <a:pt x="4" y="0"/>
                      <a:pt x="10" y="0"/>
                    </a:cubicBezTo>
                    <a:cubicBezTo>
                      <a:pt x="165" y="0"/>
                      <a:pt x="165" y="0"/>
                      <a:pt x="165" y="0"/>
                    </a:cubicBezTo>
                    <a:cubicBezTo>
                      <a:pt x="171" y="0"/>
                      <a:pt x="175" y="5"/>
                      <a:pt x="175" y="11"/>
                    </a:cubicBezTo>
                    <a:cubicBezTo>
                      <a:pt x="175" y="17"/>
                      <a:pt x="171" y="21"/>
                      <a:pt x="165" y="2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4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" name="Google Shape;545;p41"/>
              <p:cNvSpPr/>
              <p:nvPr/>
            </p:nvSpPr>
            <p:spPr>
              <a:xfrm>
                <a:off x="10463799" y="1499539"/>
                <a:ext cx="76068" cy="75625"/>
              </a:xfrm>
              <a:custGeom>
                <a:avLst/>
                <a:gdLst/>
                <a:ahLst/>
                <a:cxnLst/>
                <a:rect l="l" t="t" r="r" b="b"/>
                <a:pathLst>
                  <a:path w="133" h="132" extrusionOk="0">
                    <a:moveTo>
                      <a:pt x="121" y="132"/>
                    </a:moveTo>
                    <a:cubicBezTo>
                      <a:pt x="119" y="132"/>
                      <a:pt x="116" y="131"/>
                      <a:pt x="114" y="129"/>
                    </a:cubicBezTo>
                    <a:cubicBezTo>
                      <a:pt x="5" y="19"/>
                      <a:pt x="5" y="19"/>
                      <a:pt x="5" y="19"/>
                    </a:cubicBezTo>
                    <a:cubicBezTo>
                      <a:pt x="0" y="15"/>
                      <a:pt x="0" y="8"/>
                      <a:pt x="5" y="4"/>
                    </a:cubicBezTo>
                    <a:cubicBezTo>
                      <a:pt x="9" y="0"/>
                      <a:pt x="15" y="0"/>
                      <a:pt x="20" y="4"/>
                    </a:cubicBezTo>
                    <a:cubicBezTo>
                      <a:pt x="129" y="114"/>
                      <a:pt x="129" y="114"/>
                      <a:pt x="129" y="114"/>
                    </a:cubicBezTo>
                    <a:cubicBezTo>
                      <a:pt x="133" y="118"/>
                      <a:pt x="133" y="124"/>
                      <a:pt x="129" y="129"/>
                    </a:cubicBezTo>
                    <a:cubicBezTo>
                      <a:pt x="127" y="131"/>
                      <a:pt x="124" y="132"/>
                      <a:pt x="121" y="132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4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" name="Google Shape;546;p41"/>
              <p:cNvSpPr/>
              <p:nvPr/>
            </p:nvSpPr>
            <p:spPr>
              <a:xfrm>
                <a:off x="10008275" y="1500204"/>
                <a:ext cx="76068" cy="74960"/>
              </a:xfrm>
              <a:custGeom>
                <a:avLst/>
                <a:gdLst/>
                <a:ahLst/>
                <a:cxnLst/>
                <a:rect l="l" t="t" r="r" b="b"/>
                <a:pathLst>
                  <a:path w="133" h="131" extrusionOk="0">
                    <a:moveTo>
                      <a:pt x="12" y="131"/>
                    </a:moveTo>
                    <a:cubicBezTo>
                      <a:pt x="9" y="131"/>
                      <a:pt x="7" y="130"/>
                      <a:pt x="5" y="128"/>
                    </a:cubicBezTo>
                    <a:cubicBezTo>
                      <a:pt x="0" y="124"/>
                      <a:pt x="0" y="117"/>
                      <a:pt x="5" y="113"/>
                    </a:cubicBezTo>
                    <a:cubicBezTo>
                      <a:pt x="114" y="4"/>
                      <a:pt x="114" y="4"/>
                      <a:pt x="114" y="4"/>
                    </a:cubicBezTo>
                    <a:cubicBezTo>
                      <a:pt x="118" y="0"/>
                      <a:pt x="125" y="0"/>
                      <a:pt x="129" y="4"/>
                    </a:cubicBezTo>
                    <a:cubicBezTo>
                      <a:pt x="133" y="8"/>
                      <a:pt x="133" y="14"/>
                      <a:pt x="129" y="19"/>
                    </a:cubicBezTo>
                    <a:cubicBezTo>
                      <a:pt x="19" y="128"/>
                      <a:pt x="19" y="128"/>
                      <a:pt x="19" y="128"/>
                    </a:cubicBezTo>
                    <a:cubicBezTo>
                      <a:pt x="17" y="130"/>
                      <a:pt x="15" y="131"/>
                      <a:pt x="12" y="13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4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" name="Google Shape;547;p41"/>
              <p:cNvSpPr/>
              <p:nvPr/>
            </p:nvSpPr>
            <p:spPr>
              <a:xfrm>
                <a:off x="9901824" y="1303934"/>
                <a:ext cx="100020" cy="11976"/>
              </a:xfrm>
              <a:custGeom>
                <a:avLst/>
                <a:gdLst/>
                <a:ahLst/>
                <a:cxnLst/>
                <a:rect l="l" t="t" r="r" b="b"/>
                <a:pathLst>
                  <a:path w="175" h="21" extrusionOk="0">
                    <a:moveTo>
                      <a:pt x="165" y="21"/>
                    </a:moveTo>
                    <a:cubicBezTo>
                      <a:pt x="10" y="21"/>
                      <a:pt x="10" y="21"/>
                      <a:pt x="10" y="21"/>
                    </a:cubicBezTo>
                    <a:cubicBezTo>
                      <a:pt x="4" y="21"/>
                      <a:pt x="0" y="16"/>
                      <a:pt x="0" y="10"/>
                    </a:cubicBezTo>
                    <a:cubicBezTo>
                      <a:pt x="0" y="5"/>
                      <a:pt x="4" y="0"/>
                      <a:pt x="10" y="0"/>
                    </a:cubicBezTo>
                    <a:cubicBezTo>
                      <a:pt x="165" y="0"/>
                      <a:pt x="165" y="0"/>
                      <a:pt x="165" y="0"/>
                    </a:cubicBezTo>
                    <a:cubicBezTo>
                      <a:pt x="171" y="0"/>
                      <a:pt x="175" y="5"/>
                      <a:pt x="175" y="10"/>
                    </a:cubicBezTo>
                    <a:cubicBezTo>
                      <a:pt x="175" y="16"/>
                      <a:pt x="171" y="21"/>
                      <a:pt x="165" y="2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4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" name="Google Shape;548;p41"/>
              <p:cNvSpPr/>
              <p:nvPr/>
            </p:nvSpPr>
            <p:spPr>
              <a:xfrm>
                <a:off x="10008275" y="1044237"/>
                <a:ext cx="75403" cy="74960"/>
              </a:xfrm>
              <a:custGeom>
                <a:avLst/>
                <a:gdLst/>
                <a:ahLst/>
                <a:cxnLst/>
                <a:rect l="l" t="t" r="r" b="b"/>
                <a:pathLst>
                  <a:path w="132" h="131" extrusionOk="0">
                    <a:moveTo>
                      <a:pt x="121" y="131"/>
                    </a:moveTo>
                    <a:cubicBezTo>
                      <a:pt x="118" y="131"/>
                      <a:pt x="115" y="130"/>
                      <a:pt x="113" y="128"/>
                    </a:cubicBezTo>
                    <a:cubicBezTo>
                      <a:pt x="4" y="19"/>
                      <a:pt x="4" y="19"/>
                      <a:pt x="4" y="19"/>
                    </a:cubicBezTo>
                    <a:cubicBezTo>
                      <a:pt x="0" y="14"/>
                      <a:pt x="0" y="8"/>
                      <a:pt x="4" y="4"/>
                    </a:cubicBezTo>
                    <a:cubicBezTo>
                      <a:pt x="8" y="0"/>
                      <a:pt x="15" y="0"/>
                      <a:pt x="19" y="4"/>
                    </a:cubicBezTo>
                    <a:cubicBezTo>
                      <a:pt x="128" y="113"/>
                      <a:pt x="128" y="113"/>
                      <a:pt x="128" y="113"/>
                    </a:cubicBezTo>
                    <a:cubicBezTo>
                      <a:pt x="132" y="117"/>
                      <a:pt x="132" y="124"/>
                      <a:pt x="128" y="128"/>
                    </a:cubicBezTo>
                    <a:cubicBezTo>
                      <a:pt x="126" y="130"/>
                      <a:pt x="124" y="131"/>
                      <a:pt x="121" y="13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4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8" name="Google Shape;549;p41"/>
              <p:cNvSpPr/>
              <p:nvPr/>
            </p:nvSpPr>
            <p:spPr>
              <a:xfrm>
                <a:off x="10267751" y="937343"/>
                <a:ext cx="11976" cy="100020"/>
              </a:xfrm>
              <a:custGeom>
                <a:avLst/>
                <a:gdLst/>
                <a:ahLst/>
                <a:cxnLst/>
                <a:rect l="l" t="t" r="r" b="b"/>
                <a:pathLst>
                  <a:path w="21" h="175" extrusionOk="0">
                    <a:moveTo>
                      <a:pt x="11" y="175"/>
                    </a:moveTo>
                    <a:cubicBezTo>
                      <a:pt x="5" y="175"/>
                      <a:pt x="0" y="171"/>
                      <a:pt x="0" y="165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4"/>
                      <a:pt x="5" y="0"/>
                      <a:pt x="11" y="0"/>
                    </a:cubicBezTo>
                    <a:cubicBezTo>
                      <a:pt x="17" y="0"/>
                      <a:pt x="21" y="4"/>
                      <a:pt x="21" y="10"/>
                    </a:cubicBezTo>
                    <a:cubicBezTo>
                      <a:pt x="21" y="165"/>
                      <a:pt x="21" y="165"/>
                      <a:pt x="21" y="165"/>
                    </a:cubicBezTo>
                    <a:cubicBezTo>
                      <a:pt x="21" y="171"/>
                      <a:pt x="17" y="175"/>
                      <a:pt x="11" y="175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4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9" name="Google Shape;550;p41"/>
              <p:cNvSpPr/>
              <p:nvPr/>
            </p:nvSpPr>
            <p:spPr>
              <a:xfrm>
                <a:off x="10183698" y="1629498"/>
                <a:ext cx="180080" cy="25726"/>
              </a:xfrm>
              <a:custGeom>
                <a:avLst/>
                <a:gdLst/>
                <a:ahLst/>
                <a:cxnLst/>
                <a:rect l="l" t="t" r="r" b="b"/>
                <a:pathLst>
                  <a:path w="315" h="45" extrusionOk="0">
                    <a:moveTo>
                      <a:pt x="0" y="23"/>
                    </a:moveTo>
                    <a:cubicBezTo>
                      <a:pt x="0" y="35"/>
                      <a:pt x="10" y="45"/>
                      <a:pt x="22" y="45"/>
                    </a:cubicBezTo>
                    <a:cubicBezTo>
                      <a:pt x="293" y="45"/>
                      <a:pt x="293" y="45"/>
                      <a:pt x="293" y="45"/>
                    </a:cubicBezTo>
                    <a:cubicBezTo>
                      <a:pt x="305" y="45"/>
                      <a:pt x="315" y="35"/>
                      <a:pt x="315" y="23"/>
                    </a:cubicBezTo>
                    <a:cubicBezTo>
                      <a:pt x="315" y="23"/>
                      <a:pt x="315" y="23"/>
                      <a:pt x="315" y="23"/>
                    </a:cubicBezTo>
                    <a:cubicBezTo>
                      <a:pt x="315" y="11"/>
                      <a:pt x="305" y="0"/>
                      <a:pt x="293" y="0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10" y="0"/>
                      <a:pt x="0" y="11"/>
                      <a:pt x="0" y="23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4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" name="Google Shape;551;p41"/>
              <p:cNvSpPr/>
              <p:nvPr/>
            </p:nvSpPr>
            <p:spPr>
              <a:xfrm>
                <a:off x="10188356" y="1667865"/>
                <a:ext cx="170766" cy="25726"/>
              </a:xfrm>
              <a:custGeom>
                <a:avLst/>
                <a:gdLst/>
                <a:ahLst/>
                <a:cxnLst/>
                <a:rect l="l" t="t" r="r" b="b"/>
                <a:pathLst>
                  <a:path w="299" h="45" extrusionOk="0">
                    <a:moveTo>
                      <a:pt x="0" y="22"/>
                    </a:moveTo>
                    <a:cubicBezTo>
                      <a:pt x="0" y="35"/>
                      <a:pt x="10" y="45"/>
                      <a:pt x="23" y="45"/>
                    </a:cubicBezTo>
                    <a:cubicBezTo>
                      <a:pt x="277" y="45"/>
                      <a:pt x="277" y="45"/>
                      <a:pt x="277" y="45"/>
                    </a:cubicBezTo>
                    <a:cubicBezTo>
                      <a:pt x="289" y="45"/>
                      <a:pt x="299" y="35"/>
                      <a:pt x="299" y="22"/>
                    </a:cubicBezTo>
                    <a:cubicBezTo>
                      <a:pt x="299" y="22"/>
                      <a:pt x="299" y="22"/>
                      <a:pt x="299" y="22"/>
                    </a:cubicBezTo>
                    <a:cubicBezTo>
                      <a:pt x="299" y="10"/>
                      <a:pt x="289" y="0"/>
                      <a:pt x="277" y="0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10" y="0"/>
                      <a:pt x="0" y="10"/>
                      <a:pt x="0" y="22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4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" name="Google Shape;552;p41"/>
              <p:cNvSpPr/>
              <p:nvPr/>
            </p:nvSpPr>
            <p:spPr>
              <a:xfrm>
                <a:off x="10212751" y="1705567"/>
                <a:ext cx="122419" cy="25726"/>
              </a:xfrm>
              <a:custGeom>
                <a:avLst/>
                <a:gdLst/>
                <a:ahLst/>
                <a:cxnLst/>
                <a:rect l="l" t="t" r="r" b="b"/>
                <a:pathLst>
                  <a:path w="214" h="45" extrusionOk="0">
                    <a:moveTo>
                      <a:pt x="0" y="23"/>
                    </a:moveTo>
                    <a:cubicBezTo>
                      <a:pt x="0" y="35"/>
                      <a:pt x="10" y="45"/>
                      <a:pt x="22" y="45"/>
                    </a:cubicBezTo>
                    <a:cubicBezTo>
                      <a:pt x="192" y="45"/>
                      <a:pt x="192" y="45"/>
                      <a:pt x="192" y="45"/>
                    </a:cubicBezTo>
                    <a:cubicBezTo>
                      <a:pt x="204" y="45"/>
                      <a:pt x="214" y="35"/>
                      <a:pt x="214" y="23"/>
                    </a:cubicBezTo>
                    <a:cubicBezTo>
                      <a:pt x="214" y="23"/>
                      <a:pt x="214" y="23"/>
                      <a:pt x="214" y="23"/>
                    </a:cubicBezTo>
                    <a:cubicBezTo>
                      <a:pt x="214" y="10"/>
                      <a:pt x="204" y="0"/>
                      <a:pt x="192" y="0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10" y="0"/>
                      <a:pt x="0" y="10"/>
                      <a:pt x="0" y="23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4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36" name="Google Shape;553;p41"/>
            <p:cNvSpPr/>
            <p:nvPr/>
          </p:nvSpPr>
          <p:spPr>
            <a:xfrm>
              <a:off x="10047751" y="1220548"/>
              <a:ext cx="217117" cy="205362"/>
            </a:xfrm>
            <a:custGeom>
              <a:avLst/>
              <a:gdLst/>
              <a:ahLst/>
              <a:cxnLst/>
              <a:rect l="l" t="t" r="r" b="b"/>
              <a:pathLst>
                <a:path w="380" h="359" extrusionOk="0">
                  <a:moveTo>
                    <a:pt x="63" y="268"/>
                  </a:moveTo>
                  <a:cubicBezTo>
                    <a:pt x="78" y="297"/>
                    <a:pt x="94" y="324"/>
                    <a:pt x="108" y="350"/>
                  </a:cubicBezTo>
                  <a:cubicBezTo>
                    <a:pt x="113" y="359"/>
                    <a:pt x="113" y="359"/>
                    <a:pt x="113" y="359"/>
                  </a:cubicBezTo>
                  <a:cubicBezTo>
                    <a:pt x="380" y="206"/>
                    <a:pt x="380" y="206"/>
                    <a:pt x="380" y="206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2" y="2"/>
                    <a:pt x="22" y="4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0" y="88"/>
                    <a:pt x="14" y="174"/>
                    <a:pt x="63" y="268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" name="Google Shape;554;p41"/>
            <p:cNvSpPr/>
            <p:nvPr/>
          </p:nvSpPr>
          <p:spPr>
            <a:xfrm>
              <a:off x="10063053" y="1080830"/>
              <a:ext cx="205806" cy="250604"/>
            </a:xfrm>
            <a:custGeom>
              <a:avLst/>
              <a:gdLst/>
              <a:ahLst/>
              <a:cxnLst/>
              <a:rect l="l" t="t" r="r" b="b"/>
              <a:pathLst>
                <a:path w="360" h="438" extrusionOk="0">
                  <a:moveTo>
                    <a:pt x="0" y="230"/>
                  </a:moveTo>
                  <a:cubicBezTo>
                    <a:pt x="360" y="438"/>
                    <a:pt x="360" y="438"/>
                    <a:pt x="360" y="438"/>
                  </a:cubicBezTo>
                  <a:cubicBezTo>
                    <a:pt x="360" y="0"/>
                    <a:pt x="360" y="0"/>
                    <a:pt x="360" y="0"/>
                  </a:cubicBezTo>
                  <a:cubicBezTo>
                    <a:pt x="174" y="3"/>
                    <a:pt x="40" y="117"/>
                    <a:pt x="0" y="23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" name="Google Shape;555;p41"/>
            <p:cNvSpPr/>
            <p:nvPr/>
          </p:nvSpPr>
          <p:spPr>
            <a:xfrm>
              <a:off x="10276400" y="1080830"/>
              <a:ext cx="208024" cy="250604"/>
            </a:xfrm>
            <a:custGeom>
              <a:avLst/>
              <a:gdLst/>
              <a:ahLst/>
              <a:cxnLst/>
              <a:rect l="l" t="t" r="r" b="b"/>
              <a:pathLst>
                <a:path w="364" h="438" extrusionOk="0">
                  <a:moveTo>
                    <a:pt x="0" y="0"/>
                  </a:moveTo>
                  <a:cubicBezTo>
                    <a:pt x="0" y="438"/>
                    <a:pt x="0" y="438"/>
                    <a:pt x="0" y="438"/>
                  </a:cubicBezTo>
                  <a:cubicBezTo>
                    <a:pt x="364" y="228"/>
                    <a:pt x="364" y="228"/>
                    <a:pt x="364" y="228"/>
                  </a:cubicBezTo>
                  <a:cubicBezTo>
                    <a:pt x="323" y="115"/>
                    <a:pt x="186" y="1"/>
                    <a:pt x="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" name="Google Shape;556;p41"/>
            <p:cNvSpPr/>
            <p:nvPr/>
          </p:nvSpPr>
          <p:spPr>
            <a:xfrm>
              <a:off x="10280392" y="1218773"/>
              <a:ext cx="219334" cy="208689"/>
            </a:xfrm>
            <a:custGeom>
              <a:avLst/>
              <a:gdLst/>
              <a:ahLst/>
              <a:cxnLst/>
              <a:rect l="l" t="t" r="r" b="b"/>
              <a:pathLst>
                <a:path w="384" h="365" extrusionOk="0">
                  <a:moveTo>
                    <a:pt x="322" y="271"/>
                  </a:moveTo>
                  <a:cubicBezTo>
                    <a:pt x="371" y="177"/>
                    <a:pt x="384" y="91"/>
                    <a:pt x="364" y="9"/>
                  </a:cubicBezTo>
                  <a:cubicBezTo>
                    <a:pt x="364" y="9"/>
                    <a:pt x="364" y="9"/>
                    <a:pt x="364" y="9"/>
                  </a:cubicBezTo>
                  <a:cubicBezTo>
                    <a:pt x="363" y="6"/>
                    <a:pt x="362" y="3"/>
                    <a:pt x="361" y="0"/>
                  </a:cubicBezTo>
                  <a:cubicBezTo>
                    <a:pt x="0" y="209"/>
                    <a:pt x="0" y="209"/>
                    <a:pt x="0" y="209"/>
                  </a:cubicBezTo>
                  <a:cubicBezTo>
                    <a:pt x="270" y="365"/>
                    <a:pt x="270" y="365"/>
                    <a:pt x="270" y="365"/>
                  </a:cubicBezTo>
                  <a:cubicBezTo>
                    <a:pt x="277" y="353"/>
                    <a:pt x="277" y="353"/>
                    <a:pt x="277" y="353"/>
                  </a:cubicBezTo>
                  <a:cubicBezTo>
                    <a:pt x="291" y="327"/>
                    <a:pt x="307" y="300"/>
                    <a:pt x="322" y="27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" name="Google Shape;557;p41"/>
            <p:cNvSpPr/>
            <p:nvPr/>
          </p:nvSpPr>
          <p:spPr>
            <a:xfrm>
              <a:off x="10116279" y="1345184"/>
              <a:ext cx="152580" cy="267681"/>
            </a:xfrm>
            <a:custGeom>
              <a:avLst/>
              <a:gdLst/>
              <a:ahLst/>
              <a:cxnLst/>
              <a:rect l="l" t="t" r="r" b="b"/>
              <a:pathLst>
                <a:path w="267" h="468" extrusionOk="0">
                  <a:moveTo>
                    <a:pt x="267" y="468"/>
                  </a:moveTo>
                  <a:cubicBezTo>
                    <a:pt x="267" y="0"/>
                    <a:pt x="267" y="0"/>
                    <a:pt x="267" y="0"/>
                  </a:cubicBezTo>
                  <a:cubicBezTo>
                    <a:pt x="0" y="153"/>
                    <a:pt x="0" y="153"/>
                    <a:pt x="0" y="153"/>
                  </a:cubicBezTo>
                  <a:cubicBezTo>
                    <a:pt x="21" y="190"/>
                    <a:pt x="42" y="229"/>
                    <a:pt x="61" y="272"/>
                  </a:cubicBezTo>
                  <a:cubicBezTo>
                    <a:pt x="75" y="304"/>
                    <a:pt x="83" y="346"/>
                    <a:pt x="90" y="383"/>
                  </a:cubicBezTo>
                  <a:cubicBezTo>
                    <a:pt x="92" y="398"/>
                    <a:pt x="95" y="411"/>
                    <a:pt x="98" y="424"/>
                  </a:cubicBezTo>
                  <a:cubicBezTo>
                    <a:pt x="105" y="457"/>
                    <a:pt x="116" y="466"/>
                    <a:pt x="151" y="467"/>
                  </a:cubicBezTo>
                  <a:cubicBezTo>
                    <a:pt x="157" y="468"/>
                    <a:pt x="157" y="468"/>
                    <a:pt x="157" y="468"/>
                  </a:cubicBezTo>
                  <a:cubicBezTo>
                    <a:pt x="185" y="468"/>
                    <a:pt x="185" y="468"/>
                    <a:pt x="185" y="468"/>
                  </a:cubicBezTo>
                  <a:cubicBezTo>
                    <a:pt x="237" y="468"/>
                    <a:pt x="237" y="468"/>
                    <a:pt x="237" y="468"/>
                  </a:cubicBezTo>
                  <a:cubicBezTo>
                    <a:pt x="247" y="468"/>
                    <a:pt x="257" y="468"/>
                    <a:pt x="267" y="468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" name="Google Shape;558;p41"/>
            <p:cNvSpPr/>
            <p:nvPr/>
          </p:nvSpPr>
          <p:spPr>
            <a:xfrm>
              <a:off x="10276400" y="1345184"/>
              <a:ext cx="154798" cy="267681"/>
            </a:xfrm>
            <a:custGeom>
              <a:avLst/>
              <a:gdLst/>
              <a:ahLst/>
              <a:cxnLst/>
              <a:rect l="l" t="t" r="r" b="b"/>
              <a:pathLst>
                <a:path w="271" h="468" extrusionOk="0">
                  <a:moveTo>
                    <a:pt x="174" y="424"/>
                  </a:moveTo>
                  <a:cubicBezTo>
                    <a:pt x="177" y="411"/>
                    <a:pt x="180" y="398"/>
                    <a:pt x="182" y="383"/>
                  </a:cubicBezTo>
                  <a:cubicBezTo>
                    <a:pt x="189" y="346"/>
                    <a:pt x="197" y="304"/>
                    <a:pt x="211" y="272"/>
                  </a:cubicBezTo>
                  <a:cubicBezTo>
                    <a:pt x="230" y="229"/>
                    <a:pt x="251" y="191"/>
                    <a:pt x="271" y="15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67"/>
                    <a:pt x="0" y="467"/>
                    <a:pt x="0" y="467"/>
                  </a:cubicBezTo>
                  <a:cubicBezTo>
                    <a:pt x="5" y="467"/>
                    <a:pt x="5" y="467"/>
                    <a:pt x="5" y="467"/>
                  </a:cubicBezTo>
                  <a:cubicBezTo>
                    <a:pt x="5" y="468"/>
                    <a:pt x="5" y="468"/>
                    <a:pt x="5" y="468"/>
                  </a:cubicBezTo>
                  <a:cubicBezTo>
                    <a:pt x="5" y="468"/>
                    <a:pt x="5" y="468"/>
                    <a:pt x="5" y="468"/>
                  </a:cubicBezTo>
                  <a:cubicBezTo>
                    <a:pt x="15" y="468"/>
                    <a:pt x="25" y="468"/>
                    <a:pt x="36" y="468"/>
                  </a:cubicBezTo>
                  <a:cubicBezTo>
                    <a:pt x="42" y="467"/>
                    <a:pt x="42" y="467"/>
                    <a:pt x="42" y="467"/>
                  </a:cubicBezTo>
                  <a:cubicBezTo>
                    <a:pt x="94" y="468"/>
                    <a:pt x="94" y="468"/>
                    <a:pt x="94" y="468"/>
                  </a:cubicBezTo>
                  <a:cubicBezTo>
                    <a:pt x="101" y="468"/>
                    <a:pt x="108" y="468"/>
                    <a:pt x="115" y="467"/>
                  </a:cubicBezTo>
                  <a:cubicBezTo>
                    <a:pt x="157" y="467"/>
                    <a:pt x="167" y="456"/>
                    <a:pt x="174" y="424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7" name="Стрелка: шеврон 14">
            <a:extLst>
              <a:ext uri="{FF2B5EF4-FFF2-40B4-BE49-F238E27FC236}">
                <a16:creationId xmlns:a16="http://schemas.microsoft.com/office/drawing/2014/main" xmlns="" id="{EEE07FF5-FDDC-47FD-AD56-4550D5A61AB2}"/>
              </a:ext>
            </a:extLst>
          </p:cNvPr>
          <p:cNvSpPr/>
          <p:nvPr/>
        </p:nvSpPr>
        <p:spPr>
          <a:xfrm>
            <a:off x="46808" y="6303384"/>
            <a:ext cx="5096042" cy="470888"/>
          </a:xfrm>
          <a:prstGeom prst="chevron">
            <a:avLst>
              <a:gd name="adj" fmla="val 41371"/>
            </a:avLst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chemeClr val="tx1"/>
                </a:solidFill>
              </a:rPr>
              <a:t>МБДОУ «Детский сад№43</a:t>
            </a:r>
            <a:r>
              <a:rPr lang="ru-RU" sz="1400" dirty="0" smtClean="0">
                <a:solidFill>
                  <a:schemeClr val="tx1"/>
                </a:solidFill>
              </a:rPr>
              <a:t>» и филиалы</a:t>
            </a: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28" name="Google Shape;384;p40"/>
          <p:cNvSpPr/>
          <p:nvPr/>
        </p:nvSpPr>
        <p:spPr>
          <a:xfrm>
            <a:off x="10648408" y="166869"/>
            <a:ext cx="690879" cy="575431"/>
          </a:xfrm>
          <a:custGeom>
            <a:avLst/>
            <a:gdLst/>
            <a:ahLst/>
            <a:cxnLst/>
            <a:rect l="l" t="t" r="r" b="b"/>
            <a:pathLst>
              <a:path w="18251" h="15452" extrusionOk="0">
                <a:moveTo>
                  <a:pt x="10634" y="2409"/>
                </a:moveTo>
                <a:lnTo>
                  <a:pt x="9953" y="2433"/>
                </a:lnTo>
                <a:lnTo>
                  <a:pt x="9296" y="2458"/>
                </a:lnTo>
                <a:lnTo>
                  <a:pt x="7592" y="2531"/>
                </a:lnTo>
                <a:lnTo>
                  <a:pt x="7228" y="2531"/>
                </a:lnTo>
                <a:lnTo>
                  <a:pt x="6814" y="2555"/>
                </a:lnTo>
                <a:lnTo>
                  <a:pt x="6619" y="2555"/>
                </a:lnTo>
                <a:lnTo>
                  <a:pt x="6425" y="2579"/>
                </a:lnTo>
                <a:lnTo>
                  <a:pt x="6230" y="2652"/>
                </a:lnTo>
                <a:lnTo>
                  <a:pt x="6060" y="2725"/>
                </a:lnTo>
                <a:lnTo>
                  <a:pt x="6035" y="2750"/>
                </a:lnTo>
                <a:lnTo>
                  <a:pt x="6011" y="2798"/>
                </a:lnTo>
                <a:lnTo>
                  <a:pt x="6035" y="2847"/>
                </a:lnTo>
                <a:lnTo>
                  <a:pt x="6060" y="2896"/>
                </a:lnTo>
                <a:lnTo>
                  <a:pt x="6230" y="2969"/>
                </a:lnTo>
                <a:lnTo>
                  <a:pt x="6376" y="3017"/>
                </a:lnTo>
                <a:lnTo>
                  <a:pt x="6546" y="3042"/>
                </a:lnTo>
                <a:lnTo>
                  <a:pt x="7422" y="3042"/>
                </a:lnTo>
                <a:lnTo>
                  <a:pt x="8298" y="3017"/>
                </a:lnTo>
                <a:lnTo>
                  <a:pt x="9150" y="2993"/>
                </a:lnTo>
                <a:lnTo>
                  <a:pt x="9831" y="2969"/>
                </a:lnTo>
                <a:lnTo>
                  <a:pt x="10488" y="2944"/>
                </a:lnTo>
                <a:lnTo>
                  <a:pt x="10829" y="2969"/>
                </a:lnTo>
                <a:lnTo>
                  <a:pt x="11169" y="2993"/>
                </a:lnTo>
                <a:lnTo>
                  <a:pt x="11486" y="3042"/>
                </a:lnTo>
                <a:lnTo>
                  <a:pt x="11826" y="3090"/>
                </a:lnTo>
                <a:lnTo>
                  <a:pt x="11948" y="3115"/>
                </a:lnTo>
                <a:lnTo>
                  <a:pt x="12045" y="3066"/>
                </a:lnTo>
                <a:lnTo>
                  <a:pt x="12094" y="2993"/>
                </a:lnTo>
                <a:lnTo>
                  <a:pt x="12143" y="2896"/>
                </a:lnTo>
                <a:lnTo>
                  <a:pt x="12167" y="2798"/>
                </a:lnTo>
                <a:lnTo>
                  <a:pt x="12143" y="2701"/>
                </a:lnTo>
                <a:lnTo>
                  <a:pt x="12070" y="2628"/>
                </a:lnTo>
                <a:lnTo>
                  <a:pt x="11972" y="2579"/>
                </a:lnTo>
                <a:lnTo>
                  <a:pt x="11632" y="2506"/>
                </a:lnTo>
                <a:lnTo>
                  <a:pt x="11315" y="2458"/>
                </a:lnTo>
                <a:lnTo>
                  <a:pt x="10975" y="2433"/>
                </a:lnTo>
                <a:lnTo>
                  <a:pt x="10634" y="2409"/>
                </a:lnTo>
                <a:close/>
                <a:moveTo>
                  <a:pt x="15573" y="4940"/>
                </a:moveTo>
                <a:lnTo>
                  <a:pt x="15890" y="4964"/>
                </a:lnTo>
                <a:lnTo>
                  <a:pt x="16157" y="5037"/>
                </a:lnTo>
                <a:lnTo>
                  <a:pt x="16182" y="5280"/>
                </a:lnTo>
                <a:lnTo>
                  <a:pt x="16206" y="5524"/>
                </a:lnTo>
                <a:lnTo>
                  <a:pt x="16206" y="5889"/>
                </a:lnTo>
                <a:lnTo>
                  <a:pt x="16206" y="6254"/>
                </a:lnTo>
                <a:lnTo>
                  <a:pt x="15671" y="6278"/>
                </a:lnTo>
                <a:lnTo>
                  <a:pt x="15136" y="6302"/>
                </a:lnTo>
                <a:lnTo>
                  <a:pt x="14625" y="6327"/>
                </a:lnTo>
                <a:lnTo>
                  <a:pt x="14333" y="6375"/>
                </a:lnTo>
                <a:lnTo>
                  <a:pt x="14308" y="6302"/>
                </a:lnTo>
                <a:lnTo>
                  <a:pt x="14284" y="6132"/>
                </a:lnTo>
                <a:lnTo>
                  <a:pt x="14284" y="5962"/>
                </a:lnTo>
                <a:lnTo>
                  <a:pt x="14284" y="5645"/>
                </a:lnTo>
                <a:lnTo>
                  <a:pt x="14284" y="5329"/>
                </a:lnTo>
                <a:lnTo>
                  <a:pt x="14284" y="5159"/>
                </a:lnTo>
                <a:lnTo>
                  <a:pt x="14235" y="5013"/>
                </a:lnTo>
                <a:lnTo>
                  <a:pt x="14430" y="5013"/>
                </a:lnTo>
                <a:lnTo>
                  <a:pt x="14625" y="4988"/>
                </a:lnTo>
                <a:lnTo>
                  <a:pt x="14990" y="4940"/>
                </a:lnTo>
                <a:close/>
                <a:moveTo>
                  <a:pt x="15330" y="4404"/>
                </a:moveTo>
                <a:lnTo>
                  <a:pt x="14990" y="4429"/>
                </a:lnTo>
                <a:lnTo>
                  <a:pt x="14771" y="4453"/>
                </a:lnTo>
                <a:lnTo>
                  <a:pt x="14503" y="4502"/>
                </a:lnTo>
                <a:lnTo>
                  <a:pt x="14357" y="4526"/>
                </a:lnTo>
                <a:lnTo>
                  <a:pt x="14260" y="4575"/>
                </a:lnTo>
                <a:lnTo>
                  <a:pt x="14138" y="4648"/>
                </a:lnTo>
                <a:lnTo>
                  <a:pt x="14065" y="4721"/>
                </a:lnTo>
                <a:lnTo>
                  <a:pt x="14016" y="4721"/>
                </a:lnTo>
                <a:lnTo>
                  <a:pt x="13968" y="4745"/>
                </a:lnTo>
                <a:lnTo>
                  <a:pt x="13943" y="4745"/>
                </a:lnTo>
                <a:lnTo>
                  <a:pt x="13919" y="4769"/>
                </a:lnTo>
                <a:lnTo>
                  <a:pt x="13895" y="4794"/>
                </a:lnTo>
                <a:lnTo>
                  <a:pt x="13870" y="4891"/>
                </a:lnTo>
                <a:lnTo>
                  <a:pt x="13773" y="5670"/>
                </a:lnTo>
                <a:lnTo>
                  <a:pt x="13773" y="6059"/>
                </a:lnTo>
                <a:lnTo>
                  <a:pt x="13773" y="6254"/>
                </a:lnTo>
                <a:lnTo>
                  <a:pt x="13822" y="6424"/>
                </a:lnTo>
                <a:lnTo>
                  <a:pt x="13846" y="6497"/>
                </a:lnTo>
                <a:lnTo>
                  <a:pt x="13870" y="6570"/>
                </a:lnTo>
                <a:lnTo>
                  <a:pt x="13870" y="6594"/>
                </a:lnTo>
                <a:lnTo>
                  <a:pt x="13895" y="6667"/>
                </a:lnTo>
                <a:lnTo>
                  <a:pt x="13919" y="6740"/>
                </a:lnTo>
                <a:lnTo>
                  <a:pt x="13968" y="6789"/>
                </a:lnTo>
                <a:lnTo>
                  <a:pt x="14041" y="6813"/>
                </a:lnTo>
                <a:lnTo>
                  <a:pt x="14308" y="6886"/>
                </a:lnTo>
                <a:lnTo>
                  <a:pt x="14600" y="6911"/>
                </a:lnTo>
                <a:lnTo>
                  <a:pt x="14892" y="6935"/>
                </a:lnTo>
                <a:lnTo>
                  <a:pt x="15184" y="6911"/>
                </a:lnTo>
                <a:lnTo>
                  <a:pt x="15768" y="6886"/>
                </a:lnTo>
                <a:lnTo>
                  <a:pt x="16328" y="6813"/>
                </a:lnTo>
                <a:lnTo>
                  <a:pt x="16449" y="6789"/>
                </a:lnTo>
                <a:lnTo>
                  <a:pt x="16522" y="6740"/>
                </a:lnTo>
                <a:lnTo>
                  <a:pt x="16595" y="6643"/>
                </a:lnTo>
                <a:lnTo>
                  <a:pt x="16620" y="6546"/>
                </a:lnTo>
                <a:lnTo>
                  <a:pt x="16668" y="6448"/>
                </a:lnTo>
                <a:lnTo>
                  <a:pt x="16717" y="6327"/>
                </a:lnTo>
                <a:lnTo>
                  <a:pt x="16741" y="6108"/>
                </a:lnTo>
                <a:lnTo>
                  <a:pt x="16741" y="5864"/>
                </a:lnTo>
                <a:lnTo>
                  <a:pt x="16717" y="5645"/>
                </a:lnTo>
                <a:lnTo>
                  <a:pt x="16644" y="5159"/>
                </a:lnTo>
                <a:lnTo>
                  <a:pt x="16620" y="4940"/>
                </a:lnTo>
                <a:lnTo>
                  <a:pt x="16547" y="4721"/>
                </a:lnTo>
                <a:lnTo>
                  <a:pt x="16498" y="4648"/>
                </a:lnTo>
                <a:lnTo>
                  <a:pt x="16449" y="4599"/>
                </a:lnTo>
                <a:lnTo>
                  <a:pt x="16401" y="4575"/>
                </a:lnTo>
                <a:lnTo>
                  <a:pt x="16328" y="4526"/>
                </a:lnTo>
                <a:lnTo>
                  <a:pt x="16011" y="4453"/>
                </a:lnTo>
                <a:lnTo>
                  <a:pt x="15671" y="4404"/>
                </a:lnTo>
                <a:close/>
                <a:moveTo>
                  <a:pt x="8176" y="7105"/>
                </a:moveTo>
                <a:lnTo>
                  <a:pt x="7884" y="7373"/>
                </a:lnTo>
                <a:lnTo>
                  <a:pt x="7641" y="7689"/>
                </a:lnTo>
                <a:lnTo>
                  <a:pt x="7422" y="8006"/>
                </a:lnTo>
                <a:lnTo>
                  <a:pt x="7252" y="8346"/>
                </a:lnTo>
                <a:lnTo>
                  <a:pt x="7082" y="8687"/>
                </a:lnTo>
                <a:lnTo>
                  <a:pt x="6936" y="9052"/>
                </a:lnTo>
                <a:lnTo>
                  <a:pt x="6790" y="9417"/>
                </a:lnTo>
                <a:lnTo>
                  <a:pt x="6692" y="9782"/>
                </a:lnTo>
                <a:lnTo>
                  <a:pt x="6619" y="9441"/>
                </a:lnTo>
                <a:lnTo>
                  <a:pt x="6619" y="9198"/>
                </a:lnTo>
                <a:lnTo>
                  <a:pt x="6619" y="8955"/>
                </a:lnTo>
                <a:lnTo>
                  <a:pt x="6644" y="8711"/>
                </a:lnTo>
                <a:lnTo>
                  <a:pt x="6717" y="8492"/>
                </a:lnTo>
                <a:lnTo>
                  <a:pt x="6790" y="8273"/>
                </a:lnTo>
                <a:lnTo>
                  <a:pt x="6911" y="8079"/>
                </a:lnTo>
                <a:lnTo>
                  <a:pt x="7033" y="7884"/>
                </a:lnTo>
                <a:lnTo>
                  <a:pt x="7203" y="7689"/>
                </a:lnTo>
                <a:lnTo>
                  <a:pt x="7398" y="7519"/>
                </a:lnTo>
                <a:lnTo>
                  <a:pt x="7617" y="7373"/>
                </a:lnTo>
                <a:lnTo>
                  <a:pt x="7836" y="7251"/>
                </a:lnTo>
                <a:lnTo>
                  <a:pt x="8079" y="7154"/>
                </a:lnTo>
                <a:lnTo>
                  <a:pt x="8176" y="7105"/>
                </a:lnTo>
                <a:close/>
                <a:moveTo>
                  <a:pt x="11413" y="8444"/>
                </a:moveTo>
                <a:lnTo>
                  <a:pt x="11486" y="8711"/>
                </a:lnTo>
                <a:lnTo>
                  <a:pt x="11534" y="8979"/>
                </a:lnTo>
                <a:lnTo>
                  <a:pt x="11559" y="9246"/>
                </a:lnTo>
                <a:lnTo>
                  <a:pt x="11534" y="9514"/>
                </a:lnTo>
                <a:lnTo>
                  <a:pt x="11461" y="9782"/>
                </a:lnTo>
                <a:lnTo>
                  <a:pt x="11388" y="10049"/>
                </a:lnTo>
                <a:lnTo>
                  <a:pt x="11267" y="10293"/>
                </a:lnTo>
                <a:lnTo>
                  <a:pt x="11145" y="10512"/>
                </a:lnTo>
                <a:lnTo>
                  <a:pt x="10975" y="10731"/>
                </a:lnTo>
                <a:lnTo>
                  <a:pt x="11048" y="10536"/>
                </a:lnTo>
                <a:lnTo>
                  <a:pt x="11121" y="10317"/>
                </a:lnTo>
                <a:lnTo>
                  <a:pt x="11194" y="9928"/>
                </a:lnTo>
                <a:lnTo>
                  <a:pt x="11267" y="9563"/>
                </a:lnTo>
                <a:lnTo>
                  <a:pt x="11315" y="9198"/>
                </a:lnTo>
                <a:lnTo>
                  <a:pt x="11413" y="8444"/>
                </a:lnTo>
                <a:close/>
                <a:moveTo>
                  <a:pt x="9028" y="6911"/>
                </a:moveTo>
                <a:lnTo>
                  <a:pt x="8858" y="7057"/>
                </a:lnTo>
                <a:lnTo>
                  <a:pt x="8736" y="7251"/>
                </a:lnTo>
                <a:lnTo>
                  <a:pt x="8614" y="7446"/>
                </a:lnTo>
                <a:lnTo>
                  <a:pt x="8517" y="7641"/>
                </a:lnTo>
                <a:lnTo>
                  <a:pt x="8322" y="8079"/>
                </a:lnTo>
                <a:lnTo>
                  <a:pt x="8176" y="8492"/>
                </a:lnTo>
                <a:lnTo>
                  <a:pt x="8030" y="8833"/>
                </a:lnTo>
                <a:lnTo>
                  <a:pt x="7884" y="9173"/>
                </a:lnTo>
                <a:lnTo>
                  <a:pt x="7568" y="9830"/>
                </a:lnTo>
                <a:lnTo>
                  <a:pt x="7325" y="10317"/>
                </a:lnTo>
                <a:lnTo>
                  <a:pt x="7228" y="10560"/>
                </a:lnTo>
                <a:lnTo>
                  <a:pt x="7130" y="10804"/>
                </a:lnTo>
                <a:lnTo>
                  <a:pt x="6936" y="10463"/>
                </a:lnTo>
                <a:lnTo>
                  <a:pt x="6790" y="10122"/>
                </a:lnTo>
                <a:lnTo>
                  <a:pt x="6838" y="10122"/>
                </a:lnTo>
                <a:lnTo>
                  <a:pt x="6911" y="10098"/>
                </a:lnTo>
                <a:lnTo>
                  <a:pt x="6960" y="10074"/>
                </a:lnTo>
                <a:lnTo>
                  <a:pt x="7009" y="10001"/>
                </a:lnTo>
                <a:lnTo>
                  <a:pt x="7276" y="9222"/>
                </a:lnTo>
                <a:lnTo>
                  <a:pt x="7592" y="8468"/>
                </a:lnTo>
                <a:lnTo>
                  <a:pt x="7787" y="8103"/>
                </a:lnTo>
                <a:lnTo>
                  <a:pt x="7982" y="7738"/>
                </a:lnTo>
                <a:lnTo>
                  <a:pt x="8176" y="7373"/>
                </a:lnTo>
                <a:lnTo>
                  <a:pt x="8395" y="7032"/>
                </a:lnTo>
                <a:lnTo>
                  <a:pt x="8493" y="7032"/>
                </a:lnTo>
                <a:lnTo>
                  <a:pt x="8760" y="6959"/>
                </a:lnTo>
                <a:lnTo>
                  <a:pt x="9028" y="6911"/>
                </a:lnTo>
                <a:close/>
                <a:moveTo>
                  <a:pt x="9344" y="6911"/>
                </a:moveTo>
                <a:lnTo>
                  <a:pt x="9588" y="6935"/>
                </a:lnTo>
                <a:lnTo>
                  <a:pt x="9831" y="7008"/>
                </a:lnTo>
                <a:lnTo>
                  <a:pt x="9734" y="7105"/>
                </a:lnTo>
                <a:lnTo>
                  <a:pt x="9636" y="7203"/>
                </a:lnTo>
                <a:lnTo>
                  <a:pt x="9490" y="7446"/>
                </a:lnTo>
                <a:lnTo>
                  <a:pt x="9393" y="7714"/>
                </a:lnTo>
                <a:lnTo>
                  <a:pt x="9271" y="7957"/>
                </a:lnTo>
                <a:lnTo>
                  <a:pt x="9150" y="8298"/>
                </a:lnTo>
                <a:lnTo>
                  <a:pt x="9004" y="8663"/>
                </a:lnTo>
                <a:lnTo>
                  <a:pt x="8760" y="9368"/>
                </a:lnTo>
                <a:lnTo>
                  <a:pt x="8468" y="10122"/>
                </a:lnTo>
                <a:lnTo>
                  <a:pt x="8128" y="10852"/>
                </a:lnTo>
                <a:lnTo>
                  <a:pt x="7957" y="11290"/>
                </a:lnTo>
                <a:lnTo>
                  <a:pt x="7909" y="11388"/>
                </a:lnTo>
                <a:lnTo>
                  <a:pt x="7884" y="11485"/>
                </a:lnTo>
                <a:lnTo>
                  <a:pt x="7884" y="11558"/>
                </a:lnTo>
                <a:lnTo>
                  <a:pt x="7665" y="11388"/>
                </a:lnTo>
                <a:lnTo>
                  <a:pt x="7446" y="11193"/>
                </a:lnTo>
                <a:lnTo>
                  <a:pt x="7568" y="10901"/>
                </a:lnTo>
                <a:lnTo>
                  <a:pt x="7690" y="10609"/>
                </a:lnTo>
                <a:lnTo>
                  <a:pt x="7811" y="10317"/>
                </a:lnTo>
                <a:lnTo>
                  <a:pt x="7933" y="10049"/>
                </a:lnTo>
                <a:lnTo>
                  <a:pt x="8201" y="9514"/>
                </a:lnTo>
                <a:lnTo>
                  <a:pt x="8444" y="8979"/>
                </a:lnTo>
                <a:lnTo>
                  <a:pt x="8882" y="7933"/>
                </a:lnTo>
                <a:lnTo>
                  <a:pt x="9101" y="7422"/>
                </a:lnTo>
                <a:lnTo>
                  <a:pt x="9344" y="6911"/>
                </a:lnTo>
                <a:close/>
                <a:moveTo>
                  <a:pt x="10610" y="7397"/>
                </a:moveTo>
                <a:lnTo>
                  <a:pt x="10829" y="7592"/>
                </a:lnTo>
                <a:lnTo>
                  <a:pt x="11023" y="7811"/>
                </a:lnTo>
                <a:lnTo>
                  <a:pt x="11194" y="8054"/>
                </a:lnTo>
                <a:lnTo>
                  <a:pt x="11340" y="8322"/>
                </a:lnTo>
                <a:lnTo>
                  <a:pt x="11340" y="8346"/>
                </a:lnTo>
                <a:lnTo>
                  <a:pt x="11169" y="8663"/>
                </a:lnTo>
                <a:lnTo>
                  <a:pt x="11023" y="8979"/>
                </a:lnTo>
                <a:lnTo>
                  <a:pt x="10926" y="9295"/>
                </a:lnTo>
                <a:lnTo>
                  <a:pt x="10829" y="9660"/>
                </a:lnTo>
                <a:lnTo>
                  <a:pt x="10731" y="10025"/>
                </a:lnTo>
                <a:lnTo>
                  <a:pt x="10610" y="10414"/>
                </a:lnTo>
                <a:lnTo>
                  <a:pt x="10512" y="10706"/>
                </a:lnTo>
                <a:lnTo>
                  <a:pt x="10464" y="10852"/>
                </a:lnTo>
                <a:lnTo>
                  <a:pt x="10439" y="11023"/>
                </a:lnTo>
                <a:lnTo>
                  <a:pt x="10464" y="11071"/>
                </a:lnTo>
                <a:lnTo>
                  <a:pt x="10488" y="11120"/>
                </a:lnTo>
                <a:lnTo>
                  <a:pt x="10537" y="11144"/>
                </a:lnTo>
                <a:lnTo>
                  <a:pt x="10585" y="11169"/>
                </a:lnTo>
                <a:lnTo>
                  <a:pt x="10318" y="11388"/>
                </a:lnTo>
                <a:lnTo>
                  <a:pt x="10001" y="11558"/>
                </a:lnTo>
                <a:lnTo>
                  <a:pt x="10001" y="11558"/>
                </a:lnTo>
                <a:lnTo>
                  <a:pt x="10099" y="11412"/>
                </a:lnTo>
                <a:lnTo>
                  <a:pt x="10147" y="11242"/>
                </a:lnTo>
                <a:lnTo>
                  <a:pt x="10269" y="10877"/>
                </a:lnTo>
                <a:lnTo>
                  <a:pt x="10439" y="10244"/>
                </a:lnTo>
                <a:lnTo>
                  <a:pt x="10585" y="9684"/>
                </a:lnTo>
                <a:lnTo>
                  <a:pt x="10780" y="9100"/>
                </a:lnTo>
                <a:lnTo>
                  <a:pt x="10950" y="8517"/>
                </a:lnTo>
                <a:lnTo>
                  <a:pt x="11072" y="7957"/>
                </a:lnTo>
                <a:lnTo>
                  <a:pt x="11072" y="7908"/>
                </a:lnTo>
                <a:lnTo>
                  <a:pt x="11048" y="7884"/>
                </a:lnTo>
                <a:lnTo>
                  <a:pt x="10975" y="7884"/>
                </a:lnTo>
                <a:lnTo>
                  <a:pt x="10804" y="8079"/>
                </a:lnTo>
                <a:lnTo>
                  <a:pt x="10683" y="8273"/>
                </a:lnTo>
                <a:lnTo>
                  <a:pt x="10561" y="8517"/>
                </a:lnTo>
                <a:lnTo>
                  <a:pt x="10464" y="8760"/>
                </a:lnTo>
                <a:lnTo>
                  <a:pt x="10318" y="9246"/>
                </a:lnTo>
                <a:lnTo>
                  <a:pt x="10196" y="9733"/>
                </a:lnTo>
                <a:lnTo>
                  <a:pt x="10050" y="10293"/>
                </a:lnTo>
                <a:lnTo>
                  <a:pt x="9880" y="10828"/>
                </a:lnTo>
                <a:lnTo>
                  <a:pt x="9782" y="11071"/>
                </a:lnTo>
                <a:lnTo>
                  <a:pt x="9685" y="11290"/>
                </a:lnTo>
                <a:lnTo>
                  <a:pt x="9563" y="11534"/>
                </a:lnTo>
                <a:lnTo>
                  <a:pt x="9539" y="11655"/>
                </a:lnTo>
                <a:lnTo>
                  <a:pt x="9515" y="11777"/>
                </a:lnTo>
                <a:lnTo>
                  <a:pt x="9320" y="11826"/>
                </a:lnTo>
                <a:lnTo>
                  <a:pt x="9247" y="11850"/>
                </a:lnTo>
                <a:lnTo>
                  <a:pt x="9247" y="11850"/>
                </a:lnTo>
                <a:lnTo>
                  <a:pt x="9369" y="11607"/>
                </a:lnTo>
                <a:lnTo>
                  <a:pt x="9442" y="11339"/>
                </a:lnTo>
                <a:lnTo>
                  <a:pt x="9612" y="10828"/>
                </a:lnTo>
                <a:lnTo>
                  <a:pt x="9758" y="10317"/>
                </a:lnTo>
                <a:lnTo>
                  <a:pt x="9928" y="9806"/>
                </a:lnTo>
                <a:lnTo>
                  <a:pt x="10147" y="9222"/>
                </a:lnTo>
                <a:lnTo>
                  <a:pt x="10342" y="8614"/>
                </a:lnTo>
                <a:lnTo>
                  <a:pt x="10488" y="8006"/>
                </a:lnTo>
                <a:lnTo>
                  <a:pt x="10561" y="7714"/>
                </a:lnTo>
                <a:lnTo>
                  <a:pt x="10610" y="7397"/>
                </a:lnTo>
                <a:close/>
                <a:moveTo>
                  <a:pt x="10026" y="7081"/>
                </a:moveTo>
                <a:lnTo>
                  <a:pt x="10220" y="7154"/>
                </a:lnTo>
                <a:lnTo>
                  <a:pt x="10391" y="7251"/>
                </a:lnTo>
                <a:lnTo>
                  <a:pt x="10172" y="7811"/>
                </a:lnTo>
                <a:lnTo>
                  <a:pt x="10001" y="8395"/>
                </a:lnTo>
                <a:lnTo>
                  <a:pt x="9831" y="8955"/>
                </a:lnTo>
                <a:lnTo>
                  <a:pt x="9636" y="9538"/>
                </a:lnTo>
                <a:lnTo>
                  <a:pt x="9442" y="10098"/>
                </a:lnTo>
                <a:lnTo>
                  <a:pt x="9271" y="10706"/>
                </a:lnTo>
                <a:lnTo>
                  <a:pt x="9101" y="11266"/>
                </a:lnTo>
                <a:lnTo>
                  <a:pt x="8979" y="11558"/>
                </a:lnTo>
                <a:lnTo>
                  <a:pt x="8833" y="11826"/>
                </a:lnTo>
                <a:lnTo>
                  <a:pt x="8833" y="11874"/>
                </a:lnTo>
                <a:lnTo>
                  <a:pt x="8639" y="11850"/>
                </a:lnTo>
                <a:lnTo>
                  <a:pt x="8468" y="11826"/>
                </a:lnTo>
                <a:lnTo>
                  <a:pt x="8298" y="11753"/>
                </a:lnTo>
                <a:lnTo>
                  <a:pt x="8128" y="11680"/>
                </a:lnTo>
                <a:lnTo>
                  <a:pt x="8176" y="11655"/>
                </a:lnTo>
                <a:lnTo>
                  <a:pt x="8201" y="11631"/>
                </a:lnTo>
                <a:lnTo>
                  <a:pt x="8274" y="11534"/>
                </a:lnTo>
                <a:lnTo>
                  <a:pt x="8371" y="11315"/>
                </a:lnTo>
                <a:lnTo>
                  <a:pt x="8639" y="10633"/>
                </a:lnTo>
                <a:lnTo>
                  <a:pt x="8931" y="9976"/>
                </a:lnTo>
                <a:lnTo>
                  <a:pt x="9077" y="9636"/>
                </a:lnTo>
                <a:lnTo>
                  <a:pt x="9223" y="9271"/>
                </a:lnTo>
                <a:lnTo>
                  <a:pt x="9466" y="8565"/>
                </a:lnTo>
                <a:lnTo>
                  <a:pt x="9612" y="8200"/>
                </a:lnTo>
                <a:lnTo>
                  <a:pt x="9758" y="7835"/>
                </a:lnTo>
                <a:lnTo>
                  <a:pt x="9928" y="7446"/>
                </a:lnTo>
                <a:lnTo>
                  <a:pt x="9977" y="7276"/>
                </a:lnTo>
                <a:lnTo>
                  <a:pt x="10026" y="7081"/>
                </a:lnTo>
                <a:close/>
                <a:moveTo>
                  <a:pt x="9247" y="6424"/>
                </a:moveTo>
                <a:lnTo>
                  <a:pt x="8931" y="6448"/>
                </a:lnTo>
                <a:lnTo>
                  <a:pt x="8639" y="6497"/>
                </a:lnTo>
                <a:lnTo>
                  <a:pt x="8347" y="6570"/>
                </a:lnTo>
                <a:lnTo>
                  <a:pt x="8274" y="6619"/>
                </a:lnTo>
                <a:lnTo>
                  <a:pt x="8225" y="6667"/>
                </a:lnTo>
                <a:lnTo>
                  <a:pt x="7836" y="6789"/>
                </a:lnTo>
                <a:lnTo>
                  <a:pt x="7568" y="6911"/>
                </a:lnTo>
                <a:lnTo>
                  <a:pt x="7325" y="7032"/>
                </a:lnTo>
                <a:lnTo>
                  <a:pt x="7106" y="7203"/>
                </a:lnTo>
                <a:lnTo>
                  <a:pt x="6887" y="7373"/>
                </a:lnTo>
                <a:lnTo>
                  <a:pt x="6668" y="7592"/>
                </a:lnTo>
                <a:lnTo>
                  <a:pt x="6498" y="7835"/>
                </a:lnTo>
                <a:lnTo>
                  <a:pt x="6352" y="8103"/>
                </a:lnTo>
                <a:lnTo>
                  <a:pt x="6254" y="8371"/>
                </a:lnTo>
                <a:lnTo>
                  <a:pt x="6206" y="8663"/>
                </a:lnTo>
                <a:lnTo>
                  <a:pt x="6157" y="8979"/>
                </a:lnTo>
                <a:lnTo>
                  <a:pt x="6157" y="9271"/>
                </a:lnTo>
                <a:lnTo>
                  <a:pt x="6181" y="9563"/>
                </a:lnTo>
                <a:lnTo>
                  <a:pt x="6206" y="9855"/>
                </a:lnTo>
                <a:lnTo>
                  <a:pt x="6279" y="10122"/>
                </a:lnTo>
                <a:lnTo>
                  <a:pt x="6376" y="10390"/>
                </a:lnTo>
                <a:lnTo>
                  <a:pt x="6498" y="10658"/>
                </a:lnTo>
                <a:lnTo>
                  <a:pt x="6644" y="10925"/>
                </a:lnTo>
                <a:lnTo>
                  <a:pt x="6814" y="11169"/>
                </a:lnTo>
                <a:lnTo>
                  <a:pt x="6984" y="11388"/>
                </a:lnTo>
                <a:lnTo>
                  <a:pt x="7203" y="11607"/>
                </a:lnTo>
                <a:lnTo>
                  <a:pt x="7422" y="11801"/>
                </a:lnTo>
                <a:lnTo>
                  <a:pt x="7665" y="11947"/>
                </a:lnTo>
                <a:lnTo>
                  <a:pt x="7909" y="12093"/>
                </a:lnTo>
                <a:lnTo>
                  <a:pt x="8176" y="12191"/>
                </a:lnTo>
                <a:lnTo>
                  <a:pt x="8444" y="12288"/>
                </a:lnTo>
                <a:lnTo>
                  <a:pt x="8736" y="12312"/>
                </a:lnTo>
                <a:lnTo>
                  <a:pt x="9028" y="12312"/>
                </a:lnTo>
                <a:lnTo>
                  <a:pt x="9320" y="12288"/>
                </a:lnTo>
                <a:lnTo>
                  <a:pt x="9588" y="12215"/>
                </a:lnTo>
                <a:lnTo>
                  <a:pt x="9880" y="12118"/>
                </a:lnTo>
                <a:lnTo>
                  <a:pt x="10147" y="11996"/>
                </a:lnTo>
                <a:lnTo>
                  <a:pt x="10415" y="11826"/>
                </a:lnTo>
                <a:lnTo>
                  <a:pt x="10658" y="11655"/>
                </a:lnTo>
                <a:lnTo>
                  <a:pt x="10877" y="11461"/>
                </a:lnTo>
                <a:lnTo>
                  <a:pt x="11096" y="11242"/>
                </a:lnTo>
                <a:lnTo>
                  <a:pt x="11291" y="10998"/>
                </a:lnTo>
                <a:lnTo>
                  <a:pt x="11461" y="10731"/>
                </a:lnTo>
                <a:lnTo>
                  <a:pt x="11632" y="10463"/>
                </a:lnTo>
                <a:lnTo>
                  <a:pt x="11753" y="10195"/>
                </a:lnTo>
                <a:lnTo>
                  <a:pt x="11851" y="9903"/>
                </a:lnTo>
                <a:lnTo>
                  <a:pt x="11924" y="9611"/>
                </a:lnTo>
                <a:lnTo>
                  <a:pt x="11948" y="9319"/>
                </a:lnTo>
                <a:lnTo>
                  <a:pt x="11972" y="9027"/>
                </a:lnTo>
                <a:lnTo>
                  <a:pt x="11924" y="8736"/>
                </a:lnTo>
                <a:lnTo>
                  <a:pt x="11851" y="8444"/>
                </a:lnTo>
                <a:lnTo>
                  <a:pt x="11753" y="8176"/>
                </a:lnTo>
                <a:lnTo>
                  <a:pt x="11632" y="7908"/>
                </a:lnTo>
                <a:lnTo>
                  <a:pt x="11461" y="7665"/>
                </a:lnTo>
                <a:lnTo>
                  <a:pt x="11291" y="7422"/>
                </a:lnTo>
                <a:lnTo>
                  <a:pt x="11096" y="7203"/>
                </a:lnTo>
                <a:lnTo>
                  <a:pt x="10853" y="7032"/>
                </a:lnTo>
                <a:lnTo>
                  <a:pt x="10610" y="6862"/>
                </a:lnTo>
                <a:lnTo>
                  <a:pt x="10366" y="6716"/>
                </a:lnTo>
                <a:lnTo>
                  <a:pt x="10099" y="6594"/>
                </a:lnTo>
                <a:lnTo>
                  <a:pt x="9807" y="6521"/>
                </a:lnTo>
                <a:lnTo>
                  <a:pt x="9515" y="6448"/>
                </a:lnTo>
                <a:lnTo>
                  <a:pt x="9247" y="6424"/>
                </a:lnTo>
                <a:close/>
                <a:moveTo>
                  <a:pt x="9417" y="5694"/>
                </a:moveTo>
                <a:lnTo>
                  <a:pt x="9782" y="5718"/>
                </a:lnTo>
                <a:lnTo>
                  <a:pt x="10172" y="5791"/>
                </a:lnTo>
                <a:lnTo>
                  <a:pt x="10537" y="5889"/>
                </a:lnTo>
                <a:lnTo>
                  <a:pt x="10877" y="6010"/>
                </a:lnTo>
                <a:lnTo>
                  <a:pt x="11218" y="6181"/>
                </a:lnTo>
                <a:lnTo>
                  <a:pt x="11534" y="6351"/>
                </a:lnTo>
                <a:lnTo>
                  <a:pt x="11729" y="6497"/>
                </a:lnTo>
                <a:lnTo>
                  <a:pt x="11899" y="6619"/>
                </a:lnTo>
                <a:lnTo>
                  <a:pt x="12045" y="6789"/>
                </a:lnTo>
                <a:lnTo>
                  <a:pt x="12191" y="6959"/>
                </a:lnTo>
                <a:lnTo>
                  <a:pt x="12313" y="7130"/>
                </a:lnTo>
                <a:lnTo>
                  <a:pt x="12435" y="7324"/>
                </a:lnTo>
                <a:lnTo>
                  <a:pt x="12532" y="7519"/>
                </a:lnTo>
                <a:lnTo>
                  <a:pt x="12629" y="7714"/>
                </a:lnTo>
                <a:lnTo>
                  <a:pt x="12775" y="8152"/>
                </a:lnTo>
                <a:lnTo>
                  <a:pt x="12873" y="8590"/>
                </a:lnTo>
                <a:lnTo>
                  <a:pt x="12921" y="9027"/>
                </a:lnTo>
                <a:lnTo>
                  <a:pt x="12921" y="9465"/>
                </a:lnTo>
                <a:lnTo>
                  <a:pt x="12897" y="9806"/>
                </a:lnTo>
                <a:lnTo>
                  <a:pt x="12848" y="10147"/>
                </a:lnTo>
                <a:lnTo>
                  <a:pt x="12751" y="10463"/>
                </a:lnTo>
                <a:lnTo>
                  <a:pt x="12654" y="10779"/>
                </a:lnTo>
                <a:lnTo>
                  <a:pt x="12508" y="11071"/>
                </a:lnTo>
                <a:lnTo>
                  <a:pt x="12362" y="11363"/>
                </a:lnTo>
                <a:lnTo>
                  <a:pt x="12167" y="11631"/>
                </a:lnTo>
                <a:lnTo>
                  <a:pt x="11972" y="11874"/>
                </a:lnTo>
                <a:lnTo>
                  <a:pt x="11753" y="12093"/>
                </a:lnTo>
                <a:lnTo>
                  <a:pt x="11510" y="12288"/>
                </a:lnTo>
                <a:lnTo>
                  <a:pt x="11242" y="12483"/>
                </a:lnTo>
                <a:lnTo>
                  <a:pt x="10975" y="12653"/>
                </a:lnTo>
                <a:lnTo>
                  <a:pt x="10683" y="12799"/>
                </a:lnTo>
                <a:lnTo>
                  <a:pt x="10366" y="12921"/>
                </a:lnTo>
                <a:lnTo>
                  <a:pt x="10050" y="13018"/>
                </a:lnTo>
                <a:lnTo>
                  <a:pt x="9709" y="13091"/>
                </a:lnTo>
                <a:lnTo>
                  <a:pt x="9369" y="13140"/>
                </a:lnTo>
                <a:lnTo>
                  <a:pt x="8736" y="13140"/>
                </a:lnTo>
                <a:lnTo>
                  <a:pt x="8420" y="13115"/>
                </a:lnTo>
                <a:lnTo>
                  <a:pt x="8128" y="13042"/>
                </a:lnTo>
                <a:lnTo>
                  <a:pt x="7836" y="12969"/>
                </a:lnTo>
                <a:lnTo>
                  <a:pt x="7568" y="12848"/>
                </a:lnTo>
                <a:lnTo>
                  <a:pt x="7276" y="12726"/>
                </a:lnTo>
                <a:lnTo>
                  <a:pt x="7033" y="12556"/>
                </a:lnTo>
                <a:lnTo>
                  <a:pt x="6790" y="12385"/>
                </a:lnTo>
                <a:lnTo>
                  <a:pt x="6546" y="12191"/>
                </a:lnTo>
                <a:lnTo>
                  <a:pt x="6352" y="11972"/>
                </a:lnTo>
                <a:lnTo>
                  <a:pt x="6157" y="11728"/>
                </a:lnTo>
                <a:lnTo>
                  <a:pt x="5962" y="11461"/>
                </a:lnTo>
                <a:lnTo>
                  <a:pt x="5816" y="11193"/>
                </a:lnTo>
                <a:lnTo>
                  <a:pt x="5670" y="10877"/>
                </a:lnTo>
                <a:lnTo>
                  <a:pt x="5597" y="10658"/>
                </a:lnTo>
                <a:lnTo>
                  <a:pt x="5524" y="10414"/>
                </a:lnTo>
                <a:lnTo>
                  <a:pt x="5476" y="10171"/>
                </a:lnTo>
                <a:lnTo>
                  <a:pt x="5427" y="9928"/>
                </a:lnTo>
                <a:lnTo>
                  <a:pt x="5403" y="9684"/>
                </a:lnTo>
                <a:lnTo>
                  <a:pt x="5403" y="9465"/>
                </a:lnTo>
                <a:lnTo>
                  <a:pt x="5403" y="9222"/>
                </a:lnTo>
                <a:lnTo>
                  <a:pt x="5427" y="8979"/>
                </a:lnTo>
                <a:lnTo>
                  <a:pt x="5451" y="8736"/>
                </a:lnTo>
                <a:lnTo>
                  <a:pt x="5500" y="8517"/>
                </a:lnTo>
                <a:lnTo>
                  <a:pt x="5573" y="8273"/>
                </a:lnTo>
                <a:lnTo>
                  <a:pt x="5646" y="8054"/>
                </a:lnTo>
                <a:lnTo>
                  <a:pt x="5743" y="7811"/>
                </a:lnTo>
                <a:lnTo>
                  <a:pt x="5865" y="7592"/>
                </a:lnTo>
                <a:lnTo>
                  <a:pt x="5987" y="7397"/>
                </a:lnTo>
                <a:lnTo>
                  <a:pt x="6133" y="7178"/>
                </a:lnTo>
                <a:lnTo>
                  <a:pt x="6376" y="6886"/>
                </a:lnTo>
                <a:lnTo>
                  <a:pt x="6644" y="6619"/>
                </a:lnTo>
                <a:lnTo>
                  <a:pt x="6911" y="6400"/>
                </a:lnTo>
                <a:lnTo>
                  <a:pt x="7228" y="6229"/>
                </a:lnTo>
                <a:lnTo>
                  <a:pt x="7544" y="6059"/>
                </a:lnTo>
                <a:lnTo>
                  <a:pt x="7884" y="5937"/>
                </a:lnTo>
                <a:lnTo>
                  <a:pt x="8225" y="5840"/>
                </a:lnTo>
                <a:lnTo>
                  <a:pt x="8590" y="5743"/>
                </a:lnTo>
                <a:lnTo>
                  <a:pt x="8687" y="5743"/>
                </a:lnTo>
                <a:lnTo>
                  <a:pt x="9052" y="5694"/>
                </a:lnTo>
                <a:close/>
                <a:moveTo>
                  <a:pt x="9150" y="5207"/>
                </a:moveTo>
                <a:lnTo>
                  <a:pt x="8760" y="5232"/>
                </a:lnTo>
                <a:lnTo>
                  <a:pt x="8420" y="5256"/>
                </a:lnTo>
                <a:lnTo>
                  <a:pt x="8055" y="5305"/>
                </a:lnTo>
                <a:lnTo>
                  <a:pt x="7714" y="5402"/>
                </a:lnTo>
                <a:lnTo>
                  <a:pt x="7373" y="5548"/>
                </a:lnTo>
                <a:lnTo>
                  <a:pt x="7057" y="5718"/>
                </a:lnTo>
                <a:lnTo>
                  <a:pt x="6741" y="5889"/>
                </a:lnTo>
                <a:lnTo>
                  <a:pt x="6473" y="6108"/>
                </a:lnTo>
                <a:lnTo>
                  <a:pt x="6181" y="6327"/>
                </a:lnTo>
                <a:lnTo>
                  <a:pt x="6035" y="6497"/>
                </a:lnTo>
                <a:lnTo>
                  <a:pt x="5865" y="6667"/>
                </a:lnTo>
                <a:lnTo>
                  <a:pt x="5597" y="7032"/>
                </a:lnTo>
                <a:lnTo>
                  <a:pt x="5354" y="7446"/>
                </a:lnTo>
                <a:lnTo>
                  <a:pt x="5159" y="7860"/>
                </a:lnTo>
                <a:lnTo>
                  <a:pt x="5013" y="8298"/>
                </a:lnTo>
                <a:lnTo>
                  <a:pt x="4916" y="8760"/>
                </a:lnTo>
                <a:lnTo>
                  <a:pt x="4867" y="9222"/>
                </a:lnTo>
                <a:lnTo>
                  <a:pt x="4867" y="9684"/>
                </a:lnTo>
                <a:lnTo>
                  <a:pt x="4916" y="10049"/>
                </a:lnTo>
                <a:lnTo>
                  <a:pt x="4965" y="10414"/>
                </a:lnTo>
                <a:lnTo>
                  <a:pt x="5062" y="10755"/>
                </a:lnTo>
                <a:lnTo>
                  <a:pt x="5184" y="11096"/>
                </a:lnTo>
                <a:lnTo>
                  <a:pt x="5330" y="11412"/>
                </a:lnTo>
                <a:lnTo>
                  <a:pt x="5500" y="11728"/>
                </a:lnTo>
                <a:lnTo>
                  <a:pt x="5695" y="12020"/>
                </a:lnTo>
                <a:lnTo>
                  <a:pt x="5914" y="12288"/>
                </a:lnTo>
                <a:lnTo>
                  <a:pt x="6157" y="12531"/>
                </a:lnTo>
                <a:lnTo>
                  <a:pt x="6425" y="12775"/>
                </a:lnTo>
                <a:lnTo>
                  <a:pt x="6717" y="12969"/>
                </a:lnTo>
                <a:lnTo>
                  <a:pt x="7009" y="13164"/>
                </a:lnTo>
                <a:lnTo>
                  <a:pt x="7325" y="13310"/>
                </a:lnTo>
                <a:lnTo>
                  <a:pt x="7665" y="13432"/>
                </a:lnTo>
                <a:lnTo>
                  <a:pt x="8006" y="13529"/>
                </a:lnTo>
                <a:lnTo>
                  <a:pt x="8371" y="13602"/>
                </a:lnTo>
                <a:lnTo>
                  <a:pt x="8687" y="13651"/>
                </a:lnTo>
                <a:lnTo>
                  <a:pt x="9296" y="13651"/>
                </a:lnTo>
                <a:lnTo>
                  <a:pt x="9612" y="13626"/>
                </a:lnTo>
                <a:lnTo>
                  <a:pt x="9928" y="13578"/>
                </a:lnTo>
                <a:lnTo>
                  <a:pt x="10220" y="13505"/>
                </a:lnTo>
                <a:lnTo>
                  <a:pt x="10512" y="13407"/>
                </a:lnTo>
                <a:lnTo>
                  <a:pt x="10804" y="13310"/>
                </a:lnTo>
                <a:lnTo>
                  <a:pt x="11072" y="13188"/>
                </a:lnTo>
                <a:lnTo>
                  <a:pt x="11340" y="13042"/>
                </a:lnTo>
                <a:lnTo>
                  <a:pt x="11607" y="12872"/>
                </a:lnTo>
                <a:lnTo>
                  <a:pt x="11851" y="12702"/>
                </a:lnTo>
                <a:lnTo>
                  <a:pt x="12094" y="12507"/>
                </a:lnTo>
                <a:lnTo>
                  <a:pt x="12313" y="12288"/>
                </a:lnTo>
                <a:lnTo>
                  <a:pt x="12508" y="12045"/>
                </a:lnTo>
                <a:lnTo>
                  <a:pt x="12702" y="11801"/>
                </a:lnTo>
                <a:lnTo>
                  <a:pt x="12897" y="11461"/>
                </a:lnTo>
                <a:lnTo>
                  <a:pt x="13092" y="11096"/>
                </a:lnTo>
                <a:lnTo>
                  <a:pt x="13213" y="10706"/>
                </a:lnTo>
                <a:lnTo>
                  <a:pt x="13335" y="10317"/>
                </a:lnTo>
                <a:lnTo>
                  <a:pt x="13384" y="9903"/>
                </a:lnTo>
                <a:lnTo>
                  <a:pt x="13432" y="9490"/>
                </a:lnTo>
                <a:lnTo>
                  <a:pt x="13432" y="9076"/>
                </a:lnTo>
                <a:lnTo>
                  <a:pt x="13384" y="8663"/>
                </a:lnTo>
                <a:lnTo>
                  <a:pt x="13311" y="8273"/>
                </a:lnTo>
                <a:lnTo>
                  <a:pt x="13189" y="7860"/>
                </a:lnTo>
                <a:lnTo>
                  <a:pt x="13043" y="7495"/>
                </a:lnTo>
                <a:lnTo>
                  <a:pt x="12873" y="7130"/>
                </a:lnTo>
                <a:lnTo>
                  <a:pt x="12654" y="6789"/>
                </a:lnTo>
                <a:lnTo>
                  <a:pt x="12386" y="6473"/>
                </a:lnTo>
                <a:lnTo>
                  <a:pt x="12094" y="6181"/>
                </a:lnTo>
                <a:lnTo>
                  <a:pt x="11778" y="5937"/>
                </a:lnTo>
                <a:lnTo>
                  <a:pt x="11461" y="5743"/>
                </a:lnTo>
                <a:lnTo>
                  <a:pt x="11096" y="5572"/>
                </a:lnTo>
                <a:lnTo>
                  <a:pt x="10731" y="5426"/>
                </a:lnTo>
                <a:lnTo>
                  <a:pt x="10342" y="5329"/>
                </a:lnTo>
                <a:lnTo>
                  <a:pt x="9953" y="5256"/>
                </a:lnTo>
                <a:lnTo>
                  <a:pt x="9539" y="5207"/>
                </a:lnTo>
                <a:close/>
                <a:moveTo>
                  <a:pt x="7714" y="511"/>
                </a:moveTo>
                <a:lnTo>
                  <a:pt x="8687" y="536"/>
                </a:lnTo>
                <a:lnTo>
                  <a:pt x="9685" y="560"/>
                </a:lnTo>
                <a:lnTo>
                  <a:pt x="10658" y="633"/>
                </a:lnTo>
                <a:lnTo>
                  <a:pt x="11340" y="633"/>
                </a:lnTo>
                <a:lnTo>
                  <a:pt x="11680" y="609"/>
                </a:lnTo>
                <a:lnTo>
                  <a:pt x="12021" y="609"/>
                </a:lnTo>
                <a:lnTo>
                  <a:pt x="12264" y="633"/>
                </a:lnTo>
                <a:lnTo>
                  <a:pt x="12483" y="706"/>
                </a:lnTo>
                <a:lnTo>
                  <a:pt x="12654" y="779"/>
                </a:lnTo>
                <a:lnTo>
                  <a:pt x="12800" y="876"/>
                </a:lnTo>
                <a:lnTo>
                  <a:pt x="12921" y="1022"/>
                </a:lnTo>
                <a:lnTo>
                  <a:pt x="13019" y="1168"/>
                </a:lnTo>
                <a:lnTo>
                  <a:pt x="13092" y="1314"/>
                </a:lnTo>
                <a:lnTo>
                  <a:pt x="13140" y="1484"/>
                </a:lnTo>
                <a:lnTo>
                  <a:pt x="13262" y="1874"/>
                </a:lnTo>
                <a:lnTo>
                  <a:pt x="13335" y="2263"/>
                </a:lnTo>
                <a:lnTo>
                  <a:pt x="13432" y="2652"/>
                </a:lnTo>
                <a:lnTo>
                  <a:pt x="13481" y="2847"/>
                </a:lnTo>
                <a:lnTo>
                  <a:pt x="13554" y="3017"/>
                </a:lnTo>
                <a:lnTo>
                  <a:pt x="13627" y="3115"/>
                </a:lnTo>
                <a:lnTo>
                  <a:pt x="13724" y="3139"/>
                </a:lnTo>
                <a:lnTo>
                  <a:pt x="13822" y="3139"/>
                </a:lnTo>
                <a:lnTo>
                  <a:pt x="13919" y="3090"/>
                </a:lnTo>
                <a:lnTo>
                  <a:pt x="14138" y="3066"/>
                </a:lnTo>
                <a:lnTo>
                  <a:pt x="14357" y="3066"/>
                </a:lnTo>
                <a:lnTo>
                  <a:pt x="14795" y="3090"/>
                </a:lnTo>
                <a:lnTo>
                  <a:pt x="15233" y="3139"/>
                </a:lnTo>
                <a:lnTo>
                  <a:pt x="15671" y="3163"/>
                </a:lnTo>
                <a:lnTo>
                  <a:pt x="16084" y="3188"/>
                </a:lnTo>
                <a:lnTo>
                  <a:pt x="16571" y="3212"/>
                </a:lnTo>
                <a:lnTo>
                  <a:pt x="16839" y="3212"/>
                </a:lnTo>
                <a:lnTo>
                  <a:pt x="17082" y="3188"/>
                </a:lnTo>
                <a:lnTo>
                  <a:pt x="17325" y="3163"/>
                </a:lnTo>
                <a:lnTo>
                  <a:pt x="17520" y="3066"/>
                </a:lnTo>
                <a:lnTo>
                  <a:pt x="17496" y="3261"/>
                </a:lnTo>
                <a:lnTo>
                  <a:pt x="17496" y="3480"/>
                </a:lnTo>
                <a:lnTo>
                  <a:pt x="17544" y="5086"/>
                </a:lnTo>
                <a:lnTo>
                  <a:pt x="17593" y="6789"/>
                </a:lnTo>
                <a:lnTo>
                  <a:pt x="17617" y="8517"/>
                </a:lnTo>
                <a:lnTo>
                  <a:pt x="17666" y="11753"/>
                </a:lnTo>
                <a:lnTo>
                  <a:pt x="17666" y="12483"/>
                </a:lnTo>
                <a:lnTo>
                  <a:pt x="17642" y="13213"/>
                </a:lnTo>
                <a:lnTo>
                  <a:pt x="17617" y="13943"/>
                </a:lnTo>
                <a:lnTo>
                  <a:pt x="17617" y="14673"/>
                </a:lnTo>
                <a:lnTo>
                  <a:pt x="17544" y="14673"/>
                </a:lnTo>
                <a:lnTo>
                  <a:pt x="16449" y="14746"/>
                </a:lnTo>
                <a:lnTo>
                  <a:pt x="15379" y="14794"/>
                </a:lnTo>
                <a:lnTo>
                  <a:pt x="14308" y="14794"/>
                </a:lnTo>
                <a:lnTo>
                  <a:pt x="13238" y="14770"/>
                </a:lnTo>
                <a:lnTo>
                  <a:pt x="11072" y="14721"/>
                </a:lnTo>
                <a:lnTo>
                  <a:pt x="10001" y="14697"/>
                </a:lnTo>
                <a:lnTo>
                  <a:pt x="8931" y="14673"/>
                </a:lnTo>
                <a:lnTo>
                  <a:pt x="7811" y="14673"/>
                </a:lnTo>
                <a:lnTo>
                  <a:pt x="6692" y="14721"/>
                </a:lnTo>
                <a:lnTo>
                  <a:pt x="4454" y="14819"/>
                </a:lnTo>
                <a:lnTo>
                  <a:pt x="2215" y="14892"/>
                </a:lnTo>
                <a:lnTo>
                  <a:pt x="1826" y="14892"/>
                </a:lnTo>
                <a:lnTo>
                  <a:pt x="1436" y="14867"/>
                </a:lnTo>
                <a:lnTo>
                  <a:pt x="828" y="14867"/>
                </a:lnTo>
                <a:lnTo>
                  <a:pt x="633" y="14916"/>
                </a:lnTo>
                <a:lnTo>
                  <a:pt x="658" y="14624"/>
                </a:lnTo>
                <a:lnTo>
                  <a:pt x="658" y="14308"/>
                </a:lnTo>
                <a:lnTo>
                  <a:pt x="658" y="13724"/>
                </a:lnTo>
                <a:lnTo>
                  <a:pt x="633" y="13115"/>
                </a:lnTo>
                <a:lnTo>
                  <a:pt x="633" y="12531"/>
                </a:lnTo>
                <a:lnTo>
                  <a:pt x="682" y="10804"/>
                </a:lnTo>
                <a:lnTo>
                  <a:pt x="706" y="9928"/>
                </a:lnTo>
                <a:lnTo>
                  <a:pt x="682" y="9076"/>
                </a:lnTo>
                <a:lnTo>
                  <a:pt x="585" y="7349"/>
                </a:lnTo>
                <a:lnTo>
                  <a:pt x="512" y="5597"/>
                </a:lnTo>
                <a:lnTo>
                  <a:pt x="463" y="4794"/>
                </a:lnTo>
                <a:lnTo>
                  <a:pt x="439" y="4380"/>
                </a:lnTo>
                <a:lnTo>
                  <a:pt x="439" y="3991"/>
                </a:lnTo>
                <a:lnTo>
                  <a:pt x="439" y="3601"/>
                </a:lnTo>
                <a:lnTo>
                  <a:pt x="390" y="3236"/>
                </a:lnTo>
                <a:lnTo>
                  <a:pt x="706" y="3285"/>
                </a:lnTo>
                <a:lnTo>
                  <a:pt x="1217" y="3285"/>
                </a:lnTo>
                <a:lnTo>
                  <a:pt x="1436" y="3261"/>
                </a:lnTo>
                <a:lnTo>
                  <a:pt x="1655" y="3212"/>
                </a:lnTo>
                <a:lnTo>
                  <a:pt x="1753" y="3163"/>
                </a:lnTo>
                <a:lnTo>
                  <a:pt x="1826" y="3115"/>
                </a:lnTo>
                <a:lnTo>
                  <a:pt x="1874" y="3042"/>
                </a:lnTo>
                <a:lnTo>
                  <a:pt x="1899" y="2969"/>
                </a:lnTo>
                <a:lnTo>
                  <a:pt x="1899" y="2896"/>
                </a:lnTo>
                <a:lnTo>
                  <a:pt x="1874" y="2823"/>
                </a:lnTo>
                <a:lnTo>
                  <a:pt x="1947" y="2725"/>
                </a:lnTo>
                <a:lnTo>
                  <a:pt x="2069" y="2652"/>
                </a:lnTo>
                <a:lnTo>
                  <a:pt x="2191" y="2579"/>
                </a:lnTo>
                <a:lnTo>
                  <a:pt x="2312" y="2555"/>
                </a:lnTo>
                <a:lnTo>
                  <a:pt x="2458" y="2531"/>
                </a:lnTo>
                <a:lnTo>
                  <a:pt x="2580" y="2531"/>
                </a:lnTo>
                <a:lnTo>
                  <a:pt x="2702" y="2555"/>
                </a:lnTo>
                <a:lnTo>
                  <a:pt x="2823" y="2579"/>
                </a:lnTo>
                <a:lnTo>
                  <a:pt x="2945" y="2628"/>
                </a:lnTo>
                <a:lnTo>
                  <a:pt x="3067" y="2677"/>
                </a:lnTo>
                <a:lnTo>
                  <a:pt x="3164" y="2774"/>
                </a:lnTo>
                <a:lnTo>
                  <a:pt x="3237" y="2847"/>
                </a:lnTo>
                <a:lnTo>
                  <a:pt x="3310" y="2944"/>
                </a:lnTo>
                <a:lnTo>
                  <a:pt x="3334" y="2993"/>
                </a:lnTo>
                <a:lnTo>
                  <a:pt x="3334" y="3017"/>
                </a:lnTo>
                <a:lnTo>
                  <a:pt x="3383" y="3115"/>
                </a:lnTo>
                <a:lnTo>
                  <a:pt x="3456" y="3163"/>
                </a:lnTo>
                <a:lnTo>
                  <a:pt x="3529" y="3188"/>
                </a:lnTo>
                <a:lnTo>
                  <a:pt x="3602" y="3163"/>
                </a:lnTo>
                <a:lnTo>
                  <a:pt x="3821" y="3188"/>
                </a:lnTo>
                <a:lnTo>
                  <a:pt x="4162" y="3212"/>
                </a:lnTo>
                <a:lnTo>
                  <a:pt x="4332" y="3188"/>
                </a:lnTo>
                <a:lnTo>
                  <a:pt x="4502" y="3139"/>
                </a:lnTo>
                <a:lnTo>
                  <a:pt x="4551" y="3090"/>
                </a:lnTo>
                <a:lnTo>
                  <a:pt x="4575" y="3042"/>
                </a:lnTo>
                <a:lnTo>
                  <a:pt x="4600" y="2993"/>
                </a:lnTo>
                <a:lnTo>
                  <a:pt x="4600" y="2920"/>
                </a:lnTo>
                <a:lnTo>
                  <a:pt x="4721" y="2725"/>
                </a:lnTo>
                <a:lnTo>
                  <a:pt x="4794" y="2506"/>
                </a:lnTo>
                <a:lnTo>
                  <a:pt x="4867" y="2263"/>
                </a:lnTo>
                <a:lnTo>
                  <a:pt x="4940" y="2020"/>
                </a:lnTo>
                <a:lnTo>
                  <a:pt x="5062" y="1533"/>
                </a:lnTo>
                <a:lnTo>
                  <a:pt x="5135" y="1290"/>
                </a:lnTo>
                <a:lnTo>
                  <a:pt x="5232" y="1095"/>
                </a:lnTo>
                <a:lnTo>
                  <a:pt x="5281" y="998"/>
                </a:lnTo>
                <a:lnTo>
                  <a:pt x="5354" y="925"/>
                </a:lnTo>
                <a:lnTo>
                  <a:pt x="5500" y="803"/>
                </a:lnTo>
                <a:lnTo>
                  <a:pt x="5695" y="706"/>
                </a:lnTo>
                <a:lnTo>
                  <a:pt x="5889" y="657"/>
                </a:lnTo>
                <a:lnTo>
                  <a:pt x="6108" y="609"/>
                </a:lnTo>
                <a:lnTo>
                  <a:pt x="6327" y="584"/>
                </a:lnTo>
                <a:lnTo>
                  <a:pt x="6717" y="560"/>
                </a:lnTo>
                <a:lnTo>
                  <a:pt x="7203" y="536"/>
                </a:lnTo>
                <a:lnTo>
                  <a:pt x="7714" y="511"/>
                </a:lnTo>
                <a:close/>
                <a:moveTo>
                  <a:pt x="7714" y="0"/>
                </a:moveTo>
                <a:lnTo>
                  <a:pt x="7130" y="25"/>
                </a:lnTo>
                <a:lnTo>
                  <a:pt x="6546" y="49"/>
                </a:lnTo>
                <a:lnTo>
                  <a:pt x="6157" y="98"/>
                </a:lnTo>
                <a:lnTo>
                  <a:pt x="5768" y="146"/>
                </a:lnTo>
                <a:lnTo>
                  <a:pt x="5573" y="195"/>
                </a:lnTo>
                <a:lnTo>
                  <a:pt x="5378" y="268"/>
                </a:lnTo>
                <a:lnTo>
                  <a:pt x="5208" y="365"/>
                </a:lnTo>
                <a:lnTo>
                  <a:pt x="5062" y="487"/>
                </a:lnTo>
                <a:lnTo>
                  <a:pt x="4940" y="584"/>
                </a:lnTo>
                <a:lnTo>
                  <a:pt x="4843" y="706"/>
                </a:lnTo>
                <a:lnTo>
                  <a:pt x="4697" y="949"/>
                </a:lnTo>
                <a:lnTo>
                  <a:pt x="4575" y="1241"/>
                </a:lnTo>
                <a:lnTo>
                  <a:pt x="4502" y="1533"/>
                </a:lnTo>
                <a:lnTo>
                  <a:pt x="4332" y="2141"/>
                </a:lnTo>
                <a:lnTo>
                  <a:pt x="4113" y="2750"/>
                </a:lnTo>
                <a:lnTo>
                  <a:pt x="3894" y="2774"/>
                </a:lnTo>
                <a:lnTo>
                  <a:pt x="3699" y="2774"/>
                </a:lnTo>
                <a:lnTo>
                  <a:pt x="3602" y="2628"/>
                </a:lnTo>
                <a:lnTo>
                  <a:pt x="3505" y="2482"/>
                </a:lnTo>
                <a:lnTo>
                  <a:pt x="3359" y="2385"/>
                </a:lnTo>
                <a:lnTo>
                  <a:pt x="3213" y="2287"/>
                </a:lnTo>
                <a:lnTo>
                  <a:pt x="3067" y="2214"/>
                </a:lnTo>
                <a:lnTo>
                  <a:pt x="2896" y="2166"/>
                </a:lnTo>
                <a:lnTo>
                  <a:pt x="2702" y="2117"/>
                </a:lnTo>
                <a:lnTo>
                  <a:pt x="2531" y="2093"/>
                </a:lnTo>
                <a:lnTo>
                  <a:pt x="2410" y="2117"/>
                </a:lnTo>
                <a:lnTo>
                  <a:pt x="2264" y="2141"/>
                </a:lnTo>
                <a:lnTo>
                  <a:pt x="2118" y="2166"/>
                </a:lnTo>
                <a:lnTo>
                  <a:pt x="1947" y="2239"/>
                </a:lnTo>
                <a:lnTo>
                  <a:pt x="1801" y="2312"/>
                </a:lnTo>
                <a:lnTo>
                  <a:pt x="1680" y="2409"/>
                </a:lnTo>
                <a:lnTo>
                  <a:pt x="1558" y="2506"/>
                </a:lnTo>
                <a:lnTo>
                  <a:pt x="1485" y="2628"/>
                </a:lnTo>
                <a:lnTo>
                  <a:pt x="1242" y="2652"/>
                </a:lnTo>
                <a:lnTo>
                  <a:pt x="1023" y="2677"/>
                </a:lnTo>
                <a:lnTo>
                  <a:pt x="220" y="2677"/>
                </a:lnTo>
                <a:lnTo>
                  <a:pt x="171" y="2701"/>
                </a:lnTo>
                <a:lnTo>
                  <a:pt x="122" y="2725"/>
                </a:lnTo>
                <a:lnTo>
                  <a:pt x="74" y="2774"/>
                </a:lnTo>
                <a:lnTo>
                  <a:pt x="25" y="2823"/>
                </a:lnTo>
                <a:lnTo>
                  <a:pt x="1" y="2896"/>
                </a:lnTo>
                <a:lnTo>
                  <a:pt x="25" y="4258"/>
                </a:lnTo>
                <a:lnTo>
                  <a:pt x="49" y="5597"/>
                </a:lnTo>
                <a:lnTo>
                  <a:pt x="98" y="7349"/>
                </a:lnTo>
                <a:lnTo>
                  <a:pt x="195" y="9076"/>
                </a:lnTo>
                <a:lnTo>
                  <a:pt x="195" y="9879"/>
                </a:lnTo>
                <a:lnTo>
                  <a:pt x="195" y="10706"/>
                </a:lnTo>
                <a:lnTo>
                  <a:pt x="171" y="11534"/>
                </a:lnTo>
                <a:lnTo>
                  <a:pt x="122" y="12337"/>
                </a:lnTo>
                <a:lnTo>
                  <a:pt x="98" y="12994"/>
                </a:lnTo>
                <a:lnTo>
                  <a:pt x="98" y="13626"/>
                </a:lnTo>
                <a:lnTo>
                  <a:pt x="122" y="14916"/>
                </a:lnTo>
                <a:lnTo>
                  <a:pt x="122" y="14965"/>
                </a:lnTo>
                <a:lnTo>
                  <a:pt x="147" y="15038"/>
                </a:lnTo>
                <a:lnTo>
                  <a:pt x="195" y="15086"/>
                </a:lnTo>
                <a:lnTo>
                  <a:pt x="244" y="15111"/>
                </a:lnTo>
                <a:lnTo>
                  <a:pt x="268" y="15184"/>
                </a:lnTo>
                <a:lnTo>
                  <a:pt x="317" y="15257"/>
                </a:lnTo>
                <a:lnTo>
                  <a:pt x="487" y="15354"/>
                </a:lnTo>
                <a:lnTo>
                  <a:pt x="706" y="15403"/>
                </a:lnTo>
                <a:lnTo>
                  <a:pt x="925" y="15427"/>
                </a:lnTo>
                <a:lnTo>
                  <a:pt x="1144" y="15451"/>
                </a:lnTo>
                <a:lnTo>
                  <a:pt x="1607" y="15451"/>
                </a:lnTo>
                <a:lnTo>
                  <a:pt x="2020" y="15427"/>
                </a:lnTo>
                <a:lnTo>
                  <a:pt x="3140" y="15403"/>
                </a:lnTo>
                <a:lnTo>
                  <a:pt x="4259" y="15378"/>
                </a:lnTo>
                <a:lnTo>
                  <a:pt x="5378" y="15330"/>
                </a:lnTo>
                <a:lnTo>
                  <a:pt x="6498" y="15281"/>
                </a:lnTo>
                <a:lnTo>
                  <a:pt x="7617" y="15232"/>
                </a:lnTo>
                <a:lnTo>
                  <a:pt x="8736" y="15208"/>
                </a:lnTo>
                <a:lnTo>
                  <a:pt x="9855" y="15232"/>
                </a:lnTo>
                <a:lnTo>
                  <a:pt x="10950" y="15257"/>
                </a:lnTo>
                <a:lnTo>
                  <a:pt x="13140" y="15305"/>
                </a:lnTo>
                <a:lnTo>
                  <a:pt x="14235" y="15330"/>
                </a:lnTo>
                <a:lnTo>
                  <a:pt x="15330" y="15330"/>
                </a:lnTo>
                <a:lnTo>
                  <a:pt x="16449" y="15305"/>
                </a:lnTo>
                <a:lnTo>
                  <a:pt x="17544" y="15208"/>
                </a:lnTo>
                <a:lnTo>
                  <a:pt x="17642" y="15184"/>
                </a:lnTo>
                <a:lnTo>
                  <a:pt x="17715" y="15135"/>
                </a:lnTo>
                <a:lnTo>
                  <a:pt x="17788" y="15184"/>
                </a:lnTo>
                <a:lnTo>
                  <a:pt x="17861" y="15208"/>
                </a:lnTo>
                <a:lnTo>
                  <a:pt x="17958" y="15232"/>
                </a:lnTo>
                <a:lnTo>
                  <a:pt x="18031" y="15208"/>
                </a:lnTo>
                <a:lnTo>
                  <a:pt x="18104" y="15184"/>
                </a:lnTo>
                <a:lnTo>
                  <a:pt x="18177" y="15111"/>
                </a:lnTo>
                <a:lnTo>
                  <a:pt x="18201" y="15038"/>
                </a:lnTo>
                <a:lnTo>
                  <a:pt x="18226" y="14940"/>
                </a:lnTo>
                <a:lnTo>
                  <a:pt x="18201" y="14186"/>
                </a:lnTo>
                <a:lnTo>
                  <a:pt x="18226" y="13432"/>
                </a:lnTo>
                <a:lnTo>
                  <a:pt x="18250" y="12677"/>
                </a:lnTo>
                <a:lnTo>
                  <a:pt x="18250" y="11923"/>
                </a:lnTo>
                <a:lnTo>
                  <a:pt x="18201" y="8711"/>
                </a:lnTo>
                <a:lnTo>
                  <a:pt x="18177" y="7081"/>
                </a:lnTo>
                <a:lnTo>
                  <a:pt x="18104" y="5475"/>
                </a:lnTo>
                <a:lnTo>
                  <a:pt x="18080" y="4794"/>
                </a:lnTo>
                <a:lnTo>
                  <a:pt x="18031" y="4137"/>
                </a:lnTo>
                <a:lnTo>
                  <a:pt x="17982" y="3480"/>
                </a:lnTo>
                <a:lnTo>
                  <a:pt x="17982" y="2798"/>
                </a:lnTo>
                <a:lnTo>
                  <a:pt x="17982" y="2750"/>
                </a:lnTo>
                <a:lnTo>
                  <a:pt x="17958" y="2701"/>
                </a:lnTo>
                <a:lnTo>
                  <a:pt x="17885" y="2652"/>
                </a:lnTo>
                <a:lnTo>
                  <a:pt x="17788" y="2628"/>
                </a:lnTo>
                <a:lnTo>
                  <a:pt x="17715" y="2628"/>
                </a:lnTo>
                <a:lnTo>
                  <a:pt x="17617" y="2579"/>
                </a:lnTo>
                <a:lnTo>
                  <a:pt x="17496" y="2555"/>
                </a:lnTo>
                <a:lnTo>
                  <a:pt x="17106" y="2555"/>
                </a:lnTo>
                <a:lnTo>
                  <a:pt x="16839" y="2604"/>
                </a:lnTo>
                <a:lnTo>
                  <a:pt x="16595" y="2628"/>
                </a:lnTo>
                <a:lnTo>
                  <a:pt x="15963" y="2652"/>
                </a:lnTo>
                <a:lnTo>
                  <a:pt x="15330" y="2628"/>
                </a:lnTo>
                <a:lnTo>
                  <a:pt x="14990" y="2604"/>
                </a:lnTo>
                <a:lnTo>
                  <a:pt x="14625" y="2555"/>
                </a:lnTo>
                <a:lnTo>
                  <a:pt x="14260" y="2555"/>
                </a:lnTo>
                <a:lnTo>
                  <a:pt x="14089" y="2579"/>
                </a:lnTo>
                <a:lnTo>
                  <a:pt x="13943" y="2628"/>
                </a:lnTo>
                <a:lnTo>
                  <a:pt x="13846" y="2263"/>
                </a:lnTo>
                <a:lnTo>
                  <a:pt x="13773" y="1874"/>
                </a:lnTo>
                <a:lnTo>
                  <a:pt x="13700" y="1509"/>
                </a:lnTo>
                <a:lnTo>
                  <a:pt x="13578" y="1168"/>
                </a:lnTo>
                <a:lnTo>
                  <a:pt x="13505" y="1022"/>
                </a:lnTo>
                <a:lnTo>
                  <a:pt x="13432" y="852"/>
                </a:lnTo>
                <a:lnTo>
                  <a:pt x="13335" y="706"/>
                </a:lnTo>
                <a:lnTo>
                  <a:pt x="13238" y="584"/>
                </a:lnTo>
                <a:lnTo>
                  <a:pt x="13092" y="463"/>
                </a:lnTo>
                <a:lnTo>
                  <a:pt x="12946" y="341"/>
                </a:lnTo>
                <a:lnTo>
                  <a:pt x="12775" y="268"/>
                </a:lnTo>
                <a:lnTo>
                  <a:pt x="12581" y="171"/>
                </a:lnTo>
                <a:lnTo>
                  <a:pt x="12386" y="146"/>
                </a:lnTo>
                <a:lnTo>
                  <a:pt x="12191" y="98"/>
                </a:lnTo>
                <a:lnTo>
                  <a:pt x="11802" y="98"/>
                </a:lnTo>
                <a:lnTo>
                  <a:pt x="11023" y="122"/>
                </a:lnTo>
                <a:lnTo>
                  <a:pt x="10488" y="122"/>
                </a:lnTo>
                <a:lnTo>
                  <a:pt x="9953" y="98"/>
                </a:lnTo>
                <a:lnTo>
                  <a:pt x="8882" y="25"/>
                </a:lnTo>
                <a:lnTo>
                  <a:pt x="8298" y="0"/>
                </a:lnTo>
                <a:close/>
              </a:path>
            </a:pathLst>
          </a:custGeom>
          <a:solidFill>
            <a:schemeClr val="dk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7" name="Прямоугольник 56"/>
          <p:cNvSpPr/>
          <p:nvPr/>
        </p:nvSpPr>
        <p:spPr>
          <a:xfrm>
            <a:off x="179335" y="165297"/>
            <a:ext cx="9453894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/>
              <a:t>День родительского самоуправления  </a:t>
            </a:r>
            <a:br>
              <a:rPr lang="ru-RU" b="1" dirty="0"/>
            </a:br>
            <a:r>
              <a:rPr lang="ru-RU" b="1" dirty="0"/>
              <a:t>«В мире дошкольного </a:t>
            </a:r>
            <a:r>
              <a:rPr lang="ru-RU" b="1" dirty="0" smtClean="0"/>
              <a:t>детства»</a:t>
            </a:r>
          </a:p>
          <a:p>
            <a:r>
              <a:rPr lang="ru-RU" b="1" dirty="0" smtClean="0"/>
              <a:t>Цель </a:t>
            </a:r>
            <a:r>
              <a:rPr lang="ru-RU" b="1" dirty="0" smtClean="0"/>
              <a:t>мероприятия: </a:t>
            </a:r>
            <a:r>
              <a:rPr lang="ru-RU" dirty="0" smtClean="0"/>
              <a:t>п</a:t>
            </a:r>
            <a:r>
              <a:rPr lang="ru-RU" dirty="0" smtClean="0"/>
              <a:t>ривлечение </a:t>
            </a:r>
            <a:r>
              <a:rPr lang="ru-RU" dirty="0"/>
              <a:t>родителей к </a:t>
            </a:r>
            <a:r>
              <a:rPr lang="ru-RU" dirty="0" smtClean="0"/>
              <a:t>участию в воспитательно </a:t>
            </a:r>
            <a:r>
              <a:rPr lang="ru-RU" dirty="0"/>
              <a:t>- </a:t>
            </a:r>
            <a:r>
              <a:rPr lang="ru-RU" dirty="0" smtClean="0"/>
              <a:t>образовательном процессе через </a:t>
            </a:r>
            <a:r>
              <a:rPr lang="ru-RU" dirty="0"/>
              <a:t>инновационную </a:t>
            </a:r>
            <a:r>
              <a:rPr lang="ru-RU" dirty="0" smtClean="0"/>
              <a:t>форму</a:t>
            </a:r>
            <a:r>
              <a:rPr lang="ru-RU" i="1" dirty="0"/>
              <a:t>;</a:t>
            </a:r>
            <a:r>
              <a:rPr lang="ru-RU" i="1" dirty="0"/>
              <a:t> </a:t>
            </a:r>
            <a:r>
              <a:rPr lang="ru-RU" dirty="0"/>
              <a:t>з</a:t>
            </a:r>
            <a:r>
              <a:rPr lang="ru-RU" dirty="0" smtClean="0"/>
              <a:t>арождение </a:t>
            </a:r>
            <a:r>
              <a:rPr lang="ru-RU" dirty="0"/>
              <a:t>новой </a:t>
            </a:r>
            <a:r>
              <a:rPr lang="ru-RU" dirty="0" smtClean="0"/>
              <a:t>традиции в ДОО </a:t>
            </a:r>
            <a:r>
              <a:rPr lang="ru-RU" dirty="0"/>
              <a:t>– День родительского самоуправления</a:t>
            </a:r>
            <a:r>
              <a:rPr lang="ru-RU" dirty="0" smtClean="0"/>
              <a:t>.</a:t>
            </a:r>
            <a:endParaRPr lang="ru-RU" b="1" dirty="0" smtClean="0"/>
          </a:p>
        </p:txBody>
      </p:sp>
      <p:pic>
        <p:nvPicPr>
          <p:cNvPr id="30" name="Рисунок 29" descr="C:\Users\Админ\Downloads\IMG_20241119_101749.jpg"/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6833" y="3954184"/>
            <a:ext cx="2324100" cy="23241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4579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791" y="1576163"/>
            <a:ext cx="2378021" cy="23780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580" name="Picture 4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7341" y="1605197"/>
            <a:ext cx="2348987" cy="2348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581" name="Picture 5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9203" y="4018254"/>
            <a:ext cx="2509340" cy="2509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4" name="Рисунок 33" descr="C:\Users\Админ\Downloads\IMG_20241119_111415.jpg"/>
          <p:cNvPicPr/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2170" y="1516353"/>
            <a:ext cx="2361060" cy="2307422"/>
          </a:xfrm>
          <a:prstGeom prst="rect">
            <a:avLst/>
          </a:prstGeom>
          <a:noFill/>
          <a:ln>
            <a:noFill/>
          </a:ln>
        </p:spPr>
      </p:pic>
      <p:pic>
        <p:nvPicPr>
          <p:cNvPr id="24582" name="Picture 6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23793" y="4722607"/>
            <a:ext cx="1901969" cy="13945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830828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4">
            <a:extLst>
              <a:ext uri="{FF2B5EF4-FFF2-40B4-BE49-F238E27FC236}">
                <a16:creationId xmlns:a16="http://schemas.microsoft.com/office/drawing/2014/main" xmlns="" id="{B210F6F7-62F4-4E9E-9E2E-B49C62584D97}"/>
              </a:ext>
            </a:extLst>
          </p:cNvPr>
          <p:cNvSpPr/>
          <p:nvPr/>
        </p:nvSpPr>
        <p:spPr>
          <a:xfrm>
            <a:off x="0" y="0"/>
            <a:ext cx="9956801" cy="2422251"/>
          </a:xfrm>
          <a:custGeom>
            <a:avLst/>
            <a:gdLst>
              <a:gd name="connsiteX0" fmla="*/ 0 w 5880100"/>
              <a:gd name="connsiteY0" fmla="*/ 0 h 5880100"/>
              <a:gd name="connsiteX1" fmla="*/ 5880100 w 5880100"/>
              <a:gd name="connsiteY1" fmla="*/ 0 h 5880100"/>
              <a:gd name="connsiteX2" fmla="*/ 5880100 w 5880100"/>
              <a:gd name="connsiteY2" fmla="*/ 5880100 h 5880100"/>
              <a:gd name="connsiteX3" fmla="*/ 0 w 5880100"/>
              <a:gd name="connsiteY3" fmla="*/ 5880100 h 5880100"/>
              <a:gd name="connsiteX4" fmla="*/ 0 w 5880100"/>
              <a:gd name="connsiteY4" fmla="*/ 0 h 5880100"/>
              <a:gd name="connsiteX0" fmla="*/ 0 w 6615112"/>
              <a:gd name="connsiteY0" fmla="*/ 0 h 6615112"/>
              <a:gd name="connsiteX1" fmla="*/ 5880100 w 6615112"/>
              <a:gd name="connsiteY1" fmla="*/ 0 h 6615112"/>
              <a:gd name="connsiteX2" fmla="*/ 5880100 w 6615112"/>
              <a:gd name="connsiteY2" fmla="*/ 5880100 h 6615112"/>
              <a:gd name="connsiteX3" fmla="*/ 0 w 6615112"/>
              <a:gd name="connsiteY3" fmla="*/ 5880100 h 6615112"/>
              <a:gd name="connsiteX4" fmla="*/ 0 w 6615112"/>
              <a:gd name="connsiteY4" fmla="*/ 0 h 6615112"/>
              <a:gd name="connsiteX0" fmla="*/ 0 w 6145189"/>
              <a:gd name="connsiteY0" fmla="*/ 0 h 6082525"/>
              <a:gd name="connsiteX1" fmla="*/ 5880100 w 6145189"/>
              <a:gd name="connsiteY1" fmla="*/ 0 h 6082525"/>
              <a:gd name="connsiteX2" fmla="*/ 3898900 w 6145189"/>
              <a:gd name="connsiteY2" fmla="*/ 3035300 h 6082525"/>
              <a:gd name="connsiteX3" fmla="*/ 0 w 6145189"/>
              <a:gd name="connsiteY3" fmla="*/ 5880100 h 6082525"/>
              <a:gd name="connsiteX4" fmla="*/ 0 w 6145189"/>
              <a:gd name="connsiteY4" fmla="*/ 0 h 6082525"/>
              <a:gd name="connsiteX0" fmla="*/ 0 w 6085854"/>
              <a:gd name="connsiteY0" fmla="*/ 0 h 6135502"/>
              <a:gd name="connsiteX1" fmla="*/ 5880100 w 6085854"/>
              <a:gd name="connsiteY1" fmla="*/ 0 h 6135502"/>
              <a:gd name="connsiteX2" fmla="*/ 3898900 w 6085854"/>
              <a:gd name="connsiteY2" fmla="*/ 3035300 h 6135502"/>
              <a:gd name="connsiteX3" fmla="*/ 0 w 6085854"/>
              <a:gd name="connsiteY3" fmla="*/ 5880100 h 6135502"/>
              <a:gd name="connsiteX4" fmla="*/ 0 w 6085854"/>
              <a:gd name="connsiteY4" fmla="*/ 0 h 6135502"/>
              <a:gd name="connsiteX0" fmla="*/ 0 w 6113652"/>
              <a:gd name="connsiteY0" fmla="*/ 0 h 6259192"/>
              <a:gd name="connsiteX1" fmla="*/ 5880100 w 6113652"/>
              <a:gd name="connsiteY1" fmla="*/ 0 h 6259192"/>
              <a:gd name="connsiteX2" fmla="*/ 4318000 w 6113652"/>
              <a:gd name="connsiteY2" fmla="*/ 4038600 h 6259192"/>
              <a:gd name="connsiteX3" fmla="*/ 0 w 6113652"/>
              <a:gd name="connsiteY3" fmla="*/ 5880100 h 6259192"/>
              <a:gd name="connsiteX4" fmla="*/ 0 w 6113652"/>
              <a:gd name="connsiteY4" fmla="*/ 0 h 6259192"/>
              <a:gd name="connsiteX0" fmla="*/ 0 w 6124861"/>
              <a:gd name="connsiteY0" fmla="*/ 0 h 6340446"/>
              <a:gd name="connsiteX1" fmla="*/ 5880100 w 6124861"/>
              <a:gd name="connsiteY1" fmla="*/ 0 h 6340446"/>
              <a:gd name="connsiteX2" fmla="*/ 4318000 w 6124861"/>
              <a:gd name="connsiteY2" fmla="*/ 4038600 h 6340446"/>
              <a:gd name="connsiteX3" fmla="*/ 0 w 6124861"/>
              <a:gd name="connsiteY3" fmla="*/ 5880100 h 6340446"/>
              <a:gd name="connsiteX4" fmla="*/ 0 w 6124861"/>
              <a:gd name="connsiteY4" fmla="*/ 0 h 6340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24861" h="6340446">
                <a:moveTo>
                  <a:pt x="0" y="0"/>
                </a:moveTo>
                <a:lnTo>
                  <a:pt x="5880100" y="0"/>
                </a:lnTo>
                <a:cubicBezTo>
                  <a:pt x="6860117" y="980017"/>
                  <a:pt x="4599517" y="1788583"/>
                  <a:pt x="4318000" y="4038600"/>
                </a:cubicBezTo>
                <a:cubicBezTo>
                  <a:pt x="4036483" y="6288617"/>
                  <a:pt x="980017" y="6860117"/>
                  <a:pt x="0" y="5880100"/>
                </a:cubicBezTo>
                <a:lnTo>
                  <a:pt x="0" y="0"/>
                </a:lnTo>
                <a:close/>
              </a:path>
            </a:pathLst>
          </a:cu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b="1" dirty="0" smtClean="0"/>
          </a:p>
          <a:p>
            <a:pPr algn="ctr"/>
            <a:endParaRPr lang="ru-RU" b="1" dirty="0"/>
          </a:p>
          <a:p>
            <a:pPr algn="ctr"/>
            <a:endParaRPr lang="ru-RU" b="1" dirty="0" smtClean="0"/>
          </a:p>
          <a:p>
            <a:pPr algn="ctr"/>
            <a:endParaRPr lang="ru-RU" b="1" dirty="0"/>
          </a:p>
          <a:p>
            <a:pPr algn="ctr"/>
            <a:r>
              <a:rPr lang="ru-RU" b="1" dirty="0" smtClean="0"/>
              <a:t>РОДИТЕЛЬСКИЙ ЖУРФИКС «Воспитание наших детей»</a:t>
            </a:r>
          </a:p>
          <a:p>
            <a:pPr algn="ctr"/>
            <a:endParaRPr lang="ru-RU" b="1" dirty="0"/>
          </a:p>
          <a:p>
            <a:r>
              <a:rPr lang="ru-RU" b="1" dirty="0" smtClean="0"/>
              <a:t>  Цель мероприятий</a:t>
            </a:r>
            <a:r>
              <a:rPr lang="ru-RU" dirty="0" smtClean="0"/>
              <a:t>:</a:t>
            </a:r>
            <a:endParaRPr lang="ru-RU" dirty="0"/>
          </a:p>
          <a:p>
            <a:r>
              <a:rPr lang="ru-RU" dirty="0" smtClean="0"/>
              <a:t>   - </a:t>
            </a:r>
            <a:r>
              <a:rPr lang="ru-RU" dirty="0"/>
              <a:t>повысить уровень педагогической культуры родителей;</a:t>
            </a:r>
            <a:endParaRPr lang="ru-RU" dirty="0"/>
          </a:p>
          <a:p>
            <a:r>
              <a:rPr lang="ru-RU" dirty="0" smtClean="0"/>
              <a:t>   - </a:t>
            </a:r>
            <a:r>
              <a:rPr lang="ru-RU" dirty="0"/>
              <a:t>апробировать новую форму работы с родителями, что повысит их освещённость в </a:t>
            </a:r>
            <a:r>
              <a:rPr lang="ru-RU" dirty="0" smtClean="0"/>
              <a:t>вопросах</a:t>
            </a:r>
          </a:p>
          <a:p>
            <a:r>
              <a:rPr lang="ru-RU" dirty="0"/>
              <a:t> </a:t>
            </a:r>
            <a:r>
              <a:rPr lang="ru-RU" dirty="0" smtClean="0"/>
              <a:t>    обучения</a:t>
            </a:r>
            <a:r>
              <a:rPr lang="ru-RU" dirty="0"/>
              <a:t>, воспитания детей дошкольного возраста;</a:t>
            </a:r>
            <a:endParaRPr lang="ru-RU" dirty="0"/>
          </a:p>
          <a:p>
            <a:r>
              <a:rPr lang="ru-RU" dirty="0" smtClean="0"/>
              <a:t>   - </a:t>
            </a:r>
            <a:r>
              <a:rPr lang="ru-RU" dirty="0"/>
              <a:t>создать в ДОО команду специалистов по вопросам взаимодействия с родителями </a:t>
            </a:r>
            <a:endParaRPr lang="ru-RU" dirty="0" smtClean="0"/>
          </a:p>
          <a:p>
            <a:r>
              <a:rPr lang="ru-RU" dirty="0"/>
              <a:t> </a:t>
            </a:r>
            <a:r>
              <a:rPr lang="ru-RU" dirty="0" smtClean="0"/>
              <a:t>    воспитанников, их качественного консультирования.</a:t>
            </a:r>
            <a:endParaRPr lang="ru-RU" b="1" dirty="0" smtClean="0"/>
          </a:p>
          <a:p>
            <a:pPr algn="ctr"/>
            <a:endParaRPr lang="ru-RU" b="1" dirty="0"/>
          </a:p>
          <a:p>
            <a:pPr algn="ctr"/>
            <a:endParaRPr lang="ru-RU" dirty="0" smtClean="0"/>
          </a:p>
          <a:p>
            <a:pPr algn="ctr"/>
            <a:endParaRPr lang="ru-RU" dirty="0" smtClean="0"/>
          </a:p>
        </p:txBody>
      </p:sp>
      <p:sp>
        <p:nvSpPr>
          <p:cNvPr id="12" name="Прямоугольник 11"/>
          <p:cNvSpPr/>
          <p:nvPr/>
        </p:nvSpPr>
        <p:spPr>
          <a:xfrm>
            <a:off x="2204184" y="5303519"/>
            <a:ext cx="247369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/>
              <a:t> </a:t>
            </a:r>
            <a:endParaRPr lang="ru-RU" dirty="0"/>
          </a:p>
        </p:txBody>
      </p:sp>
      <p:grpSp>
        <p:nvGrpSpPr>
          <p:cNvPr id="2" name="Group 9">
            <a:extLst>
              <a:ext uri="{FF2B5EF4-FFF2-40B4-BE49-F238E27FC236}">
                <a16:creationId xmlns:a16="http://schemas.microsoft.com/office/drawing/2014/main" xmlns="" id="{2EB978E7-A19C-4366-B94D-EEC57A5AE8DC}"/>
              </a:ext>
            </a:extLst>
          </p:cNvPr>
          <p:cNvGrpSpPr/>
          <p:nvPr/>
        </p:nvGrpSpPr>
        <p:grpSpPr>
          <a:xfrm>
            <a:off x="9956801" y="185039"/>
            <a:ext cx="1950720" cy="1867281"/>
            <a:chOff x="6705600" y="1238250"/>
            <a:chExt cx="866776" cy="866776"/>
          </a:xfrm>
        </p:grpSpPr>
        <p:sp>
          <p:nvSpPr>
            <p:cNvPr id="20" name="Oval 8">
              <a:extLst>
                <a:ext uri="{FF2B5EF4-FFF2-40B4-BE49-F238E27FC236}">
                  <a16:creationId xmlns:a16="http://schemas.microsoft.com/office/drawing/2014/main" xmlns="" id="{4A46D147-0CC5-4735-AE1F-65BCC6509DC0}"/>
                </a:ext>
              </a:extLst>
            </p:cNvPr>
            <p:cNvSpPr/>
            <p:nvPr/>
          </p:nvSpPr>
          <p:spPr>
            <a:xfrm>
              <a:off x="6705600" y="1238250"/>
              <a:ext cx="866776" cy="866776"/>
            </a:xfrm>
            <a:prstGeom prst="ellipse">
              <a:avLst/>
            </a:prstGeom>
            <a:ln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1" name="Oval 7">
              <a:extLst>
                <a:ext uri="{FF2B5EF4-FFF2-40B4-BE49-F238E27FC236}">
                  <a16:creationId xmlns:a16="http://schemas.microsoft.com/office/drawing/2014/main" xmlns="" id="{97103F70-3F4B-4955-9BCE-2928397D6D93}"/>
                </a:ext>
              </a:extLst>
            </p:cNvPr>
            <p:cNvSpPr/>
            <p:nvPr/>
          </p:nvSpPr>
          <p:spPr>
            <a:xfrm>
              <a:off x="6800851" y="1333501"/>
              <a:ext cx="676275" cy="676275"/>
            </a:xfrm>
            <a:prstGeom prst="ellipse">
              <a:avLst/>
            </a:prstGeom>
            <a:ln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6000" dirty="0"/>
            </a:p>
          </p:txBody>
        </p:sp>
      </p:grpSp>
      <p:pic>
        <p:nvPicPr>
          <p:cNvPr id="33" name="Рисунок 32">
            <a:extLst>
              <a:ext uri="{FF2B5EF4-FFF2-40B4-BE49-F238E27FC236}">
                <a16:creationId xmlns:a16="http://schemas.microsoft.com/office/drawing/2014/main" xmlns="" id="{F5A915BA-698F-4574-83F2-CC987DC1D5F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87158" y="185039"/>
            <a:ext cx="1888568" cy="509614"/>
          </a:xfrm>
          <a:prstGeom prst="rect">
            <a:avLst/>
          </a:prstGeom>
        </p:spPr>
      </p:pic>
      <p:grpSp>
        <p:nvGrpSpPr>
          <p:cNvPr id="3" name="Google Shape;541;p41"/>
          <p:cNvGrpSpPr/>
          <p:nvPr/>
        </p:nvGrpSpPr>
        <p:grpSpPr>
          <a:xfrm>
            <a:off x="10566399" y="1055589"/>
            <a:ext cx="853439" cy="1366662"/>
            <a:chOff x="9901824" y="937343"/>
            <a:chExt cx="744273" cy="793950"/>
          </a:xfrm>
        </p:grpSpPr>
        <p:grpSp>
          <p:nvGrpSpPr>
            <p:cNvPr id="4" name="Google Shape;542;p41"/>
            <p:cNvGrpSpPr/>
            <p:nvPr/>
          </p:nvGrpSpPr>
          <p:grpSpPr>
            <a:xfrm>
              <a:off x="9901824" y="937343"/>
              <a:ext cx="744273" cy="793950"/>
              <a:chOff x="9901824" y="937343"/>
              <a:chExt cx="744273" cy="793950"/>
            </a:xfrm>
          </p:grpSpPr>
          <p:sp>
            <p:nvSpPr>
              <p:cNvPr id="42" name="Google Shape;543;p41"/>
              <p:cNvSpPr/>
              <p:nvPr/>
            </p:nvSpPr>
            <p:spPr>
              <a:xfrm>
                <a:off x="10463799" y="1043794"/>
                <a:ext cx="76068" cy="75403"/>
              </a:xfrm>
              <a:custGeom>
                <a:avLst/>
                <a:gdLst/>
                <a:ahLst/>
                <a:cxnLst/>
                <a:rect l="l" t="t" r="r" b="b"/>
                <a:pathLst>
                  <a:path w="133" h="132" extrusionOk="0">
                    <a:moveTo>
                      <a:pt x="12" y="132"/>
                    </a:moveTo>
                    <a:cubicBezTo>
                      <a:pt x="9" y="132"/>
                      <a:pt x="6" y="131"/>
                      <a:pt x="4" y="128"/>
                    </a:cubicBezTo>
                    <a:cubicBezTo>
                      <a:pt x="0" y="124"/>
                      <a:pt x="0" y="118"/>
                      <a:pt x="4" y="114"/>
                    </a:cubicBezTo>
                    <a:cubicBezTo>
                      <a:pt x="113" y="4"/>
                      <a:pt x="113" y="4"/>
                      <a:pt x="113" y="4"/>
                    </a:cubicBezTo>
                    <a:cubicBezTo>
                      <a:pt x="118" y="0"/>
                      <a:pt x="124" y="0"/>
                      <a:pt x="128" y="4"/>
                    </a:cubicBezTo>
                    <a:cubicBezTo>
                      <a:pt x="133" y="8"/>
                      <a:pt x="133" y="15"/>
                      <a:pt x="128" y="19"/>
                    </a:cubicBezTo>
                    <a:cubicBezTo>
                      <a:pt x="19" y="128"/>
                      <a:pt x="19" y="128"/>
                      <a:pt x="19" y="128"/>
                    </a:cubicBezTo>
                    <a:cubicBezTo>
                      <a:pt x="17" y="131"/>
                      <a:pt x="14" y="132"/>
                      <a:pt x="12" y="132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4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" name="Google Shape;544;p41"/>
              <p:cNvSpPr/>
              <p:nvPr/>
            </p:nvSpPr>
            <p:spPr>
              <a:xfrm>
                <a:off x="10546077" y="1303491"/>
                <a:ext cx="100020" cy="11976"/>
              </a:xfrm>
              <a:custGeom>
                <a:avLst/>
                <a:gdLst/>
                <a:ahLst/>
                <a:cxnLst/>
                <a:rect l="l" t="t" r="r" b="b"/>
                <a:pathLst>
                  <a:path w="175" h="21" extrusionOk="0">
                    <a:moveTo>
                      <a:pt x="165" y="21"/>
                    </a:moveTo>
                    <a:cubicBezTo>
                      <a:pt x="10" y="21"/>
                      <a:pt x="10" y="21"/>
                      <a:pt x="10" y="21"/>
                    </a:cubicBezTo>
                    <a:cubicBezTo>
                      <a:pt x="4" y="21"/>
                      <a:pt x="0" y="17"/>
                      <a:pt x="0" y="11"/>
                    </a:cubicBezTo>
                    <a:cubicBezTo>
                      <a:pt x="0" y="5"/>
                      <a:pt x="4" y="0"/>
                      <a:pt x="10" y="0"/>
                    </a:cubicBezTo>
                    <a:cubicBezTo>
                      <a:pt x="165" y="0"/>
                      <a:pt x="165" y="0"/>
                      <a:pt x="165" y="0"/>
                    </a:cubicBezTo>
                    <a:cubicBezTo>
                      <a:pt x="171" y="0"/>
                      <a:pt x="175" y="5"/>
                      <a:pt x="175" y="11"/>
                    </a:cubicBezTo>
                    <a:cubicBezTo>
                      <a:pt x="175" y="17"/>
                      <a:pt x="171" y="21"/>
                      <a:pt x="165" y="2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4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" name="Google Shape;545;p41"/>
              <p:cNvSpPr/>
              <p:nvPr/>
            </p:nvSpPr>
            <p:spPr>
              <a:xfrm>
                <a:off x="10463799" y="1499539"/>
                <a:ext cx="76068" cy="75625"/>
              </a:xfrm>
              <a:custGeom>
                <a:avLst/>
                <a:gdLst/>
                <a:ahLst/>
                <a:cxnLst/>
                <a:rect l="l" t="t" r="r" b="b"/>
                <a:pathLst>
                  <a:path w="133" h="132" extrusionOk="0">
                    <a:moveTo>
                      <a:pt x="121" y="132"/>
                    </a:moveTo>
                    <a:cubicBezTo>
                      <a:pt x="119" y="132"/>
                      <a:pt x="116" y="131"/>
                      <a:pt x="114" y="129"/>
                    </a:cubicBezTo>
                    <a:cubicBezTo>
                      <a:pt x="5" y="19"/>
                      <a:pt x="5" y="19"/>
                      <a:pt x="5" y="19"/>
                    </a:cubicBezTo>
                    <a:cubicBezTo>
                      <a:pt x="0" y="15"/>
                      <a:pt x="0" y="8"/>
                      <a:pt x="5" y="4"/>
                    </a:cubicBezTo>
                    <a:cubicBezTo>
                      <a:pt x="9" y="0"/>
                      <a:pt x="15" y="0"/>
                      <a:pt x="20" y="4"/>
                    </a:cubicBezTo>
                    <a:cubicBezTo>
                      <a:pt x="129" y="114"/>
                      <a:pt x="129" y="114"/>
                      <a:pt x="129" y="114"/>
                    </a:cubicBezTo>
                    <a:cubicBezTo>
                      <a:pt x="133" y="118"/>
                      <a:pt x="133" y="124"/>
                      <a:pt x="129" y="129"/>
                    </a:cubicBezTo>
                    <a:cubicBezTo>
                      <a:pt x="127" y="131"/>
                      <a:pt x="124" y="132"/>
                      <a:pt x="121" y="132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4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" name="Google Shape;546;p41"/>
              <p:cNvSpPr/>
              <p:nvPr/>
            </p:nvSpPr>
            <p:spPr>
              <a:xfrm>
                <a:off x="10008275" y="1500204"/>
                <a:ext cx="76068" cy="74960"/>
              </a:xfrm>
              <a:custGeom>
                <a:avLst/>
                <a:gdLst/>
                <a:ahLst/>
                <a:cxnLst/>
                <a:rect l="l" t="t" r="r" b="b"/>
                <a:pathLst>
                  <a:path w="133" h="131" extrusionOk="0">
                    <a:moveTo>
                      <a:pt x="12" y="131"/>
                    </a:moveTo>
                    <a:cubicBezTo>
                      <a:pt x="9" y="131"/>
                      <a:pt x="7" y="130"/>
                      <a:pt x="5" y="128"/>
                    </a:cubicBezTo>
                    <a:cubicBezTo>
                      <a:pt x="0" y="124"/>
                      <a:pt x="0" y="117"/>
                      <a:pt x="5" y="113"/>
                    </a:cubicBezTo>
                    <a:cubicBezTo>
                      <a:pt x="114" y="4"/>
                      <a:pt x="114" y="4"/>
                      <a:pt x="114" y="4"/>
                    </a:cubicBezTo>
                    <a:cubicBezTo>
                      <a:pt x="118" y="0"/>
                      <a:pt x="125" y="0"/>
                      <a:pt x="129" y="4"/>
                    </a:cubicBezTo>
                    <a:cubicBezTo>
                      <a:pt x="133" y="8"/>
                      <a:pt x="133" y="14"/>
                      <a:pt x="129" y="19"/>
                    </a:cubicBezTo>
                    <a:cubicBezTo>
                      <a:pt x="19" y="128"/>
                      <a:pt x="19" y="128"/>
                      <a:pt x="19" y="128"/>
                    </a:cubicBezTo>
                    <a:cubicBezTo>
                      <a:pt x="17" y="130"/>
                      <a:pt x="15" y="131"/>
                      <a:pt x="12" y="13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4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" name="Google Shape;547;p41"/>
              <p:cNvSpPr/>
              <p:nvPr/>
            </p:nvSpPr>
            <p:spPr>
              <a:xfrm>
                <a:off x="9901824" y="1303934"/>
                <a:ext cx="100020" cy="11976"/>
              </a:xfrm>
              <a:custGeom>
                <a:avLst/>
                <a:gdLst/>
                <a:ahLst/>
                <a:cxnLst/>
                <a:rect l="l" t="t" r="r" b="b"/>
                <a:pathLst>
                  <a:path w="175" h="21" extrusionOk="0">
                    <a:moveTo>
                      <a:pt x="165" y="21"/>
                    </a:moveTo>
                    <a:cubicBezTo>
                      <a:pt x="10" y="21"/>
                      <a:pt x="10" y="21"/>
                      <a:pt x="10" y="21"/>
                    </a:cubicBezTo>
                    <a:cubicBezTo>
                      <a:pt x="4" y="21"/>
                      <a:pt x="0" y="16"/>
                      <a:pt x="0" y="10"/>
                    </a:cubicBezTo>
                    <a:cubicBezTo>
                      <a:pt x="0" y="5"/>
                      <a:pt x="4" y="0"/>
                      <a:pt x="10" y="0"/>
                    </a:cubicBezTo>
                    <a:cubicBezTo>
                      <a:pt x="165" y="0"/>
                      <a:pt x="165" y="0"/>
                      <a:pt x="165" y="0"/>
                    </a:cubicBezTo>
                    <a:cubicBezTo>
                      <a:pt x="171" y="0"/>
                      <a:pt x="175" y="5"/>
                      <a:pt x="175" y="10"/>
                    </a:cubicBezTo>
                    <a:cubicBezTo>
                      <a:pt x="175" y="16"/>
                      <a:pt x="171" y="21"/>
                      <a:pt x="165" y="2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4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" name="Google Shape;548;p41"/>
              <p:cNvSpPr/>
              <p:nvPr/>
            </p:nvSpPr>
            <p:spPr>
              <a:xfrm>
                <a:off x="10008275" y="1044237"/>
                <a:ext cx="75403" cy="74960"/>
              </a:xfrm>
              <a:custGeom>
                <a:avLst/>
                <a:gdLst/>
                <a:ahLst/>
                <a:cxnLst/>
                <a:rect l="l" t="t" r="r" b="b"/>
                <a:pathLst>
                  <a:path w="132" h="131" extrusionOk="0">
                    <a:moveTo>
                      <a:pt x="121" y="131"/>
                    </a:moveTo>
                    <a:cubicBezTo>
                      <a:pt x="118" y="131"/>
                      <a:pt x="115" y="130"/>
                      <a:pt x="113" y="128"/>
                    </a:cubicBezTo>
                    <a:cubicBezTo>
                      <a:pt x="4" y="19"/>
                      <a:pt x="4" y="19"/>
                      <a:pt x="4" y="19"/>
                    </a:cubicBezTo>
                    <a:cubicBezTo>
                      <a:pt x="0" y="14"/>
                      <a:pt x="0" y="8"/>
                      <a:pt x="4" y="4"/>
                    </a:cubicBezTo>
                    <a:cubicBezTo>
                      <a:pt x="8" y="0"/>
                      <a:pt x="15" y="0"/>
                      <a:pt x="19" y="4"/>
                    </a:cubicBezTo>
                    <a:cubicBezTo>
                      <a:pt x="128" y="113"/>
                      <a:pt x="128" y="113"/>
                      <a:pt x="128" y="113"/>
                    </a:cubicBezTo>
                    <a:cubicBezTo>
                      <a:pt x="132" y="117"/>
                      <a:pt x="132" y="124"/>
                      <a:pt x="128" y="128"/>
                    </a:cubicBezTo>
                    <a:cubicBezTo>
                      <a:pt x="126" y="130"/>
                      <a:pt x="124" y="131"/>
                      <a:pt x="121" y="13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4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8" name="Google Shape;549;p41"/>
              <p:cNvSpPr/>
              <p:nvPr/>
            </p:nvSpPr>
            <p:spPr>
              <a:xfrm>
                <a:off x="10267751" y="937343"/>
                <a:ext cx="11976" cy="100020"/>
              </a:xfrm>
              <a:custGeom>
                <a:avLst/>
                <a:gdLst/>
                <a:ahLst/>
                <a:cxnLst/>
                <a:rect l="l" t="t" r="r" b="b"/>
                <a:pathLst>
                  <a:path w="21" h="175" extrusionOk="0">
                    <a:moveTo>
                      <a:pt x="11" y="175"/>
                    </a:moveTo>
                    <a:cubicBezTo>
                      <a:pt x="5" y="175"/>
                      <a:pt x="0" y="171"/>
                      <a:pt x="0" y="165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4"/>
                      <a:pt x="5" y="0"/>
                      <a:pt x="11" y="0"/>
                    </a:cubicBezTo>
                    <a:cubicBezTo>
                      <a:pt x="17" y="0"/>
                      <a:pt x="21" y="4"/>
                      <a:pt x="21" y="10"/>
                    </a:cubicBezTo>
                    <a:cubicBezTo>
                      <a:pt x="21" y="165"/>
                      <a:pt x="21" y="165"/>
                      <a:pt x="21" y="165"/>
                    </a:cubicBezTo>
                    <a:cubicBezTo>
                      <a:pt x="21" y="171"/>
                      <a:pt x="17" y="175"/>
                      <a:pt x="11" y="175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4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9" name="Google Shape;550;p41"/>
              <p:cNvSpPr/>
              <p:nvPr/>
            </p:nvSpPr>
            <p:spPr>
              <a:xfrm>
                <a:off x="10183698" y="1629498"/>
                <a:ext cx="180080" cy="25726"/>
              </a:xfrm>
              <a:custGeom>
                <a:avLst/>
                <a:gdLst/>
                <a:ahLst/>
                <a:cxnLst/>
                <a:rect l="l" t="t" r="r" b="b"/>
                <a:pathLst>
                  <a:path w="315" h="45" extrusionOk="0">
                    <a:moveTo>
                      <a:pt x="0" y="23"/>
                    </a:moveTo>
                    <a:cubicBezTo>
                      <a:pt x="0" y="35"/>
                      <a:pt x="10" y="45"/>
                      <a:pt x="22" y="45"/>
                    </a:cubicBezTo>
                    <a:cubicBezTo>
                      <a:pt x="293" y="45"/>
                      <a:pt x="293" y="45"/>
                      <a:pt x="293" y="45"/>
                    </a:cubicBezTo>
                    <a:cubicBezTo>
                      <a:pt x="305" y="45"/>
                      <a:pt x="315" y="35"/>
                      <a:pt x="315" y="23"/>
                    </a:cubicBezTo>
                    <a:cubicBezTo>
                      <a:pt x="315" y="23"/>
                      <a:pt x="315" y="23"/>
                      <a:pt x="315" y="23"/>
                    </a:cubicBezTo>
                    <a:cubicBezTo>
                      <a:pt x="315" y="11"/>
                      <a:pt x="305" y="0"/>
                      <a:pt x="293" y="0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10" y="0"/>
                      <a:pt x="0" y="11"/>
                      <a:pt x="0" y="23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4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" name="Google Shape;551;p41"/>
              <p:cNvSpPr/>
              <p:nvPr/>
            </p:nvSpPr>
            <p:spPr>
              <a:xfrm>
                <a:off x="10188356" y="1667865"/>
                <a:ext cx="170766" cy="25726"/>
              </a:xfrm>
              <a:custGeom>
                <a:avLst/>
                <a:gdLst/>
                <a:ahLst/>
                <a:cxnLst/>
                <a:rect l="l" t="t" r="r" b="b"/>
                <a:pathLst>
                  <a:path w="299" h="45" extrusionOk="0">
                    <a:moveTo>
                      <a:pt x="0" y="22"/>
                    </a:moveTo>
                    <a:cubicBezTo>
                      <a:pt x="0" y="35"/>
                      <a:pt x="10" y="45"/>
                      <a:pt x="23" y="45"/>
                    </a:cubicBezTo>
                    <a:cubicBezTo>
                      <a:pt x="277" y="45"/>
                      <a:pt x="277" y="45"/>
                      <a:pt x="277" y="45"/>
                    </a:cubicBezTo>
                    <a:cubicBezTo>
                      <a:pt x="289" y="45"/>
                      <a:pt x="299" y="35"/>
                      <a:pt x="299" y="22"/>
                    </a:cubicBezTo>
                    <a:cubicBezTo>
                      <a:pt x="299" y="22"/>
                      <a:pt x="299" y="22"/>
                      <a:pt x="299" y="22"/>
                    </a:cubicBezTo>
                    <a:cubicBezTo>
                      <a:pt x="299" y="10"/>
                      <a:pt x="289" y="0"/>
                      <a:pt x="277" y="0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10" y="0"/>
                      <a:pt x="0" y="10"/>
                      <a:pt x="0" y="22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4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" name="Google Shape;552;p41"/>
              <p:cNvSpPr/>
              <p:nvPr/>
            </p:nvSpPr>
            <p:spPr>
              <a:xfrm>
                <a:off x="10212751" y="1705567"/>
                <a:ext cx="122419" cy="25726"/>
              </a:xfrm>
              <a:custGeom>
                <a:avLst/>
                <a:gdLst/>
                <a:ahLst/>
                <a:cxnLst/>
                <a:rect l="l" t="t" r="r" b="b"/>
                <a:pathLst>
                  <a:path w="214" h="45" extrusionOk="0">
                    <a:moveTo>
                      <a:pt x="0" y="23"/>
                    </a:moveTo>
                    <a:cubicBezTo>
                      <a:pt x="0" y="35"/>
                      <a:pt x="10" y="45"/>
                      <a:pt x="22" y="45"/>
                    </a:cubicBezTo>
                    <a:cubicBezTo>
                      <a:pt x="192" y="45"/>
                      <a:pt x="192" y="45"/>
                      <a:pt x="192" y="45"/>
                    </a:cubicBezTo>
                    <a:cubicBezTo>
                      <a:pt x="204" y="45"/>
                      <a:pt x="214" y="35"/>
                      <a:pt x="214" y="23"/>
                    </a:cubicBezTo>
                    <a:cubicBezTo>
                      <a:pt x="214" y="23"/>
                      <a:pt x="214" y="23"/>
                      <a:pt x="214" y="23"/>
                    </a:cubicBezTo>
                    <a:cubicBezTo>
                      <a:pt x="214" y="10"/>
                      <a:pt x="204" y="0"/>
                      <a:pt x="192" y="0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10" y="0"/>
                      <a:pt x="0" y="10"/>
                      <a:pt x="0" y="23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4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36" name="Google Shape;553;p41"/>
            <p:cNvSpPr/>
            <p:nvPr/>
          </p:nvSpPr>
          <p:spPr>
            <a:xfrm>
              <a:off x="10047751" y="1220548"/>
              <a:ext cx="217117" cy="205362"/>
            </a:xfrm>
            <a:custGeom>
              <a:avLst/>
              <a:gdLst/>
              <a:ahLst/>
              <a:cxnLst/>
              <a:rect l="l" t="t" r="r" b="b"/>
              <a:pathLst>
                <a:path w="380" h="359" extrusionOk="0">
                  <a:moveTo>
                    <a:pt x="63" y="268"/>
                  </a:moveTo>
                  <a:cubicBezTo>
                    <a:pt x="78" y="297"/>
                    <a:pt x="94" y="324"/>
                    <a:pt x="108" y="350"/>
                  </a:cubicBezTo>
                  <a:cubicBezTo>
                    <a:pt x="113" y="359"/>
                    <a:pt x="113" y="359"/>
                    <a:pt x="113" y="359"/>
                  </a:cubicBezTo>
                  <a:cubicBezTo>
                    <a:pt x="380" y="206"/>
                    <a:pt x="380" y="206"/>
                    <a:pt x="380" y="206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2" y="2"/>
                    <a:pt x="22" y="4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0" y="88"/>
                    <a:pt x="14" y="174"/>
                    <a:pt x="63" y="268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" name="Google Shape;554;p41"/>
            <p:cNvSpPr/>
            <p:nvPr/>
          </p:nvSpPr>
          <p:spPr>
            <a:xfrm>
              <a:off x="10063053" y="1080830"/>
              <a:ext cx="205806" cy="250604"/>
            </a:xfrm>
            <a:custGeom>
              <a:avLst/>
              <a:gdLst/>
              <a:ahLst/>
              <a:cxnLst/>
              <a:rect l="l" t="t" r="r" b="b"/>
              <a:pathLst>
                <a:path w="360" h="438" extrusionOk="0">
                  <a:moveTo>
                    <a:pt x="0" y="230"/>
                  </a:moveTo>
                  <a:cubicBezTo>
                    <a:pt x="360" y="438"/>
                    <a:pt x="360" y="438"/>
                    <a:pt x="360" y="438"/>
                  </a:cubicBezTo>
                  <a:cubicBezTo>
                    <a:pt x="360" y="0"/>
                    <a:pt x="360" y="0"/>
                    <a:pt x="360" y="0"/>
                  </a:cubicBezTo>
                  <a:cubicBezTo>
                    <a:pt x="174" y="3"/>
                    <a:pt x="40" y="117"/>
                    <a:pt x="0" y="23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" name="Google Shape;555;p41"/>
            <p:cNvSpPr/>
            <p:nvPr/>
          </p:nvSpPr>
          <p:spPr>
            <a:xfrm>
              <a:off x="10276400" y="1080830"/>
              <a:ext cx="208024" cy="250604"/>
            </a:xfrm>
            <a:custGeom>
              <a:avLst/>
              <a:gdLst/>
              <a:ahLst/>
              <a:cxnLst/>
              <a:rect l="l" t="t" r="r" b="b"/>
              <a:pathLst>
                <a:path w="364" h="438" extrusionOk="0">
                  <a:moveTo>
                    <a:pt x="0" y="0"/>
                  </a:moveTo>
                  <a:cubicBezTo>
                    <a:pt x="0" y="438"/>
                    <a:pt x="0" y="438"/>
                    <a:pt x="0" y="438"/>
                  </a:cubicBezTo>
                  <a:cubicBezTo>
                    <a:pt x="364" y="228"/>
                    <a:pt x="364" y="228"/>
                    <a:pt x="364" y="228"/>
                  </a:cubicBezTo>
                  <a:cubicBezTo>
                    <a:pt x="323" y="115"/>
                    <a:pt x="186" y="1"/>
                    <a:pt x="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" name="Google Shape;556;p41"/>
            <p:cNvSpPr/>
            <p:nvPr/>
          </p:nvSpPr>
          <p:spPr>
            <a:xfrm>
              <a:off x="10280392" y="1218773"/>
              <a:ext cx="219334" cy="208689"/>
            </a:xfrm>
            <a:custGeom>
              <a:avLst/>
              <a:gdLst/>
              <a:ahLst/>
              <a:cxnLst/>
              <a:rect l="l" t="t" r="r" b="b"/>
              <a:pathLst>
                <a:path w="384" h="365" extrusionOk="0">
                  <a:moveTo>
                    <a:pt x="322" y="271"/>
                  </a:moveTo>
                  <a:cubicBezTo>
                    <a:pt x="371" y="177"/>
                    <a:pt x="384" y="91"/>
                    <a:pt x="364" y="9"/>
                  </a:cubicBezTo>
                  <a:cubicBezTo>
                    <a:pt x="364" y="9"/>
                    <a:pt x="364" y="9"/>
                    <a:pt x="364" y="9"/>
                  </a:cubicBezTo>
                  <a:cubicBezTo>
                    <a:pt x="363" y="6"/>
                    <a:pt x="362" y="3"/>
                    <a:pt x="361" y="0"/>
                  </a:cubicBezTo>
                  <a:cubicBezTo>
                    <a:pt x="0" y="209"/>
                    <a:pt x="0" y="209"/>
                    <a:pt x="0" y="209"/>
                  </a:cubicBezTo>
                  <a:cubicBezTo>
                    <a:pt x="270" y="365"/>
                    <a:pt x="270" y="365"/>
                    <a:pt x="270" y="365"/>
                  </a:cubicBezTo>
                  <a:cubicBezTo>
                    <a:pt x="277" y="353"/>
                    <a:pt x="277" y="353"/>
                    <a:pt x="277" y="353"/>
                  </a:cubicBezTo>
                  <a:cubicBezTo>
                    <a:pt x="291" y="327"/>
                    <a:pt x="307" y="300"/>
                    <a:pt x="322" y="27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" name="Google Shape;557;p41"/>
            <p:cNvSpPr/>
            <p:nvPr/>
          </p:nvSpPr>
          <p:spPr>
            <a:xfrm>
              <a:off x="10116279" y="1345184"/>
              <a:ext cx="152580" cy="267681"/>
            </a:xfrm>
            <a:custGeom>
              <a:avLst/>
              <a:gdLst/>
              <a:ahLst/>
              <a:cxnLst/>
              <a:rect l="l" t="t" r="r" b="b"/>
              <a:pathLst>
                <a:path w="267" h="468" extrusionOk="0">
                  <a:moveTo>
                    <a:pt x="267" y="468"/>
                  </a:moveTo>
                  <a:cubicBezTo>
                    <a:pt x="267" y="0"/>
                    <a:pt x="267" y="0"/>
                    <a:pt x="267" y="0"/>
                  </a:cubicBezTo>
                  <a:cubicBezTo>
                    <a:pt x="0" y="153"/>
                    <a:pt x="0" y="153"/>
                    <a:pt x="0" y="153"/>
                  </a:cubicBezTo>
                  <a:cubicBezTo>
                    <a:pt x="21" y="190"/>
                    <a:pt x="42" y="229"/>
                    <a:pt x="61" y="272"/>
                  </a:cubicBezTo>
                  <a:cubicBezTo>
                    <a:pt x="75" y="304"/>
                    <a:pt x="83" y="346"/>
                    <a:pt x="90" y="383"/>
                  </a:cubicBezTo>
                  <a:cubicBezTo>
                    <a:pt x="92" y="398"/>
                    <a:pt x="95" y="411"/>
                    <a:pt x="98" y="424"/>
                  </a:cubicBezTo>
                  <a:cubicBezTo>
                    <a:pt x="105" y="457"/>
                    <a:pt x="116" y="466"/>
                    <a:pt x="151" y="467"/>
                  </a:cubicBezTo>
                  <a:cubicBezTo>
                    <a:pt x="157" y="468"/>
                    <a:pt x="157" y="468"/>
                    <a:pt x="157" y="468"/>
                  </a:cubicBezTo>
                  <a:cubicBezTo>
                    <a:pt x="185" y="468"/>
                    <a:pt x="185" y="468"/>
                    <a:pt x="185" y="468"/>
                  </a:cubicBezTo>
                  <a:cubicBezTo>
                    <a:pt x="237" y="468"/>
                    <a:pt x="237" y="468"/>
                    <a:pt x="237" y="468"/>
                  </a:cubicBezTo>
                  <a:cubicBezTo>
                    <a:pt x="247" y="468"/>
                    <a:pt x="257" y="468"/>
                    <a:pt x="267" y="468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" name="Google Shape;558;p41"/>
            <p:cNvSpPr/>
            <p:nvPr/>
          </p:nvSpPr>
          <p:spPr>
            <a:xfrm>
              <a:off x="10276400" y="1345184"/>
              <a:ext cx="154798" cy="267681"/>
            </a:xfrm>
            <a:custGeom>
              <a:avLst/>
              <a:gdLst/>
              <a:ahLst/>
              <a:cxnLst/>
              <a:rect l="l" t="t" r="r" b="b"/>
              <a:pathLst>
                <a:path w="271" h="468" extrusionOk="0">
                  <a:moveTo>
                    <a:pt x="174" y="424"/>
                  </a:moveTo>
                  <a:cubicBezTo>
                    <a:pt x="177" y="411"/>
                    <a:pt x="180" y="398"/>
                    <a:pt x="182" y="383"/>
                  </a:cubicBezTo>
                  <a:cubicBezTo>
                    <a:pt x="189" y="346"/>
                    <a:pt x="197" y="304"/>
                    <a:pt x="211" y="272"/>
                  </a:cubicBezTo>
                  <a:cubicBezTo>
                    <a:pt x="230" y="229"/>
                    <a:pt x="251" y="191"/>
                    <a:pt x="271" y="15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67"/>
                    <a:pt x="0" y="467"/>
                    <a:pt x="0" y="467"/>
                  </a:cubicBezTo>
                  <a:cubicBezTo>
                    <a:pt x="5" y="467"/>
                    <a:pt x="5" y="467"/>
                    <a:pt x="5" y="467"/>
                  </a:cubicBezTo>
                  <a:cubicBezTo>
                    <a:pt x="5" y="468"/>
                    <a:pt x="5" y="468"/>
                    <a:pt x="5" y="468"/>
                  </a:cubicBezTo>
                  <a:cubicBezTo>
                    <a:pt x="5" y="468"/>
                    <a:pt x="5" y="468"/>
                    <a:pt x="5" y="468"/>
                  </a:cubicBezTo>
                  <a:cubicBezTo>
                    <a:pt x="15" y="468"/>
                    <a:pt x="25" y="468"/>
                    <a:pt x="36" y="468"/>
                  </a:cubicBezTo>
                  <a:cubicBezTo>
                    <a:pt x="42" y="467"/>
                    <a:pt x="42" y="467"/>
                    <a:pt x="42" y="467"/>
                  </a:cubicBezTo>
                  <a:cubicBezTo>
                    <a:pt x="94" y="468"/>
                    <a:pt x="94" y="468"/>
                    <a:pt x="94" y="468"/>
                  </a:cubicBezTo>
                  <a:cubicBezTo>
                    <a:pt x="101" y="468"/>
                    <a:pt x="108" y="468"/>
                    <a:pt x="115" y="467"/>
                  </a:cubicBezTo>
                  <a:cubicBezTo>
                    <a:pt x="157" y="467"/>
                    <a:pt x="167" y="456"/>
                    <a:pt x="174" y="424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7" name="Стрелка: шеврон 14">
            <a:extLst>
              <a:ext uri="{FF2B5EF4-FFF2-40B4-BE49-F238E27FC236}">
                <a16:creationId xmlns:a16="http://schemas.microsoft.com/office/drawing/2014/main" xmlns="" id="{EEE07FF5-FDDC-47FD-AD56-4550D5A61AB2}"/>
              </a:ext>
            </a:extLst>
          </p:cNvPr>
          <p:cNvSpPr/>
          <p:nvPr/>
        </p:nvSpPr>
        <p:spPr>
          <a:xfrm>
            <a:off x="187158" y="6228080"/>
            <a:ext cx="5096042" cy="470888"/>
          </a:xfrm>
          <a:prstGeom prst="chevron">
            <a:avLst>
              <a:gd name="adj" fmla="val 41371"/>
            </a:avLst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chemeClr val="tx1"/>
                </a:solidFill>
              </a:rPr>
              <a:t>МБДОУ «Детский сад№43»</a:t>
            </a: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28" name="Google Shape;384;p40"/>
          <p:cNvSpPr/>
          <p:nvPr/>
        </p:nvSpPr>
        <p:spPr>
          <a:xfrm>
            <a:off x="10647680" y="278008"/>
            <a:ext cx="690879" cy="575431"/>
          </a:xfrm>
          <a:custGeom>
            <a:avLst/>
            <a:gdLst/>
            <a:ahLst/>
            <a:cxnLst/>
            <a:rect l="l" t="t" r="r" b="b"/>
            <a:pathLst>
              <a:path w="18251" h="15452" extrusionOk="0">
                <a:moveTo>
                  <a:pt x="10634" y="2409"/>
                </a:moveTo>
                <a:lnTo>
                  <a:pt x="9953" y="2433"/>
                </a:lnTo>
                <a:lnTo>
                  <a:pt x="9296" y="2458"/>
                </a:lnTo>
                <a:lnTo>
                  <a:pt x="7592" y="2531"/>
                </a:lnTo>
                <a:lnTo>
                  <a:pt x="7228" y="2531"/>
                </a:lnTo>
                <a:lnTo>
                  <a:pt x="6814" y="2555"/>
                </a:lnTo>
                <a:lnTo>
                  <a:pt x="6619" y="2555"/>
                </a:lnTo>
                <a:lnTo>
                  <a:pt x="6425" y="2579"/>
                </a:lnTo>
                <a:lnTo>
                  <a:pt x="6230" y="2652"/>
                </a:lnTo>
                <a:lnTo>
                  <a:pt x="6060" y="2725"/>
                </a:lnTo>
                <a:lnTo>
                  <a:pt x="6035" y="2750"/>
                </a:lnTo>
                <a:lnTo>
                  <a:pt x="6011" y="2798"/>
                </a:lnTo>
                <a:lnTo>
                  <a:pt x="6035" y="2847"/>
                </a:lnTo>
                <a:lnTo>
                  <a:pt x="6060" y="2896"/>
                </a:lnTo>
                <a:lnTo>
                  <a:pt x="6230" y="2969"/>
                </a:lnTo>
                <a:lnTo>
                  <a:pt x="6376" y="3017"/>
                </a:lnTo>
                <a:lnTo>
                  <a:pt x="6546" y="3042"/>
                </a:lnTo>
                <a:lnTo>
                  <a:pt x="7422" y="3042"/>
                </a:lnTo>
                <a:lnTo>
                  <a:pt x="8298" y="3017"/>
                </a:lnTo>
                <a:lnTo>
                  <a:pt x="9150" y="2993"/>
                </a:lnTo>
                <a:lnTo>
                  <a:pt x="9831" y="2969"/>
                </a:lnTo>
                <a:lnTo>
                  <a:pt x="10488" y="2944"/>
                </a:lnTo>
                <a:lnTo>
                  <a:pt x="10829" y="2969"/>
                </a:lnTo>
                <a:lnTo>
                  <a:pt x="11169" y="2993"/>
                </a:lnTo>
                <a:lnTo>
                  <a:pt x="11486" y="3042"/>
                </a:lnTo>
                <a:lnTo>
                  <a:pt x="11826" y="3090"/>
                </a:lnTo>
                <a:lnTo>
                  <a:pt x="11948" y="3115"/>
                </a:lnTo>
                <a:lnTo>
                  <a:pt x="12045" y="3066"/>
                </a:lnTo>
                <a:lnTo>
                  <a:pt x="12094" y="2993"/>
                </a:lnTo>
                <a:lnTo>
                  <a:pt x="12143" y="2896"/>
                </a:lnTo>
                <a:lnTo>
                  <a:pt x="12167" y="2798"/>
                </a:lnTo>
                <a:lnTo>
                  <a:pt x="12143" y="2701"/>
                </a:lnTo>
                <a:lnTo>
                  <a:pt x="12070" y="2628"/>
                </a:lnTo>
                <a:lnTo>
                  <a:pt x="11972" y="2579"/>
                </a:lnTo>
                <a:lnTo>
                  <a:pt x="11632" y="2506"/>
                </a:lnTo>
                <a:lnTo>
                  <a:pt x="11315" y="2458"/>
                </a:lnTo>
                <a:lnTo>
                  <a:pt x="10975" y="2433"/>
                </a:lnTo>
                <a:lnTo>
                  <a:pt x="10634" y="2409"/>
                </a:lnTo>
                <a:close/>
                <a:moveTo>
                  <a:pt x="15573" y="4940"/>
                </a:moveTo>
                <a:lnTo>
                  <a:pt x="15890" y="4964"/>
                </a:lnTo>
                <a:lnTo>
                  <a:pt x="16157" y="5037"/>
                </a:lnTo>
                <a:lnTo>
                  <a:pt x="16182" y="5280"/>
                </a:lnTo>
                <a:lnTo>
                  <a:pt x="16206" y="5524"/>
                </a:lnTo>
                <a:lnTo>
                  <a:pt x="16206" y="5889"/>
                </a:lnTo>
                <a:lnTo>
                  <a:pt x="16206" y="6254"/>
                </a:lnTo>
                <a:lnTo>
                  <a:pt x="15671" y="6278"/>
                </a:lnTo>
                <a:lnTo>
                  <a:pt x="15136" y="6302"/>
                </a:lnTo>
                <a:lnTo>
                  <a:pt x="14625" y="6327"/>
                </a:lnTo>
                <a:lnTo>
                  <a:pt x="14333" y="6375"/>
                </a:lnTo>
                <a:lnTo>
                  <a:pt x="14308" y="6302"/>
                </a:lnTo>
                <a:lnTo>
                  <a:pt x="14284" y="6132"/>
                </a:lnTo>
                <a:lnTo>
                  <a:pt x="14284" y="5962"/>
                </a:lnTo>
                <a:lnTo>
                  <a:pt x="14284" y="5645"/>
                </a:lnTo>
                <a:lnTo>
                  <a:pt x="14284" y="5329"/>
                </a:lnTo>
                <a:lnTo>
                  <a:pt x="14284" y="5159"/>
                </a:lnTo>
                <a:lnTo>
                  <a:pt x="14235" y="5013"/>
                </a:lnTo>
                <a:lnTo>
                  <a:pt x="14430" y="5013"/>
                </a:lnTo>
                <a:lnTo>
                  <a:pt x="14625" y="4988"/>
                </a:lnTo>
                <a:lnTo>
                  <a:pt x="14990" y="4940"/>
                </a:lnTo>
                <a:close/>
                <a:moveTo>
                  <a:pt x="15330" y="4404"/>
                </a:moveTo>
                <a:lnTo>
                  <a:pt x="14990" y="4429"/>
                </a:lnTo>
                <a:lnTo>
                  <a:pt x="14771" y="4453"/>
                </a:lnTo>
                <a:lnTo>
                  <a:pt x="14503" y="4502"/>
                </a:lnTo>
                <a:lnTo>
                  <a:pt x="14357" y="4526"/>
                </a:lnTo>
                <a:lnTo>
                  <a:pt x="14260" y="4575"/>
                </a:lnTo>
                <a:lnTo>
                  <a:pt x="14138" y="4648"/>
                </a:lnTo>
                <a:lnTo>
                  <a:pt x="14065" y="4721"/>
                </a:lnTo>
                <a:lnTo>
                  <a:pt x="14016" y="4721"/>
                </a:lnTo>
                <a:lnTo>
                  <a:pt x="13968" y="4745"/>
                </a:lnTo>
                <a:lnTo>
                  <a:pt x="13943" y="4745"/>
                </a:lnTo>
                <a:lnTo>
                  <a:pt x="13919" y="4769"/>
                </a:lnTo>
                <a:lnTo>
                  <a:pt x="13895" y="4794"/>
                </a:lnTo>
                <a:lnTo>
                  <a:pt x="13870" y="4891"/>
                </a:lnTo>
                <a:lnTo>
                  <a:pt x="13773" y="5670"/>
                </a:lnTo>
                <a:lnTo>
                  <a:pt x="13773" y="6059"/>
                </a:lnTo>
                <a:lnTo>
                  <a:pt x="13773" y="6254"/>
                </a:lnTo>
                <a:lnTo>
                  <a:pt x="13822" y="6424"/>
                </a:lnTo>
                <a:lnTo>
                  <a:pt x="13846" y="6497"/>
                </a:lnTo>
                <a:lnTo>
                  <a:pt x="13870" y="6570"/>
                </a:lnTo>
                <a:lnTo>
                  <a:pt x="13870" y="6594"/>
                </a:lnTo>
                <a:lnTo>
                  <a:pt x="13895" y="6667"/>
                </a:lnTo>
                <a:lnTo>
                  <a:pt x="13919" y="6740"/>
                </a:lnTo>
                <a:lnTo>
                  <a:pt x="13968" y="6789"/>
                </a:lnTo>
                <a:lnTo>
                  <a:pt x="14041" y="6813"/>
                </a:lnTo>
                <a:lnTo>
                  <a:pt x="14308" y="6886"/>
                </a:lnTo>
                <a:lnTo>
                  <a:pt x="14600" y="6911"/>
                </a:lnTo>
                <a:lnTo>
                  <a:pt x="14892" y="6935"/>
                </a:lnTo>
                <a:lnTo>
                  <a:pt x="15184" y="6911"/>
                </a:lnTo>
                <a:lnTo>
                  <a:pt x="15768" y="6886"/>
                </a:lnTo>
                <a:lnTo>
                  <a:pt x="16328" y="6813"/>
                </a:lnTo>
                <a:lnTo>
                  <a:pt x="16449" y="6789"/>
                </a:lnTo>
                <a:lnTo>
                  <a:pt x="16522" y="6740"/>
                </a:lnTo>
                <a:lnTo>
                  <a:pt x="16595" y="6643"/>
                </a:lnTo>
                <a:lnTo>
                  <a:pt x="16620" y="6546"/>
                </a:lnTo>
                <a:lnTo>
                  <a:pt x="16668" y="6448"/>
                </a:lnTo>
                <a:lnTo>
                  <a:pt x="16717" y="6327"/>
                </a:lnTo>
                <a:lnTo>
                  <a:pt x="16741" y="6108"/>
                </a:lnTo>
                <a:lnTo>
                  <a:pt x="16741" y="5864"/>
                </a:lnTo>
                <a:lnTo>
                  <a:pt x="16717" y="5645"/>
                </a:lnTo>
                <a:lnTo>
                  <a:pt x="16644" y="5159"/>
                </a:lnTo>
                <a:lnTo>
                  <a:pt x="16620" y="4940"/>
                </a:lnTo>
                <a:lnTo>
                  <a:pt x="16547" y="4721"/>
                </a:lnTo>
                <a:lnTo>
                  <a:pt x="16498" y="4648"/>
                </a:lnTo>
                <a:lnTo>
                  <a:pt x="16449" y="4599"/>
                </a:lnTo>
                <a:lnTo>
                  <a:pt x="16401" y="4575"/>
                </a:lnTo>
                <a:lnTo>
                  <a:pt x="16328" y="4526"/>
                </a:lnTo>
                <a:lnTo>
                  <a:pt x="16011" y="4453"/>
                </a:lnTo>
                <a:lnTo>
                  <a:pt x="15671" y="4404"/>
                </a:lnTo>
                <a:close/>
                <a:moveTo>
                  <a:pt x="8176" y="7105"/>
                </a:moveTo>
                <a:lnTo>
                  <a:pt x="7884" y="7373"/>
                </a:lnTo>
                <a:lnTo>
                  <a:pt x="7641" y="7689"/>
                </a:lnTo>
                <a:lnTo>
                  <a:pt x="7422" y="8006"/>
                </a:lnTo>
                <a:lnTo>
                  <a:pt x="7252" y="8346"/>
                </a:lnTo>
                <a:lnTo>
                  <a:pt x="7082" y="8687"/>
                </a:lnTo>
                <a:lnTo>
                  <a:pt x="6936" y="9052"/>
                </a:lnTo>
                <a:lnTo>
                  <a:pt x="6790" y="9417"/>
                </a:lnTo>
                <a:lnTo>
                  <a:pt x="6692" y="9782"/>
                </a:lnTo>
                <a:lnTo>
                  <a:pt x="6619" y="9441"/>
                </a:lnTo>
                <a:lnTo>
                  <a:pt x="6619" y="9198"/>
                </a:lnTo>
                <a:lnTo>
                  <a:pt x="6619" y="8955"/>
                </a:lnTo>
                <a:lnTo>
                  <a:pt x="6644" y="8711"/>
                </a:lnTo>
                <a:lnTo>
                  <a:pt x="6717" y="8492"/>
                </a:lnTo>
                <a:lnTo>
                  <a:pt x="6790" y="8273"/>
                </a:lnTo>
                <a:lnTo>
                  <a:pt x="6911" y="8079"/>
                </a:lnTo>
                <a:lnTo>
                  <a:pt x="7033" y="7884"/>
                </a:lnTo>
                <a:lnTo>
                  <a:pt x="7203" y="7689"/>
                </a:lnTo>
                <a:lnTo>
                  <a:pt x="7398" y="7519"/>
                </a:lnTo>
                <a:lnTo>
                  <a:pt x="7617" y="7373"/>
                </a:lnTo>
                <a:lnTo>
                  <a:pt x="7836" y="7251"/>
                </a:lnTo>
                <a:lnTo>
                  <a:pt x="8079" y="7154"/>
                </a:lnTo>
                <a:lnTo>
                  <a:pt x="8176" y="7105"/>
                </a:lnTo>
                <a:close/>
                <a:moveTo>
                  <a:pt x="11413" y="8444"/>
                </a:moveTo>
                <a:lnTo>
                  <a:pt x="11486" y="8711"/>
                </a:lnTo>
                <a:lnTo>
                  <a:pt x="11534" y="8979"/>
                </a:lnTo>
                <a:lnTo>
                  <a:pt x="11559" y="9246"/>
                </a:lnTo>
                <a:lnTo>
                  <a:pt x="11534" y="9514"/>
                </a:lnTo>
                <a:lnTo>
                  <a:pt x="11461" y="9782"/>
                </a:lnTo>
                <a:lnTo>
                  <a:pt x="11388" y="10049"/>
                </a:lnTo>
                <a:lnTo>
                  <a:pt x="11267" y="10293"/>
                </a:lnTo>
                <a:lnTo>
                  <a:pt x="11145" y="10512"/>
                </a:lnTo>
                <a:lnTo>
                  <a:pt x="10975" y="10731"/>
                </a:lnTo>
                <a:lnTo>
                  <a:pt x="11048" y="10536"/>
                </a:lnTo>
                <a:lnTo>
                  <a:pt x="11121" y="10317"/>
                </a:lnTo>
                <a:lnTo>
                  <a:pt x="11194" y="9928"/>
                </a:lnTo>
                <a:lnTo>
                  <a:pt x="11267" y="9563"/>
                </a:lnTo>
                <a:lnTo>
                  <a:pt x="11315" y="9198"/>
                </a:lnTo>
                <a:lnTo>
                  <a:pt x="11413" y="8444"/>
                </a:lnTo>
                <a:close/>
                <a:moveTo>
                  <a:pt x="9028" y="6911"/>
                </a:moveTo>
                <a:lnTo>
                  <a:pt x="8858" y="7057"/>
                </a:lnTo>
                <a:lnTo>
                  <a:pt x="8736" y="7251"/>
                </a:lnTo>
                <a:lnTo>
                  <a:pt x="8614" y="7446"/>
                </a:lnTo>
                <a:lnTo>
                  <a:pt x="8517" y="7641"/>
                </a:lnTo>
                <a:lnTo>
                  <a:pt x="8322" y="8079"/>
                </a:lnTo>
                <a:lnTo>
                  <a:pt x="8176" y="8492"/>
                </a:lnTo>
                <a:lnTo>
                  <a:pt x="8030" y="8833"/>
                </a:lnTo>
                <a:lnTo>
                  <a:pt x="7884" y="9173"/>
                </a:lnTo>
                <a:lnTo>
                  <a:pt x="7568" y="9830"/>
                </a:lnTo>
                <a:lnTo>
                  <a:pt x="7325" y="10317"/>
                </a:lnTo>
                <a:lnTo>
                  <a:pt x="7228" y="10560"/>
                </a:lnTo>
                <a:lnTo>
                  <a:pt x="7130" y="10804"/>
                </a:lnTo>
                <a:lnTo>
                  <a:pt x="6936" y="10463"/>
                </a:lnTo>
                <a:lnTo>
                  <a:pt x="6790" y="10122"/>
                </a:lnTo>
                <a:lnTo>
                  <a:pt x="6838" y="10122"/>
                </a:lnTo>
                <a:lnTo>
                  <a:pt x="6911" y="10098"/>
                </a:lnTo>
                <a:lnTo>
                  <a:pt x="6960" y="10074"/>
                </a:lnTo>
                <a:lnTo>
                  <a:pt x="7009" y="10001"/>
                </a:lnTo>
                <a:lnTo>
                  <a:pt x="7276" y="9222"/>
                </a:lnTo>
                <a:lnTo>
                  <a:pt x="7592" y="8468"/>
                </a:lnTo>
                <a:lnTo>
                  <a:pt x="7787" y="8103"/>
                </a:lnTo>
                <a:lnTo>
                  <a:pt x="7982" y="7738"/>
                </a:lnTo>
                <a:lnTo>
                  <a:pt x="8176" y="7373"/>
                </a:lnTo>
                <a:lnTo>
                  <a:pt x="8395" y="7032"/>
                </a:lnTo>
                <a:lnTo>
                  <a:pt x="8493" y="7032"/>
                </a:lnTo>
                <a:lnTo>
                  <a:pt x="8760" y="6959"/>
                </a:lnTo>
                <a:lnTo>
                  <a:pt x="9028" y="6911"/>
                </a:lnTo>
                <a:close/>
                <a:moveTo>
                  <a:pt x="9344" y="6911"/>
                </a:moveTo>
                <a:lnTo>
                  <a:pt x="9588" y="6935"/>
                </a:lnTo>
                <a:lnTo>
                  <a:pt x="9831" y="7008"/>
                </a:lnTo>
                <a:lnTo>
                  <a:pt x="9734" y="7105"/>
                </a:lnTo>
                <a:lnTo>
                  <a:pt x="9636" y="7203"/>
                </a:lnTo>
                <a:lnTo>
                  <a:pt x="9490" y="7446"/>
                </a:lnTo>
                <a:lnTo>
                  <a:pt x="9393" y="7714"/>
                </a:lnTo>
                <a:lnTo>
                  <a:pt x="9271" y="7957"/>
                </a:lnTo>
                <a:lnTo>
                  <a:pt x="9150" y="8298"/>
                </a:lnTo>
                <a:lnTo>
                  <a:pt x="9004" y="8663"/>
                </a:lnTo>
                <a:lnTo>
                  <a:pt x="8760" y="9368"/>
                </a:lnTo>
                <a:lnTo>
                  <a:pt x="8468" y="10122"/>
                </a:lnTo>
                <a:lnTo>
                  <a:pt x="8128" y="10852"/>
                </a:lnTo>
                <a:lnTo>
                  <a:pt x="7957" y="11290"/>
                </a:lnTo>
                <a:lnTo>
                  <a:pt x="7909" y="11388"/>
                </a:lnTo>
                <a:lnTo>
                  <a:pt x="7884" y="11485"/>
                </a:lnTo>
                <a:lnTo>
                  <a:pt x="7884" y="11558"/>
                </a:lnTo>
                <a:lnTo>
                  <a:pt x="7665" y="11388"/>
                </a:lnTo>
                <a:lnTo>
                  <a:pt x="7446" y="11193"/>
                </a:lnTo>
                <a:lnTo>
                  <a:pt x="7568" y="10901"/>
                </a:lnTo>
                <a:lnTo>
                  <a:pt x="7690" y="10609"/>
                </a:lnTo>
                <a:lnTo>
                  <a:pt x="7811" y="10317"/>
                </a:lnTo>
                <a:lnTo>
                  <a:pt x="7933" y="10049"/>
                </a:lnTo>
                <a:lnTo>
                  <a:pt x="8201" y="9514"/>
                </a:lnTo>
                <a:lnTo>
                  <a:pt x="8444" y="8979"/>
                </a:lnTo>
                <a:lnTo>
                  <a:pt x="8882" y="7933"/>
                </a:lnTo>
                <a:lnTo>
                  <a:pt x="9101" y="7422"/>
                </a:lnTo>
                <a:lnTo>
                  <a:pt x="9344" y="6911"/>
                </a:lnTo>
                <a:close/>
                <a:moveTo>
                  <a:pt x="10610" y="7397"/>
                </a:moveTo>
                <a:lnTo>
                  <a:pt x="10829" y="7592"/>
                </a:lnTo>
                <a:lnTo>
                  <a:pt x="11023" y="7811"/>
                </a:lnTo>
                <a:lnTo>
                  <a:pt x="11194" y="8054"/>
                </a:lnTo>
                <a:lnTo>
                  <a:pt x="11340" y="8322"/>
                </a:lnTo>
                <a:lnTo>
                  <a:pt x="11340" y="8346"/>
                </a:lnTo>
                <a:lnTo>
                  <a:pt x="11169" y="8663"/>
                </a:lnTo>
                <a:lnTo>
                  <a:pt x="11023" y="8979"/>
                </a:lnTo>
                <a:lnTo>
                  <a:pt x="10926" y="9295"/>
                </a:lnTo>
                <a:lnTo>
                  <a:pt x="10829" y="9660"/>
                </a:lnTo>
                <a:lnTo>
                  <a:pt x="10731" y="10025"/>
                </a:lnTo>
                <a:lnTo>
                  <a:pt x="10610" y="10414"/>
                </a:lnTo>
                <a:lnTo>
                  <a:pt x="10512" y="10706"/>
                </a:lnTo>
                <a:lnTo>
                  <a:pt x="10464" y="10852"/>
                </a:lnTo>
                <a:lnTo>
                  <a:pt x="10439" y="11023"/>
                </a:lnTo>
                <a:lnTo>
                  <a:pt x="10464" y="11071"/>
                </a:lnTo>
                <a:lnTo>
                  <a:pt x="10488" y="11120"/>
                </a:lnTo>
                <a:lnTo>
                  <a:pt x="10537" y="11144"/>
                </a:lnTo>
                <a:lnTo>
                  <a:pt x="10585" y="11169"/>
                </a:lnTo>
                <a:lnTo>
                  <a:pt x="10318" y="11388"/>
                </a:lnTo>
                <a:lnTo>
                  <a:pt x="10001" y="11558"/>
                </a:lnTo>
                <a:lnTo>
                  <a:pt x="10001" y="11558"/>
                </a:lnTo>
                <a:lnTo>
                  <a:pt x="10099" y="11412"/>
                </a:lnTo>
                <a:lnTo>
                  <a:pt x="10147" y="11242"/>
                </a:lnTo>
                <a:lnTo>
                  <a:pt x="10269" y="10877"/>
                </a:lnTo>
                <a:lnTo>
                  <a:pt x="10439" y="10244"/>
                </a:lnTo>
                <a:lnTo>
                  <a:pt x="10585" y="9684"/>
                </a:lnTo>
                <a:lnTo>
                  <a:pt x="10780" y="9100"/>
                </a:lnTo>
                <a:lnTo>
                  <a:pt x="10950" y="8517"/>
                </a:lnTo>
                <a:lnTo>
                  <a:pt x="11072" y="7957"/>
                </a:lnTo>
                <a:lnTo>
                  <a:pt x="11072" y="7908"/>
                </a:lnTo>
                <a:lnTo>
                  <a:pt x="11048" y="7884"/>
                </a:lnTo>
                <a:lnTo>
                  <a:pt x="10975" y="7884"/>
                </a:lnTo>
                <a:lnTo>
                  <a:pt x="10804" y="8079"/>
                </a:lnTo>
                <a:lnTo>
                  <a:pt x="10683" y="8273"/>
                </a:lnTo>
                <a:lnTo>
                  <a:pt x="10561" y="8517"/>
                </a:lnTo>
                <a:lnTo>
                  <a:pt x="10464" y="8760"/>
                </a:lnTo>
                <a:lnTo>
                  <a:pt x="10318" y="9246"/>
                </a:lnTo>
                <a:lnTo>
                  <a:pt x="10196" y="9733"/>
                </a:lnTo>
                <a:lnTo>
                  <a:pt x="10050" y="10293"/>
                </a:lnTo>
                <a:lnTo>
                  <a:pt x="9880" y="10828"/>
                </a:lnTo>
                <a:lnTo>
                  <a:pt x="9782" y="11071"/>
                </a:lnTo>
                <a:lnTo>
                  <a:pt x="9685" y="11290"/>
                </a:lnTo>
                <a:lnTo>
                  <a:pt x="9563" y="11534"/>
                </a:lnTo>
                <a:lnTo>
                  <a:pt x="9539" y="11655"/>
                </a:lnTo>
                <a:lnTo>
                  <a:pt x="9515" y="11777"/>
                </a:lnTo>
                <a:lnTo>
                  <a:pt x="9320" y="11826"/>
                </a:lnTo>
                <a:lnTo>
                  <a:pt x="9247" y="11850"/>
                </a:lnTo>
                <a:lnTo>
                  <a:pt x="9247" y="11850"/>
                </a:lnTo>
                <a:lnTo>
                  <a:pt x="9369" y="11607"/>
                </a:lnTo>
                <a:lnTo>
                  <a:pt x="9442" y="11339"/>
                </a:lnTo>
                <a:lnTo>
                  <a:pt x="9612" y="10828"/>
                </a:lnTo>
                <a:lnTo>
                  <a:pt x="9758" y="10317"/>
                </a:lnTo>
                <a:lnTo>
                  <a:pt x="9928" y="9806"/>
                </a:lnTo>
                <a:lnTo>
                  <a:pt x="10147" y="9222"/>
                </a:lnTo>
                <a:lnTo>
                  <a:pt x="10342" y="8614"/>
                </a:lnTo>
                <a:lnTo>
                  <a:pt x="10488" y="8006"/>
                </a:lnTo>
                <a:lnTo>
                  <a:pt x="10561" y="7714"/>
                </a:lnTo>
                <a:lnTo>
                  <a:pt x="10610" y="7397"/>
                </a:lnTo>
                <a:close/>
                <a:moveTo>
                  <a:pt x="10026" y="7081"/>
                </a:moveTo>
                <a:lnTo>
                  <a:pt x="10220" y="7154"/>
                </a:lnTo>
                <a:lnTo>
                  <a:pt x="10391" y="7251"/>
                </a:lnTo>
                <a:lnTo>
                  <a:pt x="10172" y="7811"/>
                </a:lnTo>
                <a:lnTo>
                  <a:pt x="10001" y="8395"/>
                </a:lnTo>
                <a:lnTo>
                  <a:pt x="9831" y="8955"/>
                </a:lnTo>
                <a:lnTo>
                  <a:pt x="9636" y="9538"/>
                </a:lnTo>
                <a:lnTo>
                  <a:pt x="9442" y="10098"/>
                </a:lnTo>
                <a:lnTo>
                  <a:pt x="9271" y="10706"/>
                </a:lnTo>
                <a:lnTo>
                  <a:pt x="9101" y="11266"/>
                </a:lnTo>
                <a:lnTo>
                  <a:pt x="8979" y="11558"/>
                </a:lnTo>
                <a:lnTo>
                  <a:pt x="8833" y="11826"/>
                </a:lnTo>
                <a:lnTo>
                  <a:pt x="8833" y="11874"/>
                </a:lnTo>
                <a:lnTo>
                  <a:pt x="8639" y="11850"/>
                </a:lnTo>
                <a:lnTo>
                  <a:pt x="8468" y="11826"/>
                </a:lnTo>
                <a:lnTo>
                  <a:pt x="8298" y="11753"/>
                </a:lnTo>
                <a:lnTo>
                  <a:pt x="8128" y="11680"/>
                </a:lnTo>
                <a:lnTo>
                  <a:pt x="8176" y="11655"/>
                </a:lnTo>
                <a:lnTo>
                  <a:pt x="8201" y="11631"/>
                </a:lnTo>
                <a:lnTo>
                  <a:pt x="8274" y="11534"/>
                </a:lnTo>
                <a:lnTo>
                  <a:pt x="8371" y="11315"/>
                </a:lnTo>
                <a:lnTo>
                  <a:pt x="8639" y="10633"/>
                </a:lnTo>
                <a:lnTo>
                  <a:pt x="8931" y="9976"/>
                </a:lnTo>
                <a:lnTo>
                  <a:pt x="9077" y="9636"/>
                </a:lnTo>
                <a:lnTo>
                  <a:pt x="9223" y="9271"/>
                </a:lnTo>
                <a:lnTo>
                  <a:pt x="9466" y="8565"/>
                </a:lnTo>
                <a:lnTo>
                  <a:pt x="9612" y="8200"/>
                </a:lnTo>
                <a:lnTo>
                  <a:pt x="9758" y="7835"/>
                </a:lnTo>
                <a:lnTo>
                  <a:pt x="9928" y="7446"/>
                </a:lnTo>
                <a:lnTo>
                  <a:pt x="9977" y="7276"/>
                </a:lnTo>
                <a:lnTo>
                  <a:pt x="10026" y="7081"/>
                </a:lnTo>
                <a:close/>
                <a:moveTo>
                  <a:pt x="9247" y="6424"/>
                </a:moveTo>
                <a:lnTo>
                  <a:pt x="8931" y="6448"/>
                </a:lnTo>
                <a:lnTo>
                  <a:pt x="8639" y="6497"/>
                </a:lnTo>
                <a:lnTo>
                  <a:pt x="8347" y="6570"/>
                </a:lnTo>
                <a:lnTo>
                  <a:pt x="8274" y="6619"/>
                </a:lnTo>
                <a:lnTo>
                  <a:pt x="8225" y="6667"/>
                </a:lnTo>
                <a:lnTo>
                  <a:pt x="7836" y="6789"/>
                </a:lnTo>
                <a:lnTo>
                  <a:pt x="7568" y="6911"/>
                </a:lnTo>
                <a:lnTo>
                  <a:pt x="7325" y="7032"/>
                </a:lnTo>
                <a:lnTo>
                  <a:pt x="7106" y="7203"/>
                </a:lnTo>
                <a:lnTo>
                  <a:pt x="6887" y="7373"/>
                </a:lnTo>
                <a:lnTo>
                  <a:pt x="6668" y="7592"/>
                </a:lnTo>
                <a:lnTo>
                  <a:pt x="6498" y="7835"/>
                </a:lnTo>
                <a:lnTo>
                  <a:pt x="6352" y="8103"/>
                </a:lnTo>
                <a:lnTo>
                  <a:pt x="6254" y="8371"/>
                </a:lnTo>
                <a:lnTo>
                  <a:pt x="6206" y="8663"/>
                </a:lnTo>
                <a:lnTo>
                  <a:pt x="6157" y="8979"/>
                </a:lnTo>
                <a:lnTo>
                  <a:pt x="6157" y="9271"/>
                </a:lnTo>
                <a:lnTo>
                  <a:pt x="6181" y="9563"/>
                </a:lnTo>
                <a:lnTo>
                  <a:pt x="6206" y="9855"/>
                </a:lnTo>
                <a:lnTo>
                  <a:pt x="6279" y="10122"/>
                </a:lnTo>
                <a:lnTo>
                  <a:pt x="6376" y="10390"/>
                </a:lnTo>
                <a:lnTo>
                  <a:pt x="6498" y="10658"/>
                </a:lnTo>
                <a:lnTo>
                  <a:pt x="6644" y="10925"/>
                </a:lnTo>
                <a:lnTo>
                  <a:pt x="6814" y="11169"/>
                </a:lnTo>
                <a:lnTo>
                  <a:pt x="6984" y="11388"/>
                </a:lnTo>
                <a:lnTo>
                  <a:pt x="7203" y="11607"/>
                </a:lnTo>
                <a:lnTo>
                  <a:pt x="7422" y="11801"/>
                </a:lnTo>
                <a:lnTo>
                  <a:pt x="7665" y="11947"/>
                </a:lnTo>
                <a:lnTo>
                  <a:pt x="7909" y="12093"/>
                </a:lnTo>
                <a:lnTo>
                  <a:pt x="8176" y="12191"/>
                </a:lnTo>
                <a:lnTo>
                  <a:pt x="8444" y="12288"/>
                </a:lnTo>
                <a:lnTo>
                  <a:pt x="8736" y="12312"/>
                </a:lnTo>
                <a:lnTo>
                  <a:pt x="9028" y="12312"/>
                </a:lnTo>
                <a:lnTo>
                  <a:pt x="9320" y="12288"/>
                </a:lnTo>
                <a:lnTo>
                  <a:pt x="9588" y="12215"/>
                </a:lnTo>
                <a:lnTo>
                  <a:pt x="9880" y="12118"/>
                </a:lnTo>
                <a:lnTo>
                  <a:pt x="10147" y="11996"/>
                </a:lnTo>
                <a:lnTo>
                  <a:pt x="10415" y="11826"/>
                </a:lnTo>
                <a:lnTo>
                  <a:pt x="10658" y="11655"/>
                </a:lnTo>
                <a:lnTo>
                  <a:pt x="10877" y="11461"/>
                </a:lnTo>
                <a:lnTo>
                  <a:pt x="11096" y="11242"/>
                </a:lnTo>
                <a:lnTo>
                  <a:pt x="11291" y="10998"/>
                </a:lnTo>
                <a:lnTo>
                  <a:pt x="11461" y="10731"/>
                </a:lnTo>
                <a:lnTo>
                  <a:pt x="11632" y="10463"/>
                </a:lnTo>
                <a:lnTo>
                  <a:pt x="11753" y="10195"/>
                </a:lnTo>
                <a:lnTo>
                  <a:pt x="11851" y="9903"/>
                </a:lnTo>
                <a:lnTo>
                  <a:pt x="11924" y="9611"/>
                </a:lnTo>
                <a:lnTo>
                  <a:pt x="11948" y="9319"/>
                </a:lnTo>
                <a:lnTo>
                  <a:pt x="11972" y="9027"/>
                </a:lnTo>
                <a:lnTo>
                  <a:pt x="11924" y="8736"/>
                </a:lnTo>
                <a:lnTo>
                  <a:pt x="11851" y="8444"/>
                </a:lnTo>
                <a:lnTo>
                  <a:pt x="11753" y="8176"/>
                </a:lnTo>
                <a:lnTo>
                  <a:pt x="11632" y="7908"/>
                </a:lnTo>
                <a:lnTo>
                  <a:pt x="11461" y="7665"/>
                </a:lnTo>
                <a:lnTo>
                  <a:pt x="11291" y="7422"/>
                </a:lnTo>
                <a:lnTo>
                  <a:pt x="11096" y="7203"/>
                </a:lnTo>
                <a:lnTo>
                  <a:pt x="10853" y="7032"/>
                </a:lnTo>
                <a:lnTo>
                  <a:pt x="10610" y="6862"/>
                </a:lnTo>
                <a:lnTo>
                  <a:pt x="10366" y="6716"/>
                </a:lnTo>
                <a:lnTo>
                  <a:pt x="10099" y="6594"/>
                </a:lnTo>
                <a:lnTo>
                  <a:pt x="9807" y="6521"/>
                </a:lnTo>
                <a:lnTo>
                  <a:pt x="9515" y="6448"/>
                </a:lnTo>
                <a:lnTo>
                  <a:pt x="9247" y="6424"/>
                </a:lnTo>
                <a:close/>
                <a:moveTo>
                  <a:pt x="9417" y="5694"/>
                </a:moveTo>
                <a:lnTo>
                  <a:pt x="9782" y="5718"/>
                </a:lnTo>
                <a:lnTo>
                  <a:pt x="10172" y="5791"/>
                </a:lnTo>
                <a:lnTo>
                  <a:pt x="10537" y="5889"/>
                </a:lnTo>
                <a:lnTo>
                  <a:pt x="10877" y="6010"/>
                </a:lnTo>
                <a:lnTo>
                  <a:pt x="11218" y="6181"/>
                </a:lnTo>
                <a:lnTo>
                  <a:pt x="11534" y="6351"/>
                </a:lnTo>
                <a:lnTo>
                  <a:pt x="11729" y="6497"/>
                </a:lnTo>
                <a:lnTo>
                  <a:pt x="11899" y="6619"/>
                </a:lnTo>
                <a:lnTo>
                  <a:pt x="12045" y="6789"/>
                </a:lnTo>
                <a:lnTo>
                  <a:pt x="12191" y="6959"/>
                </a:lnTo>
                <a:lnTo>
                  <a:pt x="12313" y="7130"/>
                </a:lnTo>
                <a:lnTo>
                  <a:pt x="12435" y="7324"/>
                </a:lnTo>
                <a:lnTo>
                  <a:pt x="12532" y="7519"/>
                </a:lnTo>
                <a:lnTo>
                  <a:pt x="12629" y="7714"/>
                </a:lnTo>
                <a:lnTo>
                  <a:pt x="12775" y="8152"/>
                </a:lnTo>
                <a:lnTo>
                  <a:pt x="12873" y="8590"/>
                </a:lnTo>
                <a:lnTo>
                  <a:pt x="12921" y="9027"/>
                </a:lnTo>
                <a:lnTo>
                  <a:pt x="12921" y="9465"/>
                </a:lnTo>
                <a:lnTo>
                  <a:pt x="12897" y="9806"/>
                </a:lnTo>
                <a:lnTo>
                  <a:pt x="12848" y="10147"/>
                </a:lnTo>
                <a:lnTo>
                  <a:pt x="12751" y="10463"/>
                </a:lnTo>
                <a:lnTo>
                  <a:pt x="12654" y="10779"/>
                </a:lnTo>
                <a:lnTo>
                  <a:pt x="12508" y="11071"/>
                </a:lnTo>
                <a:lnTo>
                  <a:pt x="12362" y="11363"/>
                </a:lnTo>
                <a:lnTo>
                  <a:pt x="12167" y="11631"/>
                </a:lnTo>
                <a:lnTo>
                  <a:pt x="11972" y="11874"/>
                </a:lnTo>
                <a:lnTo>
                  <a:pt x="11753" y="12093"/>
                </a:lnTo>
                <a:lnTo>
                  <a:pt x="11510" y="12288"/>
                </a:lnTo>
                <a:lnTo>
                  <a:pt x="11242" y="12483"/>
                </a:lnTo>
                <a:lnTo>
                  <a:pt x="10975" y="12653"/>
                </a:lnTo>
                <a:lnTo>
                  <a:pt x="10683" y="12799"/>
                </a:lnTo>
                <a:lnTo>
                  <a:pt x="10366" y="12921"/>
                </a:lnTo>
                <a:lnTo>
                  <a:pt x="10050" y="13018"/>
                </a:lnTo>
                <a:lnTo>
                  <a:pt x="9709" y="13091"/>
                </a:lnTo>
                <a:lnTo>
                  <a:pt x="9369" y="13140"/>
                </a:lnTo>
                <a:lnTo>
                  <a:pt x="8736" y="13140"/>
                </a:lnTo>
                <a:lnTo>
                  <a:pt x="8420" y="13115"/>
                </a:lnTo>
                <a:lnTo>
                  <a:pt x="8128" y="13042"/>
                </a:lnTo>
                <a:lnTo>
                  <a:pt x="7836" y="12969"/>
                </a:lnTo>
                <a:lnTo>
                  <a:pt x="7568" y="12848"/>
                </a:lnTo>
                <a:lnTo>
                  <a:pt x="7276" y="12726"/>
                </a:lnTo>
                <a:lnTo>
                  <a:pt x="7033" y="12556"/>
                </a:lnTo>
                <a:lnTo>
                  <a:pt x="6790" y="12385"/>
                </a:lnTo>
                <a:lnTo>
                  <a:pt x="6546" y="12191"/>
                </a:lnTo>
                <a:lnTo>
                  <a:pt x="6352" y="11972"/>
                </a:lnTo>
                <a:lnTo>
                  <a:pt x="6157" y="11728"/>
                </a:lnTo>
                <a:lnTo>
                  <a:pt x="5962" y="11461"/>
                </a:lnTo>
                <a:lnTo>
                  <a:pt x="5816" y="11193"/>
                </a:lnTo>
                <a:lnTo>
                  <a:pt x="5670" y="10877"/>
                </a:lnTo>
                <a:lnTo>
                  <a:pt x="5597" y="10658"/>
                </a:lnTo>
                <a:lnTo>
                  <a:pt x="5524" y="10414"/>
                </a:lnTo>
                <a:lnTo>
                  <a:pt x="5476" y="10171"/>
                </a:lnTo>
                <a:lnTo>
                  <a:pt x="5427" y="9928"/>
                </a:lnTo>
                <a:lnTo>
                  <a:pt x="5403" y="9684"/>
                </a:lnTo>
                <a:lnTo>
                  <a:pt x="5403" y="9465"/>
                </a:lnTo>
                <a:lnTo>
                  <a:pt x="5403" y="9222"/>
                </a:lnTo>
                <a:lnTo>
                  <a:pt x="5427" y="8979"/>
                </a:lnTo>
                <a:lnTo>
                  <a:pt x="5451" y="8736"/>
                </a:lnTo>
                <a:lnTo>
                  <a:pt x="5500" y="8517"/>
                </a:lnTo>
                <a:lnTo>
                  <a:pt x="5573" y="8273"/>
                </a:lnTo>
                <a:lnTo>
                  <a:pt x="5646" y="8054"/>
                </a:lnTo>
                <a:lnTo>
                  <a:pt x="5743" y="7811"/>
                </a:lnTo>
                <a:lnTo>
                  <a:pt x="5865" y="7592"/>
                </a:lnTo>
                <a:lnTo>
                  <a:pt x="5987" y="7397"/>
                </a:lnTo>
                <a:lnTo>
                  <a:pt x="6133" y="7178"/>
                </a:lnTo>
                <a:lnTo>
                  <a:pt x="6376" y="6886"/>
                </a:lnTo>
                <a:lnTo>
                  <a:pt x="6644" y="6619"/>
                </a:lnTo>
                <a:lnTo>
                  <a:pt x="6911" y="6400"/>
                </a:lnTo>
                <a:lnTo>
                  <a:pt x="7228" y="6229"/>
                </a:lnTo>
                <a:lnTo>
                  <a:pt x="7544" y="6059"/>
                </a:lnTo>
                <a:lnTo>
                  <a:pt x="7884" y="5937"/>
                </a:lnTo>
                <a:lnTo>
                  <a:pt x="8225" y="5840"/>
                </a:lnTo>
                <a:lnTo>
                  <a:pt x="8590" y="5743"/>
                </a:lnTo>
                <a:lnTo>
                  <a:pt x="8687" y="5743"/>
                </a:lnTo>
                <a:lnTo>
                  <a:pt x="9052" y="5694"/>
                </a:lnTo>
                <a:close/>
                <a:moveTo>
                  <a:pt x="9150" y="5207"/>
                </a:moveTo>
                <a:lnTo>
                  <a:pt x="8760" y="5232"/>
                </a:lnTo>
                <a:lnTo>
                  <a:pt x="8420" y="5256"/>
                </a:lnTo>
                <a:lnTo>
                  <a:pt x="8055" y="5305"/>
                </a:lnTo>
                <a:lnTo>
                  <a:pt x="7714" y="5402"/>
                </a:lnTo>
                <a:lnTo>
                  <a:pt x="7373" y="5548"/>
                </a:lnTo>
                <a:lnTo>
                  <a:pt x="7057" y="5718"/>
                </a:lnTo>
                <a:lnTo>
                  <a:pt x="6741" y="5889"/>
                </a:lnTo>
                <a:lnTo>
                  <a:pt x="6473" y="6108"/>
                </a:lnTo>
                <a:lnTo>
                  <a:pt x="6181" y="6327"/>
                </a:lnTo>
                <a:lnTo>
                  <a:pt x="6035" y="6497"/>
                </a:lnTo>
                <a:lnTo>
                  <a:pt x="5865" y="6667"/>
                </a:lnTo>
                <a:lnTo>
                  <a:pt x="5597" y="7032"/>
                </a:lnTo>
                <a:lnTo>
                  <a:pt x="5354" y="7446"/>
                </a:lnTo>
                <a:lnTo>
                  <a:pt x="5159" y="7860"/>
                </a:lnTo>
                <a:lnTo>
                  <a:pt x="5013" y="8298"/>
                </a:lnTo>
                <a:lnTo>
                  <a:pt x="4916" y="8760"/>
                </a:lnTo>
                <a:lnTo>
                  <a:pt x="4867" y="9222"/>
                </a:lnTo>
                <a:lnTo>
                  <a:pt x="4867" y="9684"/>
                </a:lnTo>
                <a:lnTo>
                  <a:pt x="4916" y="10049"/>
                </a:lnTo>
                <a:lnTo>
                  <a:pt x="4965" y="10414"/>
                </a:lnTo>
                <a:lnTo>
                  <a:pt x="5062" y="10755"/>
                </a:lnTo>
                <a:lnTo>
                  <a:pt x="5184" y="11096"/>
                </a:lnTo>
                <a:lnTo>
                  <a:pt x="5330" y="11412"/>
                </a:lnTo>
                <a:lnTo>
                  <a:pt x="5500" y="11728"/>
                </a:lnTo>
                <a:lnTo>
                  <a:pt x="5695" y="12020"/>
                </a:lnTo>
                <a:lnTo>
                  <a:pt x="5914" y="12288"/>
                </a:lnTo>
                <a:lnTo>
                  <a:pt x="6157" y="12531"/>
                </a:lnTo>
                <a:lnTo>
                  <a:pt x="6425" y="12775"/>
                </a:lnTo>
                <a:lnTo>
                  <a:pt x="6717" y="12969"/>
                </a:lnTo>
                <a:lnTo>
                  <a:pt x="7009" y="13164"/>
                </a:lnTo>
                <a:lnTo>
                  <a:pt x="7325" y="13310"/>
                </a:lnTo>
                <a:lnTo>
                  <a:pt x="7665" y="13432"/>
                </a:lnTo>
                <a:lnTo>
                  <a:pt x="8006" y="13529"/>
                </a:lnTo>
                <a:lnTo>
                  <a:pt x="8371" y="13602"/>
                </a:lnTo>
                <a:lnTo>
                  <a:pt x="8687" y="13651"/>
                </a:lnTo>
                <a:lnTo>
                  <a:pt x="9296" y="13651"/>
                </a:lnTo>
                <a:lnTo>
                  <a:pt x="9612" y="13626"/>
                </a:lnTo>
                <a:lnTo>
                  <a:pt x="9928" y="13578"/>
                </a:lnTo>
                <a:lnTo>
                  <a:pt x="10220" y="13505"/>
                </a:lnTo>
                <a:lnTo>
                  <a:pt x="10512" y="13407"/>
                </a:lnTo>
                <a:lnTo>
                  <a:pt x="10804" y="13310"/>
                </a:lnTo>
                <a:lnTo>
                  <a:pt x="11072" y="13188"/>
                </a:lnTo>
                <a:lnTo>
                  <a:pt x="11340" y="13042"/>
                </a:lnTo>
                <a:lnTo>
                  <a:pt x="11607" y="12872"/>
                </a:lnTo>
                <a:lnTo>
                  <a:pt x="11851" y="12702"/>
                </a:lnTo>
                <a:lnTo>
                  <a:pt x="12094" y="12507"/>
                </a:lnTo>
                <a:lnTo>
                  <a:pt x="12313" y="12288"/>
                </a:lnTo>
                <a:lnTo>
                  <a:pt x="12508" y="12045"/>
                </a:lnTo>
                <a:lnTo>
                  <a:pt x="12702" y="11801"/>
                </a:lnTo>
                <a:lnTo>
                  <a:pt x="12897" y="11461"/>
                </a:lnTo>
                <a:lnTo>
                  <a:pt x="13092" y="11096"/>
                </a:lnTo>
                <a:lnTo>
                  <a:pt x="13213" y="10706"/>
                </a:lnTo>
                <a:lnTo>
                  <a:pt x="13335" y="10317"/>
                </a:lnTo>
                <a:lnTo>
                  <a:pt x="13384" y="9903"/>
                </a:lnTo>
                <a:lnTo>
                  <a:pt x="13432" y="9490"/>
                </a:lnTo>
                <a:lnTo>
                  <a:pt x="13432" y="9076"/>
                </a:lnTo>
                <a:lnTo>
                  <a:pt x="13384" y="8663"/>
                </a:lnTo>
                <a:lnTo>
                  <a:pt x="13311" y="8273"/>
                </a:lnTo>
                <a:lnTo>
                  <a:pt x="13189" y="7860"/>
                </a:lnTo>
                <a:lnTo>
                  <a:pt x="13043" y="7495"/>
                </a:lnTo>
                <a:lnTo>
                  <a:pt x="12873" y="7130"/>
                </a:lnTo>
                <a:lnTo>
                  <a:pt x="12654" y="6789"/>
                </a:lnTo>
                <a:lnTo>
                  <a:pt x="12386" y="6473"/>
                </a:lnTo>
                <a:lnTo>
                  <a:pt x="12094" y="6181"/>
                </a:lnTo>
                <a:lnTo>
                  <a:pt x="11778" y="5937"/>
                </a:lnTo>
                <a:lnTo>
                  <a:pt x="11461" y="5743"/>
                </a:lnTo>
                <a:lnTo>
                  <a:pt x="11096" y="5572"/>
                </a:lnTo>
                <a:lnTo>
                  <a:pt x="10731" y="5426"/>
                </a:lnTo>
                <a:lnTo>
                  <a:pt x="10342" y="5329"/>
                </a:lnTo>
                <a:lnTo>
                  <a:pt x="9953" y="5256"/>
                </a:lnTo>
                <a:lnTo>
                  <a:pt x="9539" y="5207"/>
                </a:lnTo>
                <a:close/>
                <a:moveTo>
                  <a:pt x="7714" y="511"/>
                </a:moveTo>
                <a:lnTo>
                  <a:pt x="8687" y="536"/>
                </a:lnTo>
                <a:lnTo>
                  <a:pt x="9685" y="560"/>
                </a:lnTo>
                <a:lnTo>
                  <a:pt x="10658" y="633"/>
                </a:lnTo>
                <a:lnTo>
                  <a:pt x="11340" y="633"/>
                </a:lnTo>
                <a:lnTo>
                  <a:pt x="11680" y="609"/>
                </a:lnTo>
                <a:lnTo>
                  <a:pt x="12021" y="609"/>
                </a:lnTo>
                <a:lnTo>
                  <a:pt x="12264" y="633"/>
                </a:lnTo>
                <a:lnTo>
                  <a:pt x="12483" y="706"/>
                </a:lnTo>
                <a:lnTo>
                  <a:pt x="12654" y="779"/>
                </a:lnTo>
                <a:lnTo>
                  <a:pt x="12800" y="876"/>
                </a:lnTo>
                <a:lnTo>
                  <a:pt x="12921" y="1022"/>
                </a:lnTo>
                <a:lnTo>
                  <a:pt x="13019" y="1168"/>
                </a:lnTo>
                <a:lnTo>
                  <a:pt x="13092" y="1314"/>
                </a:lnTo>
                <a:lnTo>
                  <a:pt x="13140" y="1484"/>
                </a:lnTo>
                <a:lnTo>
                  <a:pt x="13262" y="1874"/>
                </a:lnTo>
                <a:lnTo>
                  <a:pt x="13335" y="2263"/>
                </a:lnTo>
                <a:lnTo>
                  <a:pt x="13432" y="2652"/>
                </a:lnTo>
                <a:lnTo>
                  <a:pt x="13481" y="2847"/>
                </a:lnTo>
                <a:lnTo>
                  <a:pt x="13554" y="3017"/>
                </a:lnTo>
                <a:lnTo>
                  <a:pt x="13627" y="3115"/>
                </a:lnTo>
                <a:lnTo>
                  <a:pt x="13724" y="3139"/>
                </a:lnTo>
                <a:lnTo>
                  <a:pt x="13822" y="3139"/>
                </a:lnTo>
                <a:lnTo>
                  <a:pt x="13919" y="3090"/>
                </a:lnTo>
                <a:lnTo>
                  <a:pt x="14138" y="3066"/>
                </a:lnTo>
                <a:lnTo>
                  <a:pt x="14357" y="3066"/>
                </a:lnTo>
                <a:lnTo>
                  <a:pt x="14795" y="3090"/>
                </a:lnTo>
                <a:lnTo>
                  <a:pt x="15233" y="3139"/>
                </a:lnTo>
                <a:lnTo>
                  <a:pt x="15671" y="3163"/>
                </a:lnTo>
                <a:lnTo>
                  <a:pt x="16084" y="3188"/>
                </a:lnTo>
                <a:lnTo>
                  <a:pt x="16571" y="3212"/>
                </a:lnTo>
                <a:lnTo>
                  <a:pt x="16839" y="3212"/>
                </a:lnTo>
                <a:lnTo>
                  <a:pt x="17082" y="3188"/>
                </a:lnTo>
                <a:lnTo>
                  <a:pt x="17325" y="3163"/>
                </a:lnTo>
                <a:lnTo>
                  <a:pt x="17520" y="3066"/>
                </a:lnTo>
                <a:lnTo>
                  <a:pt x="17496" y="3261"/>
                </a:lnTo>
                <a:lnTo>
                  <a:pt x="17496" y="3480"/>
                </a:lnTo>
                <a:lnTo>
                  <a:pt x="17544" y="5086"/>
                </a:lnTo>
                <a:lnTo>
                  <a:pt x="17593" y="6789"/>
                </a:lnTo>
                <a:lnTo>
                  <a:pt x="17617" y="8517"/>
                </a:lnTo>
                <a:lnTo>
                  <a:pt x="17666" y="11753"/>
                </a:lnTo>
                <a:lnTo>
                  <a:pt x="17666" y="12483"/>
                </a:lnTo>
                <a:lnTo>
                  <a:pt x="17642" y="13213"/>
                </a:lnTo>
                <a:lnTo>
                  <a:pt x="17617" y="13943"/>
                </a:lnTo>
                <a:lnTo>
                  <a:pt x="17617" y="14673"/>
                </a:lnTo>
                <a:lnTo>
                  <a:pt x="17544" y="14673"/>
                </a:lnTo>
                <a:lnTo>
                  <a:pt x="16449" y="14746"/>
                </a:lnTo>
                <a:lnTo>
                  <a:pt x="15379" y="14794"/>
                </a:lnTo>
                <a:lnTo>
                  <a:pt x="14308" y="14794"/>
                </a:lnTo>
                <a:lnTo>
                  <a:pt x="13238" y="14770"/>
                </a:lnTo>
                <a:lnTo>
                  <a:pt x="11072" y="14721"/>
                </a:lnTo>
                <a:lnTo>
                  <a:pt x="10001" y="14697"/>
                </a:lnTo>
                <a:lnTo>
                  <a:pt x="8931" y="14673"/>
                </a:lnTo>
                <a:lnTo>
                  <a:pt x="7811" y="14673"/>
                </a:lnTo>
                <a:lnTo>
                  <a:pt x="6692" y="14721"/>
                </a:lnTo>
                <a:lnTo>
                  <a:pt x="4454" y="14819"/>
                </a:lnTo>
                <a:lnTo>
                  <a:pt x="2215" y="14892"/>
                </a:lnTo>
                <a:lnTo>
                  <a:pt x="1826" y="14892"/>
                </a:lnTo>
                <a:lnTo>
                  <a:pt x="1436" y="14867"/>
                </a:lnTo>
                <a:lnTo>
                  <a:pt x="828" y="14867"/>
                </a:lnTo>
                <a:lnTo>
                  <a:pt x="633" y="14916"/>
                </a:lnTo>
                <a:lnTo>
                  <a:pt x="658" y="14624"/>
                </a:lnTo>
                <a:lnTo>
                  <a:pt x="658" y="14308"/>
                </a:lnTo>
                <a:lnTo>
                  <a:pt x="658" y="13724"/>
                </a:lnTo>
                <a:lnTo>
                  <a:pt x="633" y="13115"/>
                </a:lnTo>
                <a:lnTo>
                  <a:pt x="633" y="12531"/>
                </a:lnTo>
                <a:lnTo>
                  <a:pt x="682" y="10804"/>
                </a:lnTo>
                <a:lnTo>
                  <a:pt x="706" y="9928"/>
                </a:lnTo>
                <a:lnTo>
                  <a:pt x="682" y="9076"/>
                </a:lnTo>
                <a:lnTo>
                  <a:pt x="585" y="7349"/>
                </a:lnTo>
                <a:lnTo>
                  <a:pt x="512" y="5597"/>
                </a:lnTo>
                <a:lnTo>
                  <a:pt x="463" y="4794"/>
                </a:lnTo>
                <a:lnTo>
                  <a:pt x="439" y="4380"/>
                </a:lnTo>
                <a:lnTo>
                  <a:pt x="439" y="3991"/>
                </a:lnTo>
                <a:lnTo>
                  <a:pt x="439" y="3601"/>
                </a:lnTo>
                <a:lnTo>
                  <a:pt x="390" y="3236"/>
                </a:lnTo>
                <a:lnTo>
                  <a:pt x="706" y="3285"/>
                </a:lnTo>
                <a:lnTo>
                  <a:pt x="1217" y="3285"/>
                </a:lnTo>
                <a:lnTo>
                  <a:pt x="1436" y="3261"/>
                </a:lnTo>
                <a:lnTo>
                  <a:pt x="1655" y="3212"/>
                </a:lnTo>
                <a:lnTo>
                  <a:pt x="1753" y="3163"/>
                </a:lnTo>
                <a:lnTo>
                  <a:pt x="1826" y="3115"/>
                </a:lnTo>
                <a:lnTo>
                  <a:pt x="1874" y="3042"/>
                </a:lnTo>
                <a:lnTo>
                  <a:pt x="1899" y="2969"/>
                </a:lnTo>
                <a:lnTo>
                  <a:pt x="1899" y="2896"/>
                </a:lnTo>
                <a:lnTo>
                  <a:pt x="1874" y="2823"/>
                </a:lnTo>
                <a:lnTo>
                  <a:pt x="1947" y="2725"/>
                </a:lnTo>
                <a:lnTo>
                  <a:pt x="2069" y="2652"/>
                </a:lnTo>
                <a:lnTo>
                  <a:pt x="2191" y="2579"/>
                </a:lnTo>
                <a:lnTo>
                  <a:pt x="2312" y="2555"/>
                </a:lnTo>
                <a:lnTo>
                  <a:pt x="2458" y="2531"/>
                </a:lnTo>
                <a:lnTo>
                  <a:pt x="2580" y="2531"/>
                </a:lnTo>
                <a:lnTo>
                  <a:pt x="2702" y="2555"/>
                </a:lnTo>
                <a:lnTo>
                  <a:pt x="2823" y="2579"/>
                </a:lnTo>
                <a:lnTo>
                  <a:pt x="2945" y="2628"/>
                </a:lnTo>
                <a:lnTo>
                  <a:pt x="3067" y="2677"/>
                </a:lnTo>
                <a:lnTo>
                  <a:pt x="3164" y="2774"/>
                </a:lnTo>
                <a:lnTo>
                  <a:pt x="3237" y="2847"/>
                </a:lnTo>
                <a:lnTo>
                  <a:pt x="3310" y="2944"/>
                </a:lnTo>
                <a:lnTo>
                  <a:pt x="3334" y="2993"/>
                </a:lnTo>
                <a:lnTo>
                  <a:pt x="3334" y="3017"/>
                </a:lnTo>
                <a:lnTo>
                  <a:pt x="3383" y="3115"/>
                </a:lnTo>
                <a:lnTo>
                  <a:pt x="3456" y="3163"/>
                </a:lnTo>
                <a:lnTo>
                  <a:pt x="3529" y="3188"/>
                </a:lnTo>
                <a:lnTo>
                  <a:pt x="3602" y="3163"/>
                </a:lnTo>
                <a:lnTo>
                  <a:pt x="3821" y="3188"/>
                </a:lnTo>
                <a:lnTo>
                  <a:pt x="4162" y="3212"/>
                </a:lnTo>
                <a:lnTo>
                  <a:pt x="4332" y="3188"/>
                </a:lnTo>
                <a:lnTo>
                  <a:pt x="4502" y="3139"/>
                </a:lnTo>
                <a:lnTo>
                  <a:pt x="4551" y="3090"/>
                </a:lnTo>
                <a:lnTo>
                  <a:pt x="4575" y="3042"/>
                </a:lnTo>
                <a:lnTo>
                  <a:pt x="4600" y="2993"/>
                </a:lnTo>
                <a:lnTo>
                  <a:pt x="4600" y="2920"/>
                </a:lnTo>
                <a:lnTo>
                  <a:pt x="4721" y="2725"/>
                </a:lnTo>
                <a:lnTo>
                  <a:pt x="4794" y="2506"/>
                </a:lnTo>
                <a:lnTo>
                  <a:pt x="4867" y="2263"/>
                </a:lnTo>
                <a:lnTo>
                  <a:pt x="4940" y="2020"/>
                </a:lnTo>
                <a:lnTo>
                  <a:pt x="5062" y="1533"/>
                </a:lnTo>
                <a:lnTo>
                  <a:pt x="5135" y="1290"/>
                </a:lnTo>
                <a:lnTo>
                  <a:pt x="5232" y="1095"/>
                </a:lnTo>
                <a:lnTo>
                  <a:pt x="5281" y="998"/>
                </a:lnTo>
                <a:lnTo>
                  <a:pt x="5354" y="925"/>
                </a:lnTo>
                <a:lnTo>
                  <a:pt x="5500" y="803"/>
                </a:lnTo>
                <a:lnTo>
                  <a:pt x="5695" y="706"/>
                </a:lnTo>
                <a:lnTo>
                  <a:pt x="5889" y="657"/>
                </a:lnTo>
                <a:lnTo>
                  <a:pt x="6108" y="609"/>
                </a:lnTo>
                <a:lnTo>
                  <a:pt x="6327" y="584"/>
                </a:lnTo>
                <a:lnTo>
                  <a:pt x="6717" y="560"/>
                </a:lnTo>
                <a:lnTo>
                  <a:pt x="7203" y="536"/>
                </a:lnTo>
                <a:lnTo>
                  <a:pt x="7714" y="511"/>
                </a:lnTo>
                <a:close/>
                <a:moveTo>
                  <a:pt x="7714" y="0"/>
                </a:moveTo>
                <a:lnTo>
                  <a:pt x="7130" y="25"/>
                </a:lnTo>
                <a:lnTo>
                  <a:pt x="6546" y="49"/>
                </a:lnTo>
                <a:lnTo>
                  <a:pt x="6157" y="98"/>
                </a:lnTo>
                <a:lnTo>
                  <a:pt x="5768" y="146"/>
                </a:lnTo>
                <a:lnTo>
                  <a:pt x="5573" y="195"/>
                </a:lnTo>
                <a:lnTo>
                  <a:pt x="5378" y="268"/>
                </a:lnTo>
                <a:lnTo>
                  <a:pt x="5208" y="365"/>
                </a:lnTo>
                <a:lnTo>
                  <a:pt x="5062" y="487"/>
                </a:lnTo>
                <a:lnTo>
                  <a:pt x="4940" y="584"/>
                </a:lnTo>
                <a:lnTo>
                  <a:pt x="4843" y="706"/>
                </a:lnTo>
                <a:lnTo>
                  <a:pt x="4697" y="949"/>
                </a:lnTo>
                <a:lnTo>
                  <a:pt x="4575" y="1241"/>
                </a:lnTo>
                <a:lnTo>
                  <a:pt x="4502" y="1533"/>
                </a:lnTo>
                <a:lnTo>
                  <a:pt x="4332" y="2141"/>
                </a:lnTo>
                <a:lnTo>
                  <a:pt x="4113" y="2750"/>
                </a:lnTo>
                <a:lnTo>
                  <a:pt x="3894" y="2774"/>
                </a:lnTo>
                <a:lnTo>
                  <a:pt x="3699" y="2774"/>
                </a:lnTo>
                <a:lnTo>
                  <a:pt x="3602" y="2628"/>
                </a:lnTo>
                <a:lnTo>
                  <a:pt x="3505" y="2482"/>
                </a:lnTo>
                <a:lnTo>
                  <a:pt x="3359" y="2385"/>
                </a:lnTo>
                <a:lnTo>
                  <a:pt x="3213" y="2287"/>
                </a:lnTo>
                <a:lnTo>
                  <a:pt x="3067" y="2214"/>
                </a:lnTo>
                <a:lnTo>
                  <a:pt x="2896" y="2166"/>
                </a:lnTo>
                <a:lnTo>
                  <a:pt x="2702" y="2117"/>
                </a:lnTo>
                <a:lnTo>
                  <a:pt x="2531" y="2093"/>
                </a:lnTo>
                <a:lnTo>
                  <a:pt x="2410" y="2117"/>
                </a:lnTo>
                <a:lnTo>
                  <a:pt x="2264" y="2141"/>
                </a:lnTo>
                <a:lnTo>
                  <a:pt x="2118" y="2166"/>
                </a:lnTo>
                <a:lnTo>
                  <a:pt x="1947" y="2239"/>
                </a:lnTo>
                <a:lnTo>
                  <a:pt x="1801" y="2312"/>
                </a:lnTo>
                <a:lnTo>
                  <a:pt x="1680" y="2409"/>
                </a:lnTo>
                <a:lnTo>
                  <a:pt x="1558" y="2506"/>
                </a:lnTo>
                <a:lnTo>
                  <a:pt x="1485" y="2628"/>
                </a:lnTo>
                <a:lnTo>
                  <a:pt x="1242" y="2652"/>
                </a:lnTo>
                <a:lnTo>
                  <a:pt x="1023" y="2677"/>
                </a:lnTo>
                <a:lnTo>
                  <a:pt x="220" y="2677"/>
                </a:lnTo>
                <a:lnTo>
                  <a:pt x="171" y="2701"/>
                </a:lnTo>
                <a:lnTo>
                  <a:pt x="122" y="2725"/>
                </a:lnTo>
                <a:lnTo>
                  <a:pt x="74" y="2774"/>
                </a:lnTo>
                <a:lnTo>
                  <a:pt x="25" y="2823"/>
                </a:lnTo>
                <a:lnTo>
                  <a:pt x="1" y="2896"/>
                </a:lnTo>
                <a:lnTo>
                  <a:pt x="25" y="4258"/>
                </a:lnTo>
                <a:lnTo>
                  <a:pt x="49" y="5597"/>
                </a:lnTo>
                <a:lnTo>
                  <a:pt x="98" y="7349"/>
                </a:lnTo>
                <a:lnTo>
                  <a:pt x="195" y="9076"/>
                </a:lnTo>
                <a:lnTo>
                  <a:pt x="195" y="9879"/>
                </a:lnTo>
                <a:lnTo>
                  <a:pt x="195" y="10706"/>
                </a:lnTo>
                <a:lnTo>
                  <a:pt x="171" y="11534"/>
                </a:lnTo>
                <a:lnTo>
                  <a:pt x="122" y="12337"/>
                </a:lnTo>
                <a:lnTo>
                  <a:pt x="98" y="12994"/>
                </a:lnTo>
                <a:lnTo>
                  <a:pt x="98" y="13626"/>
                </a:lnTo>
                <a:lnTo>
                  <a:pt x="122" y="14916"/>
                </a:lnTo>
                <a:lnTo>
                  <a:pt x="122" y="14965"/>
                </a:lnTo>
                <a:lnTo>
                  <a:pt x="147" y="15038"/>
                </a:lnTo>
                <a:lnTo>
                  <a:pt x="195" y="15086"/>
                </a:lnTo>
                <a:lnTo>
                  <a:pt x="244" y="15111"/>
                </a:lnTo>
                <a:lnTo>
                  <a:pt x="268" y="15184"/>
                </a:lnTo>
                <a:lnTo>
                  <a:pt x="317" y="15257"/>
                </a:lnTo>
                <a:lnTo>
                  <a:pt x="487" y="15354"/>
                </a:lnTo>
                <a:lnTo>
                  <a:pt x="706" y="15403"/>
                </a:lnTo>
                <a:lnTo>
                  <a:pt x="925" y="15427"/>
                </a:lnTo>
                <a:lnTo>
                  <a:pt x="1144" y="15451"/>
                </a:lnTo>
                <a:lnTo>
                  <a:pt x="1607" y="15451"/>
                </a:lnTo>
                <a:lnTo>
                  <a:pt x="2020" y="15427"/>
                </a:lnTo>
                <a:lnTo>
                  <a:pt x="3140" y="15403"/>
                </a:lnTo>
                <a:lnTo>
                  <a:pt x="4259" y="15378"/>
                </a:lnTo>
                <a:lnTo>
                  <a:pt x="5378" y="15330"/>
                </a:lnTo>
                <a:lnTo>
                  <a:pt x="6498" y="15281"/>
                </a:lnTo>
                <a:lnTo>
                  <a:pt x="7617" y="15232"/>
                </a:lnTo>
                <a:lnTo>
                  <a:pt x="8736" y="15208"/>
                </a:lnTo>
                <a:lnTo>
                  <a:pt x="9855" y="15232"/>
                </a:lnTo>
                <a:lnTo>
                  <a:pt x="10950" y="15257"/>
                </a:lnTo>
                <a:lnTo>
                  <a:pt x="13140" y="15305"/>
                </a:lnTo>
                <a:lnTo>
                  <a:pt x="14235" y="15330"/>
                </a:lnTo>
                <a:lnTo>
                  <a:pt x="15330" y="15330"/>
                </a:lnTo>
                <a:lnTo>
                  <a:pt x="16449" y="15305"/>
                </a:lnTo>
                <a:lnTo>
                  <a:pt x="17544" y="15208"/>
                </a:lnTo>
                <a:lnTo>
                  <a:pt x="17642" y="15184"/>
                </a:lnTo>
                <a:lnTo>
                  <a:pt x="17715" y="15135"/>
                </a:lnTo>
                <a:lnTo>
                  <a:pt x="17788" y="15184"/>
                </a:lnTo>
                <a:lnTo>
                  <a:pt x="17861" y="15208"/>
                </a:lnTo>
                <a:lnTo>
                  <a:pt x="17958" y="15232"/>
                </a:lnTo>
                <a:lnTo>
                  <a:pt x="18031" y="15208"/>
                </a:lnTo>
                <a:lnTo>
                  <a:pt x="18104" y="15184"/>
                </a:lnTo>
                <a:lnTo>
                  <a:pt x="18177" y="15111"/>
                </a:lnTo>
                <a:lnTo>
                  <a:pt x="18201" y="15038"/>
                </a:lnTo>
                <a:lnTo>
                  <a:pt x="18226" y="14940"/>
                </a:lnTo>
                <a:lnTo>
                  <a:pt x="18201" y="14186"/>
                </a:lnTo>
                <a:lnTo>
                  <a:pt x="18226" y="13432"/>
                </a:lnTo>
                <a:lnTo>
                  <a:pt x="18250" y="12677"/>
                </a:lnTo>
                <a:lnTo>
                  <a:pt x="18250" y="11923"/>
                </a:lnTo>
                <a:lnTo>
                  <a:pt x="18201" y="8711"/>
                </a:lnTo>
                <a:lnTo>
                  <a:pt x="18177" y="7081"/>
                </a:lnTo>
                <a:lnTo>
                  <a:pt x="18104" y="5475"/>
                </a:lnTo>
                <a:lnTo>
                  <a:pt x="18080" y="4794"/>
                </a:lnTo>
                <a:lnTo>
                  <a:pt x="18031" y="4137"/>
                </a:lnTo>
                <a:lnTo>
                  <a:pt x="17982" y="3480"/>
                </a:lnTo>
                <a:lnTo>
                  <a:pt x="17982" y="2798"/>
                </a:lnTo>
                <a:lnTo>
                  <a:pt x="17982" y="2750"/>
                </a:lnTo>
                <a:lnTo>
                  <a:pt x="17958" y="2701"/>
                </a:lnTo>
                <a:lnTo>
                  <a:pt x="17885" y="2652"/>
                </a:lnTo>
                <a:lnTo>
                  <a:pt x="17788" y="2628"/>
                </a:lnTo>
                <a:lnTo>
                  <a:pt x="17715" y="2628"/>
                </a:lnTo>
                <a:lnTo>
                  <a:pt x="17617" y="2579"/>
                </a:lnTo>
                <a:lnTo>
                  <a:pt x="17496" y="2555"/>
                </a:lnTo>
                <a:lnTo>
                  <a:pt x="17106" y="2555"/>
                </a:lnTo>
                <a:lnTo>
                  <a:pt x="16839" y="2604"/>
                </a:lnTo>
                <a:lnTo>
                  <a:pt x="16595" y="2628"/>
                </a:lnTo>
                <a:lnTo>
                  <a:pt x="15963" y="2652"/>
                </a:lnTo>
                <a:lnTo>
                  <a:pt x="15330" y="2628"/>
                </a:lnTo>
                <a:lnTo>
                  <a:pt x="14990" y="2604"/>
                </a:lnTo>
                <a:lnTo>
                  <a:pt x="14625" y="2555"/>
                </a:lnTo>
                <a:lnTo>
                  <a:pt x="14260" y="2555"/>
                </a:lnTo>
                <a:lnTo>
                  <a:pt x="14089" y="2579"/>
                </a:lnTo>
                <a:lnTo>
                  <a:pt x="13943" y="2628"/>
                </a:lnTo>
                <a:lnTo>
                  <a:pt x="13846" y="2263"/>
                </a:lnTo>
                <a:lnTo>
                  <a:pt x="13773" y="1874"/>
                </a:lnTo>
                <a:lnTo>
                  <a:pt x="13700" y="1509"/>
                </a:lnTo>
                <a:lnTo>
                  <a:pt x="13578" y="1168"/>
                </a:lnTo>
                <a:lnTo>
                  <a:pt x="13505" y="1022"/>
                </a:lnTo>
                <a:lnTo>
                  <a:pt x="13432" y="852"/>
                </a:lnTo>
                <a:lnTo>
                  <a:pt x="13335" y="706"/>
                </a:lnTo>
                <a:lnTo>
                  <a:pt x="13238" y="584"/>
                </a:lnTo>
                <a:lnTo>
                  <a:pt x="13092" y="463"/>
                </a:lnTo>
                <a:lnTo>
                  <a:pt x="12946" y="341"/>
                </a:lnTo>
                <a:lnTo>
                  <a:pt x="12775" y="268"/>
                </a:lnTo>
                <a:lnTo>
                  <a:pt x="12581" y="171"/>
                </a:lnTo>
                <a:lnTo>
                  <a:pt x="12386" y="146"/>
                </a:lnTo>
                <a:lnTo>
                  <a:pt x="12191" y="98"/>
                </a:lnTo>
                <a:lnTo>
                  <a:pt x="11802" y="98"/>
                </a:lnTo>
                <a:lnTo>
                  <a:pt x="11023" y="122"/>
                </a:lnTo>
                <a:lnTo>
                  <a:pt x="10488" y="122"/>
                </a:lnTo>
                <a:lnTo>
                  <a:pt x="9953" y="98"/>
                </a:lnTo>
                <a:lnTo>
                  <a:pt x="8882" y="25"/>
                </a:lnTo>
                <a:lnTo>
                  <a:pt x="8298" y="0"/>
                </a:lnTo>
                <a:close/>
              </a:path>
            </a:pathLst>
          </a:custGeom>
          <a:solidFill>
            <a:schemeClr val="dk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30" name="Рисунок 29" descr="C:\Users\Админ\Downloads\IMG_20241119_150906.jpg"/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033" y="2601716"/>
            <a:ext cx="2105025" cy="2105025"/>
          </a:xfrm>
          <a:prstGeom prst="rect">
            <a:avLst/>
          </a:prstGeom>
          <a:noFill/>
          <a:ln>
            <a:noFill/>
          </a:ln>
        </p:spPr>
      </p:pic>
      <p:pic>
        <p:nvPicPr>
          <p:cNvPr id="31" name="Рисунок 30" descr="C:\Users\Админ\Downloads\IMG_20241119_150343.jpg"/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8311" y="3424951"/>
            <a:ext cx="2045204" cy="2063234"/>
          </a:xfrm>
          <a:prstGeom prst="rect">
            <a:avLst/>
          </a:prstGeom>
          <a:noFill/>
          <a:ln>
            <a:noFill/>
          </a:ln>
        </p:spPr>
      </p:pic>
      <p:pic>
        <p:nvPicPr>
          <p:cNvPr id="32" name="Рисунок 31" descr="C:\Users\Админ\Downloads\IMG_20241119_115140.jpg"/>
          <p:cNvPicPr/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5454" y="2601716"/>
            <a:ext cx="2179226" cy="2081252"/>
          </a:xfrm>
          <a:prstGeom prst="rect">
            <a:avLst/>
          </a:prstGeom>
          <a:noFill/>
          <a:ln>
            <a:noFill/>
          </a:ln>
        </p:spPr>
      </p:pic>
      <p:pic>
        <p:nvPicPr>
          <p:cNvPr id="26626" name="Picture 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06741" y="2601716"/>
            <a:ext cx="2119315" cy="21193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6627" name="Picture 3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8550" y="3415530"/>
            <a:ext cx="2131661" cy="2131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5" name="Прямоугольник 34"/>
          <p:cNvSpPr/>
          <p:nvPr/>
        </p:nvSpPr>
        <p:spPr>
          <a:xfrm>
            <a:off x="187159" y="4968239"/>
            <a:ext cx="2247900" cy="335280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b="1" dirty="0" smtClean="0"/>
              <a:t>Вечер вопросов и ответов</a:t>
            </a:r>
            <a:endParaRPr lang="ru-RU" sz="1400" dirty="0"/>
          </a:p>
        </p:txBody>
      </p:sp>
      <p:sp>
        <p:nvSpPr>
          <p:cNvPr id="53" name="Прямоугольник 52"/>
          <p:cNvSpPr/>
          <p:nvPr/>
        </p:nvSpPr>
        <p:spPr>
          <a:xfrm>
            <a:off x="2204184" y="5672850"/>
            <a:ext cx="2774216" cy="415977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b="1" dirty="0" smtClean="0"/>
              <a:t>Тренинг </a:t>
            </a:r>
          </a:p>
          <a:p>
            <a:pPr algn="ctr"/>
            <a:r>
              <a:rPr lang="ru-RU" sz="1400" dirty="0" smtClean="0"/>
              <a:t>«Как мы чувствуем друг друга»</a:t>
            </a:r>
            <a:endParaRPr lang="ru-RU" sz="1400" dirty="0"/>
          </a:p>
        </p:txBody>
      </p:sp>
      <p:sp>
        <p:nvSpPr>
          <p:cNvPr id="54" name="Прямоугольник 53"/>
          <p:cNvSpPr/>
          <p:nvPr/>
        </p:nvSpPr>
        <p:spPr>
          <a:xfrm>
            <a:off x="4751117" y="4972720"/>
            <a:ext cx="2247900" cy="335280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b="1" dirty="0" smtClean="0"/>
              <a:t>Игровые сеансы</a:t>
            </a:r>
            <a:endParaRPr lang="ru-RU" sz="1400" dirty="0"/>
          </a:p>
        </p:txBody>
      </p:sp>
      <p:sp>
        <p:nvSpPr>
          <p:cNvPr id="55" name="Прямоугольник 54"/>
          <p:cNvSpPr/>
          <p:nvPr/>
        </p:nvSpPr>
        <p:spPr>
          <a:xfrm>
            <a:off x="7120430" y="5753547"/>
            <a:ext cx="2247900" cy="335280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b="1" dirty="0" smtClean="0"/>
              <a:t>Акция </a:t>
            </a:r>
            <a:r>
              <a:rPr lang="ru-RU" sz="1400" dirty="0" smtClean="0"/>
              <a:t>«Сад памяти»</a:t>
            </a:r>
            <a:endParaRPr lang="ru-RU" sz="1400" dirty="0"/>
          </a:p>
        </p:txBody>
      </p:sp>
      <p:sp>
        <p:nvSpPr>
          <p:cNvPr id="56" name="Прямоугольник 55"/>
          <p:cNvSpPr/>
          <p:nvPr/>
        </p:nvSpPr>
        <p:spPr>
          <a:xfrm>
            <a:off x="9499794" y="4977201"/>
            <a:ext cx="2247900" cy="335280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b="1" dirty="0" smtClean="0"/>
              <a:t>Мастер-класс </a:t>
            </a:r>
          </a:p>
          <a:p>
            <a:pPr algn="ctr"/>
            <a:r>
              <a:rPr lang="ru-RU" sz="1400" dirty="0" smtClean="0"/>
              <a:t>«Волшебная снежинка»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10926366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Рисунок 28"/>
          <p:cNvPicPr/>
          <p:nvPr/>
        </p:nvPicPr>
        <p:blipFill rotWithShape="1">
          <a:blip r:embed="rId3"/>
          <a:srcRect l="24198" t="14246" r="41987" b="5697"/>
          <a:stretch/>
        </p:blipFill>
        <p:spPr bwMode="auto">
          <a:xfrm>
            <a:off x="7960762" y="1913264"/>
            <a:ext cx="1627393" cy="2029137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54" name="Rectangle 34">
            <a:extLst>
              <a:ext uri="{FF2B5EF4-FFF2-40B4-BE49-F238E27FC236}">
                <a16:creationId xmlns:a16="http://schemas.microsoft.com/office/drawing/2014/main" xmlns="" id="{155DC282-20F4-415C-BFD1-CC8145E87C90}"/>
              </a:ext>
            </a:extLst>
          </p:cNvPr>
          <p:cNvSpPr/>
          <p:nvPr/>
        </p:nvSpPr>
        <p:spPr>
          <a:xfrm flipH="1" flipV="1">
            <a:off x="0" y="0"/>
            <a:ext cx="9276080" cy="1371600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605342" y="525332"/>
                  <a:pt x="0" y="0"/>
                </a:cubicBezTo>
                <a:close/>
              </a:path>
            </a:pathLst>
          </a:cu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353CD5F5-799E-4D89-82A7-3A5DDDC6FCC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14</a:t>
            </a:fld>
            <a:endParaRPr lang="en-US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xmlns="" id="{23AF1DA8-2D4F-48A8-9C59-2ABC51E61DA0}"/>
              </a:ext>
            </a:extLst>
          </p:cNvPr>
          <p:cNvGrpSpPr/>
          <p:nvPr/>
        </p:nvGrpSpPr>
        <p:grpSpPr>
          <a:xfrm>
            <a:off x="11522460" y="2070881"/>
            <a:ext cx="489458" cy="491614"/>
            <a:chOff x="9161463" y="2163763"/>
            <a:chExt cx="360363" cy="361950"/>
          </a:xfrm>
          <a:solidFill>
            <a:schemeClr val="bg1"/>
          </a:solidFill>
        </p:grpSpPr>
        <p:sp>
          <p:nvSpPr>
            <p:cNvPr id="9" name="Freeform 65">
              <a:extLst>
                <a:ext uri="{FF2B5EF4-FFF2-40B4-BE49-F238E27FC236}">
                  <a16:creationId xmlns:a16="http://schemas.microsoft.com/office/drawing/2014/main" xmlns="" id="{B8139E16-D857-4A41-AAB5-B9BAC40B318D}"/>
                </a:ext>
              </a:extLst>
            </p:cNvPr>
            <p:cNvSpPr>
              <a:spLocks/>
            </p:cNvSpPr>
            <p:nvPr/>
          </p:nvSpPr>
          <p:spPr bwMode="auto">
            <a:xfrm>
              <a:off x="9371013" y="2209801"/>
              <a:ext cx="46038" cy="217488"/>
            </a:xfrm>
            <a:custGeom>
              <a:avLst/>
              <a:gdLst>
                <a:gd name="T0" fmla="*/ 12 w 12"/>
                <a:gd name="T1" fmla="*/ 2 h 58"/>
                <a:gd name="T2" fmla="*/ 10 w 12"/>
                <a:gd name="T3" fmla="*/ 0 h 58"/>
                <a:gd name="T4" fmla="*/ 0 w 12"/>
                <a:gd name="T5" fmla="*/ 0 h 58"/>
                <a:gd name="T6" fmla="*/ 0 w 12"/>
                <a:gd name="T7" fmla="*/ 12 h 58"/>
                <a:gd name="T8" fmla="*/ 0 w 12"/>
                <a:gd name="T9" fmla="*/ 18 h 58"/>
                <a:gd name="T10" fmla="*/ 0 w 12"/>
                <a:gd name="T11" fmla="*/ 58 h 58"/>
                <a:gd name="T12" fmla="*/ 12 w 12"/>
                <a:gd name="T13" fmla="*/ 46 h 58"/>
                <a:gd name="T14" fmla="*/ 12 w 12"/>
                <a:gd name="T15" fmla="*/ 2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58">
                  <a:moveTo>
                    <a:pt x="12" y="2"/>
                  </a:moveTo>
                  <a:cubicBezTo>
                    <a:pt x="12" y="1"/>
                    <a:pt x="11" y="0"/>
                    <a:pt x="1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12" y="46"/>
                    <a:pt x="12" y="46"/>
                    <a:pt x="12" y="46"/>
                  </a:cubicBezTo>
                  <a:lnTo>
                    <a:pt x="12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" name="Freeform 66">
              <a:extLst>
                <a:ext uri="{FF2B5EF4-FFF2-40B4-BE49-F238E27FC236}">
                  <a16:creationId xmlns:a16="http://schemas.microsoft.com/office/drawing/2014/main" xmlns="" id="{D547A117-C25B-4AEB-B2C9-74A085C46F9D}"/>
                </a:ext>
              </a:extLst>
            </p:cNvPr>
            <p:cNvSpPr>
              <a:spLocks/>
            </p:cNvSpPr>
            <p:nvPr/>
          </p:nvSpPr>
          <p:spPr bwMode="auto">
            <a:xfrm>
              <a:off x="9161463" y="2209801"/>
              <a:ext cx="187325" cy="285750"/>
            </a:xfrm>
            <a:custGeom>
              <a:avLst/>
              <a:gdLst>
                <a:gd name="T0" fmla="*/ 49 w 50"/>
                <a:gd name="T1" fmla="*/ 64 h 76"/>
                <a:gd name="T2" fmla="*/ 50 w 50"/>
                <a:gd name="T3" fmla="*/ 64 h 76"/>
                <a:gd name="T4" fmla="*/ 12 w 50"/>
                <a:gd name="T5" fmla="*/ 64 h 76"/>
                <a:gd name="T6" fmla="*/ 12 w 50"/>
                <a:gd name="T7" fmla="*/ 18 h 76"/>
                <a:gd name="T8" fmla="*/ 12 w 50"/>
                <a:gd name="T9" fmla="*/ 12 h 76"/>
                <a:gd name="T10" fmla="*/ 12 w 50"/>
                <a:gd name="T11" fmla="*/ 0 h 76"/>
                <a:gd name="T12" fmla="*/ 2 w 50"/>
                <a:gd name="T13" fmla="*/ 0 h 76"/>
                <a:gd name="T14" fmla="*/ 0 w 50"/>
                <a:gd name="T15" fmla="*/ 2 h 76"/>
                <a:gd name="T16" fmla="*/ 0 w 50"/>
                <a:gd name="T17" fmla="*/ 66 h 76"/>
                <a:gd name="T18" fmla="*/ 10 w 50"/>
                <a:gd name="T19" fmla="*/ 76 h 76"/>
                <a:gd name="T20" fmla="*/ 45 w 50"/>
                <a:gd name="T21" fmla="*/ 76 h 76"/>
                <a:gd name="T22" fmla="*/ 49 w 50"/>
                <a:gd name="T23" fmla="*/ 65 h 76"/>
                <a:gd name="T24" fmla="*/ 49 w 50"/>
                <a:gd name="T25" fmla="*/ 64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" h="76">
                  <a:moveTo>
                    <a:pt x="49" y="64"/>
                  </a:moveTo>
                  <a:cubicBezTo>
                    <a:pt x="50" y="64"/>
                    <a:pt x="50" y="64"/>
                    <a:pt x="50" y="64"/>
                  </a:cubicBezTo>
                  <a:cubicBezTo>
                    <a:pt x="12" y="64"/>
                    <a:pt x="12" y="64"/>
                    <a:pt x="12" y="64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72"/>
                    <a:pt x="4" y="76"/>
                    <a:pt x="10" y="76"/>
                  </a:cubicBezTo>
                  <a:cubicBezTo>
                    <a:pt x="45" y="76"/>
                    <a:pt x="45" y="76"/>
                    <a:pt x="45" y="76"/>
                  </a:cubicBezTo>
                  <a:cubicBezTo>
                    <a:pt x="49" y="65"/>
                    <a:pt x="49" y="65"/>
                    <a:pt x="49" y="65"/>
                  </a:cubicBezTo>
                  <a:cubicBezTo>
                    <a:pt x="49" y="65"/>
                    <a:pt x="49" y="65"/>
                    <a:pt x="49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" name="Freeform 67">
              <a:extLst>
                <a:ext uri="{FF2B5EF4-FFF2-40B4-BE49-F238E27FC236}">
                  <a16:creationId xmlns:a16="http://schemas.microsoft.com/office/drawing/2014/main" xmlns="" id="{C78C8C6E-AA7E-4FFE-AD0B-FB890E851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36075" y="2298701"/>
              <a:ext cx="90488" cy="15875"/>
            </a:xfrm>
            <a:custGeom>
              <a:avLst/>
              <a:gdLst>
                <a:gd name="T0" fmla="*/ 22 w 24"/>
                <a:gd name="T1" fmla="*/ 0 h 4"/>
                <a:gd name="T2" fmla="*/ 2 w 24"/>
                <a:gd name="T3" fmla="*/ 0 h 4"/>
                <a:gd name="T4" fmla="*/ 0 w 24"/>
                <a:gd name="T5" fmla="*/ 2 h 4"/>
                <a:gd name="T6" fmla="*/ 2 w 24"/>
                <a:gd name="T7" fmla="*/ 4 h 4"/>
                <a:gd name="T8" fmla="*/ 22 w 24"/>
                <a:gd name="T9" fmla="*/ 4 h 4"/>
                <a:gd name="T10" fmla="*/ 24 w 24"/>
                <a:gd name="T11" fmla="*/ 2 h 4"/>
                <a:gd name="T12" fmla="*/ 22 w 24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">
                  <a:moveTo>
                    <a:pt x="2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3" y="4"/>
                    <a:pt x="24" y="3"/>
                    <a:pt x="24" y="2"/>
                  </a:cubicBezTo>
                  <a:cubicBezTo>
                    <a:pt x="24" y="1"/>
                    <a:pt x="23" y="0"/>
                    <a:pt x="2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" name="Freeform 68">
              <a:extLst>
                <a:ext uri="{FF2B5EF4-FFF2-40B4-BE49-F238E27FC236}">
                  <a16:creationId xmlns:a16="http://schemas.microsoft.com/office/drawing/2014/main" xmlns="" id="{2288712C-BB20-4467-B0A8-5403513A4B73}"/>
                </a:ext>
              </a:extLst>
            </p:cNvPr>
            <p:cNvSpPr>
              <a:spLocks/>
            </p:cNvSpPr>
            <p:nvPr/>
          </p:nvSpPr>
          <p:spPr bwMode="auto">
            <a:xfrm>
              <a:off x="9236075" y="2328863"/>
              <a:ext cx="90488" cy="15875"/>
            </a:xfrm>
            <a:custGeom>
              <a:avLst/>
              <a:gdLst>
                <a:gd name="T0" fmla="*/ 22 w 24"/>
                <a:gd name="T1" fmla="*/ 0 h 4"/>
                <a:gd name="T2" fmla="*/ 2 w 24"/>
                <a:gd name="T3" fmla="*/ 0 h 4"/>
                <a:gd name="T4" fmla="*/ 0 w 24"/>
                <a:gd name="T5" fmla="*/ 2 h 4"/>
                <a:gd name="T6" fmla="*/ 2 w 24"/>
                <a:gd name="T7" fmla="*/ 4 h 4"/>
                <a:gd name="T8" fmla="*/ 22 w 24"/>
                <a:gd name="T9" fmla="*/ 4 h 4"/>
                <a:gd name="T10" fmla="*/ 24 w 24"/>
                <a:gd name="T11" fmla="*/ 2 h 4"/>
                <a:gd name="T12" fmla="*/ 22 w 24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">
                  <a:moveTo>
                    <a:pt x="2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3" y="4"/>
                    <a:pt x="24" y="3"/>
                    <a:pt x="24" y="2"/>
                  </a:cubicBezTo>
                  <a:cubicBezTo>
                    <a:pt x="24" y="1"/>
                    <a:pt x="23" y="0"/>
                    <a:pt x="2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" name="Freeform 69">
              <a:extLst>
                <a:ext uri="{FF2B5EF4-FFF2-40B4-BE49-F238E27FC236}">
                  <a16:creationId xmlns:a16="http://schemas.microsoft.com/office/drawing/2014/main" xmlns="" id="{0E041EA8-F966-43EA-B1AB-EE0FD24D8781}"/>
                </a:ext>
              </a:extLst>
            </p:cNvPr>
            <p:cNvSpPr>
              <a:spLocks/>
            </p:cNvSpPr>
            <p:nvPr/>
          </p:nvSpPr>
          <p:spPr bwMode="auto">
            <a:xfrm>
              <a:off x="9236075" y="2359026"/>
              <a:ext cx="90488" cy="15875"/>
            </a:xfrm>
            <a:custGeom>
              <a:avLst/>
              <a:gdLst>
                <a:gd name="T0" fmla="*/ 24 w 24"/>
                <a:gd name="T1" fmla="*/ 2 h 4"/>
                <a:gd name="T2" fmla="*/ 22 w 24"/>
                <a:gd name="T3" fmla="*/ 0 h 4"/>
                <a:gd name="T4" fmla="*/ 2 w 24"/>
                <a:gd name="T5" fmla="*/ 0 h 4"/>
                <a:gd name="T6" fmla="*/ 0 w 24"/>
                <a:gd name="T7" fmla="*/ 2 h 4"/>
                <a:gd name="T8" fmla="*/ 2 w 24"/>
                <a:gd name="T9" fmla="*/ 4 h 4"/>
                <a:gd name="T10" fmla="*/ 22 w 24"/>
                <a:gd name="T11" fmla="*/ 4 h 4"/>
                <a:gd name="T12" fmla="*/ 24 w 24"/>
                <a:gd name="T1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">
                  <a:moveTo>
                    <a:pt x="24" y="2"/>
                  </a:moveTo>
                  <a:cubicBezTo>
                    <a:pt x="24" y="1"/>
                    <a:pt x="23" y="0"/>
                    <a:pt x="2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3" y="4"/>
                    <a:pt x="24" y="3"/>
                    <a:pt x="24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" name="Freeform 70">
              <a:extLst>
                <a:ext uri="{FF2B5EF4-FFF2-40B4-BE49-F238E27FC236}">
                  <a16:creationId xmlns:a16="http://schemas.microsoft.com/office/drawing/2014/main" xmlns="" id="{CE5B3C5D-8FB7-45D2-A784-97AC1E2F9126}"/>
                </a:ext>
              </a:extLst>
            </p:cNvPr>
            <p:cNvSpPr>
              <a:spLocks/>
            </p:cNvSpPr>
            <p:nvPr/>
          </p:nvSpPr>
          <p:spPr bwMode="auto">
            <a:xfrm>
              <a:off x="9236075" y="2389188"/>
              <a:ext cx="60325" cy="15875"/>
            </a:xfrm>
            <a:custGeom>
              <a:avLst/>
              <a:gdLst>
                <a:gd name="T0" fmla="*/ 2 w 16"/>
                <a:gd name="T1" fmla="*/ 0 h 4"/>
                <a:gd name="T2" fmla="*/ 0 w 16"/>
                <a:gd name="T3" fmla="*/ 2 h 4"/>
                <a:gd name="T4" fmla="*/ 2 w 16"/>
                <a:gd name="T5" fmla="*/ 4 h 4"/>
                <a:gd name="T6" fmla="*/ 14 w 16"/>
                <a:gd name="T7" fmla="*/ 4 h 4"/>
                <a:gd name="T8" fmla="*/ 16 w 16"/>
                <a:gd name="T9" fmla="*/ 2 h 4"/>
                <a:gd name="T10" fmla="*/ 14 w 16"/>
                <a:gd name="T11" fmla="*/ 0 h 4"/>
                <a:gd name="T12" fmla="*/ 2 w 16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4">
                  <a:moveTo>
                    <a:pt x="2" y="0"/>
                  </a:move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5" y="4"/>
                    <a:pt x="16" y="3"/>
                    <a:pt x="16" y="2"/>
                  </a:cubicBezTo>
                  <a:cubicBezTo>
                    <a:pt x="16" y="1"/>
                    <a:pt x="15" y="0"/>
                    <a:pt x="14" y="0"/>
                  </a:cubicBez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" name="Freeform 71">
              <a:extLst>
                <a:ext uri="{FF2B5EF4-FFF2-40B4-BE49-F238E27FC236}">
                  <a16:creationId xmlns:a16="http://schemas.microsoft.com/office/drawing/2014/main" xmlns="" id="{12A97530-9913-429B-8464-31F1FFCDA1FA}"/>
                </a:ext>
              </a:extLst>
            </p:cNvPr>
            <p:cNvSpPr>
              <a:spLocks/>
            </p:cNvSpPr>
            <p:nvPr/>
          </p:nvSpPr>
          <p:spPr bwMode="auto">
            <a:xfrm>
              <a:off x="9221788" y="2163763"/>
              <a:ext cx="134938" cy="104775"/>
            </a:xfrm>
            <a:custGeom>
              <a:avLst/>
              <a:gdLst>
                <a:gd name="T0" fmla="*/ 2 w 36"/>
                <a:gd name="T1" fmla="*/ 28 h 28"/>
                <a:gd name="T2" fmla="*/ 34 w 36"/>
                <a:gd name="T3" fmla="*/ 28 h 28"/>
                <a:gd name="T4" fmla="*/ 36 w 36"/>
                <a:gd name="T5" fmla="*/ 26 h 28"/>
                <a:gd name="T6" fmla="*/ 36 w 36"/>
                <a:gd name="T7" fmla="*/ 10 h 28"/>
                <a:gd name="T8" fmla="*/ 34 w 36"/>
                <a:gd name="T9" fmla="*/ 8 h 28"/>
                <a:gd name="T10" fmla="*/ 28 w 36"/>
                <a:gd name="T11" fmla="*/ 8 h 28"/>
                <a:gd name="T12" fmla="*/ 18 w 36"/>
                <a:gd name="T13" fmla="*/ 0 h 28"/>
                <a:gd name="T14" fmla="*/ 8 w 36"/>
                <a:gd name="T15" fmla="*/ 8 h 28"/>
                <a:gd name="T16" fmla="*/ 2 w 36"/>
                <a:gd name="T17" fmla="*/ 8 h 28"/>
                <a:gd name="T18" fmla="*/ 0 w 36"/>
                <a:gd name="T19" fmla="*/ 10 h 28"/>
                <a:gd name="T20" fmla="*/ 0 w 36"/>
                <a:gd name="T21" fmla="*/ 26 h 28"/>
                <a:gd name="T22" fmla="*/ 2 w 36"/>
                <a:gd name="T23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6" h="28">
                  <a:moveTo>
                    <a:pt x="2" y="28"/>
                  </a:moveTo>
                  <a:cubicBezTo>
                    <a:pt x="34" y="28"/>
                    <a:pt x="34" y="28"/>
                    <a:pt x="34" y="28"/>
                  </a:cubicBezTo>
                  <a:cubicBezTo>
                    <a:pt x="35" y="28"/>
                    <a:pt x="36" y="27"/>
                    <a:pt x="36" y="26"/>
                  </a:cubicBezTo>
                  <a:cubicBezTo>
                    <a:pt x="36" y="10"/>
                    <a:pt x="36" y="10"/>
                    <a:pt x="36" y="10"/>
                  </a:cubicBezTo>
                  <a:cubicBezTo>
                    <a:pt x="36" y="9"/>
                    <a:pt x="35" y="8"/>
                    <a:pt x="34" y="8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27" y="3"/>
                    <a:pt x="23" y="0"/>
                    <a:pt x="18" y="0"/>
                  </a:cubicBezTo>
                  <a:cubicBezTo>
                    <a:pt x="13" y="0"/>
                    <a:pt x="9" y="3"/>
                    <a:pt x="8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1" y="8"/>
                    <a:pt x="0" y="9"/>
                    <a:pt x="0" y="10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7"/>
                    <a:pt x="1" y="28"/>
                    <a:pt x="2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6" name="Freeform 72">
              <a:extLst>
                <a:ext uri="{FF2B5EF4-FFF2-40B4-BE49-F238E27FC236}">
                  <a16:creationId xmlns:a16="http://schemas.microsoft.com/office/drawing/2014/main" xmlns="" id="{0E253B7C-E25B-4BAA-B825-84AED272E4D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47213" y="2344738"/>
              <a:ext cx="74613" cy="74613"/>
            </a:xfrm>
            <a:custGeom>
              <a:avLst/>
              <a:gdLst>
                <a:gd name="T0" fmla="*/ 19 w 20"/>
                <a:gd name="T1" fmla="*/ 11 h 20"/>
                <a:gd name="T2" fmla="*/ 9 w 20"/>
                <a:gd name="T3" fmla="*/ 1 h 20"/>
                <a:gd name="T4" fmla="*/ 7 w 20"/>
                <a:gd name="T5" fmla="*/ 1 h 20"/>
                <a:gd name="T6" fmla="*/ 0 w 20"/>
                <a:gd name="T7" fmla="*/ 7 h 20"/>
                <a:gd name="T8" fmla="*/ 13 w 20"/>
                <a:gd name="T9" fmla="*/ 20 h 20"/>
                <a:gd name="T10" fmla="*/ 19 w 20"/>
                <a:gd name="T11" fmla="*/ 13 h 20"/>
                <a:gd name="T12" fmla="*/ 20 w 20"/>
                <a:gd name="T13" fmla="*/ 12 h 20"/>
                <a:gd name="T14" fmla="*/ 19 w 20"/>
                <a:gd name="T15" fmla="*/ 11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20">
                  <a:moveTo>
                    <a:pt x="19" y="11"/>
                  </a:moveTo>
                  <a:cubicBezTo>
                    <a:pt x="9" y="1"/>
                    <a:pt x="9" y="1"/>
                    <a:pt x="9" y="1"/>
                  </a:cubicBezTo>
                  <a:cubicBezTo>
                    <a:pt x="9" y="0"/>
                    <a:pt x="7" y="0"/>
                    <a:pt x="7" y="1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20" y="13"/>
                    <a:pt x="20" y="13"/>
                    <a:pt x="20" y="12"/>
                  </a:cubicBezTo>
                  <a:cubicBezTo>
                    <a:pt x="20" y="11"/>
                    <a:pt x="20" y="11"/>
                    <a:pt x="19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" name="Freeform 73">
              <a:extLst>
                <a:ext uri="{FF2B5EF4-FFF2-40B4-BE49-F238E27FC236}">
                  <a16:creationId xmlns:a16="http://schemas.microsoft.com/office/drawing/2014/main" xmlns="" id="{8908649D-D8A3-49FF-AC2D-6DC4C8463608}"/>
                </a:ext>
              </a:extLst>
            </p:cNvPr>
            <p:cNvSpPr>
              <a:spLocks/>
            </p:cNvSpPr>
            <p:nvPr/>
          </p:nvSpPr>
          <p:spPr bwMode="auto">
            <a:xfrm>
              <a:off x="9340850" y="2468563"/>
              <a:ext cx="57150" cy="57150"/>
            </a:xfrm>
            <a:custGeom>
              <a:avLst/>
              <a:gdLst>
                <a:gd name="T0" fmla="*/ 2 w 15"/>
                <a:gd name="T1" fmla="*/ 7 h 15"/>
                <a:gd name="T2" fmla="*/ 2 w 15"/>
                <a:gd name="T3" fmla="*/ 7 h 15"/>
                <a:gd name="T4" fmla="*/ 0 w 15"/>
                <a:gd name="T5" fmla="*/ 12 h 15"/>
                <a:gd name="T6" fmla="*/ 1 w 15"/>
                <a:gd name="T7" fmla="*/ 14 h 15"/>
                <a:gd name="T8" fmla="*/ 3 w 15"/>
                <a:gd name="T9" fmla="*/ 15 h 15"/>
                <a:gd name="T10" fmla="*/ 15 w 15"/>
                <a:gd name="T11" fmla="*/ 11 h 15"/>
                <a:gd name="T12" fmla="*/ 4 w 15"/>
                <a:gd name="T13" fmla="*/ 0 h 15"/>
                <a:gd name="T14" fmla="*/ 2 w 15"/>
                <a:gd name="T15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15">
                  <a:moveTo>
                    <a:pt x="2" y="7"/>
                  </a:moveTo>
                  <a:cubicBezTo>
                    <a:pt x="2" y="7"/>
                    <a:pt x="2" y="7"/>
                    <a:pt x="2" y="7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3"/>
                    <a:pt x="0" y="14"/>
                    <a:pt x="1" y="14"/>
                  </a:cubicBezTo>
                  <a:cubicBezTo>
                    <a:pt x="1" y="15"/>
                    <a:pt x="2" y="15"/>
                    <a:pt x="3" y="15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4" y="0"/>
                    <a:pt x="4" y="0"/>
                    <a:pt x="4" y="0"/>
                  </a:cubicBezTo>
                  <a:lnTo>
                    <a:pt x="2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8" name="Freeform 74">
              <a:extLst>
                <a:ext uri="{FF2B5EF4-FFF2-40B4-BE49-F238E27FC236}">
                  <a16:creationId xmlns:a16="http://schemas.microsoft.com/office/drawing/2014/main" xmlns="" id="{2F45B535-53C4-4BB3-9A43-B6518F2F8CF0}"/>
                </a:ext>
              </a:extLst>
            </p:cNvPr>
            <p:cNvSpPr>
              <a:spLocks/>
            </p:cNvSpPr>
            <p:nvPr/>
          </p:nvSpPr>
          <p:spPr bwMode="auto">
            <a:xfrm>
              <a:off x="9364663" y="2382838"/>
              <a:ext cx="119063" cy="120650"/>
            </a:xfrm>
            <a:custGeom>
              <a:avLst/>
              <a:gdLst>
                <a:gd name="T0" fmla="*/ 0 w 75"/>
                <a:gd name="T1" fmla="*/ 45 h 76"/>
                <a:gd name="T2" fmla="*/ 30 w 75"/>
                <a:gd name="T3" fmla="*/ 76 h 76"/>
                <a:gd name="T4" fmla="*/ 75 w 75"/>
                <a:gd name="T5" fmla="*/ 30 h 76"/>
                <a:gd name="T6" fmla="*/ 45 w 75"/>
                <a:gd name="T7" fmla="*/ 0 h 76"/>
                <a:gd name="T8" fmla="*/ 0 w 75"/>
                <a:gd name="T9" fmla="*/ 45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5" h="76">
                  <a:moveTo>
                    <a:pt x="0" y="45"/>
                  </a:moveTo>
                  <a:lnTo>
                    <a:pt x="30" y="76"/>
                  </a:lnTo>
                  <a:lnTo>
                    <a:pt x="75" y="30"/>
                  </a:lnTo>
                  <a:lnTo>
                    <a:pt x="45" y="0"/>
                  </a:lnTo>
                  <a:lnTo>
                    <a:pt x="0" y="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pic>
        <p:nvPicPr>
          <p:cNvPr id="64" name="Рисунок 63">
            <a:extLst>
              <a:ext uri="{FF2B5EF4-FFF2-40B4-BE49-F238E27FC236}">
                <a16:creationId xmlns:a16="http://schemas.microsoft.com/office/drawing/2014/main" xmlns="" id="{F5A915BA-698F-4574-83F2-CC987DC1D5F2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58817" y="623452"/>
            <a:ext cx="1888568" cy="509614"/>
          </a:xfrm>
          <a:prstGeom prst="rect">
            <a:avLst/>
          </a:prstGeom>
        </p:spPr>
      </p:pic>
      <p:sp>
        <p:nvSpPr>
          <p:cNvPr id="65" name="Прямоугольник 64"/>
          <p:cNvSpPr/>
          <p:nvPr/>
        </p:nvSpPr>
        <p:spPr>
          <a:xfrm>
            <a:off x="9806452" y="766171"/>
            <a:ext cx="179794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latin typeface="Manrope ExtraBold" pitchFamily="2" charset="0"/>
                <a:cs typeface="Times New Roman" panose="02020603050405020304" pitchFamily="18" charset="0"/>
              </a:rPr>
              <a:t>Нас </a:t>
            </a: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latin typeface="Manrope ExtraBold" pitchFamily="2" charset="0"/>
                <a:cs typeface="Times New Roman" panose="02020603050405020304" pitchFamily="18" charset="0"/>
              </a:rPr>
              <a:t>поддерживают</a:t>
            </a:r>
            <a:endParaRPr lang="ru-RU" dirty="0"/>
          </a:p>
        </p:txBody>
      </p:sp>
      <p:grpSp>
        <p:nvGrpSpPr>
          <p:cNvPr id="67" name="Google Shape;716;p41"/>
          <p:cNvGrpSpPr/>
          <p:nvPr/>
        </p:nvGrpSpPr>
        <p:grpSpPr>
          <a:xfrm>
            <a:off x="9297900" y="114437"/>
            <a:ext cx="2763873" cy="2303593"/>
            <a:chOff x="3680173" y="3231000"/>
            <a:chExt cx="720106" cy="626190"/>
          </a:xfrm>
        </p:grpSpPr>
        <p:sp>
          <p:nvSpPr>
            <p:cNvPr id="68" name="Google Shape;717;p41"/>
            <p:cNvSpPr/>
            <p:nvPr/>
          </p:nvSpPr>
          <p:spPr>
            <a:xfrm>
              <a:off x="3680173" y="3232386"/>
              <a:ext cx="468746" cy="451568"/>
            </a:xfrm>
            <a:custGeom>
              <a:avLst/>
              <a:gdLst/>
              <a:ahLst/>
              <a:cxnLst/>
              <a:rect l="l" t="t" r="r" b="b"/>
              <a:pathLst>
                <a:path w="341" h="326" extrusionOk="0">
                  <a:moveTo>
                    <a:pt x="337" y="79"/>
                  </a:moveTo>
                  <a:cubicBezTo>
                    <a:pt x="332" y="73"/>
                    <a:pt x="325" y="65"/>
                    <a:pt x="312" y="52"/>
                  </a:cubicBezTo>
                  <a:cubicBezTo>
                    <a:pt x="290" y="31"/>
                    <a:pt x="264" y="16"/>
                    <a:pt x="261" y="15"/>
                  </a:cubicBezTo>
                  <a:cubicBezTo>
                    <a:pt x="237" y="5"/>
                    <a:pt x="211" y="0"/>
                    <a:pt x="184" y="0"/>
                  </a:cubicBezTo>
                  <a:cubicBezTo>
                    <a:pt x="180" y="0"/>
                    <a:pt x="180" y="0"/>
                    <a:pt x="180" y="0"/>
                  </a:cubicBezTo>
                  <a:cubicBezTo>
                    <a:pt x="124" y="2"/>
                    <a:pt x="76" y="24"/>
                    <a:pt x="44" y="61"/>
                  </a:cubicBezTo>
                  <a:cubicBezTo>
                    <a:pt x="13" y="97"/>
                    <a:pt x="0" y="144"/>
                    <a:pt x="5" y="195"/>
                  </a:cubicBezTo>
                  <a:cubicBezTo>
                    <a:pt x="10" y="237"/>
                    <a:pt x="24" y="275"/>
                    <a:pt x="47" y="308"/>
                  </a:cubicBezTo>
                  <a:cubicBezTo>
                    <a:pt x="51" y="314"/>
                    <a:pt x="56" y="320"/>
                    <a:pt x="61" y="326"/>
                  </a:cubicBezTo>
                  <a:cubicBezTo>
                    <a:pt x="50" y="296"/>
                    <a:pt x="39" y="251"/>
                    <a:pt x="47" y="200"/>
                  </a:cubicBezTo>
                  <a:cubicBezTo>
                    <a:pt x="62" y="106"/>
                    <a:pt x="151" y="88"/>
                    <a:pt x="162" y="86"/>
                  </a:cubicBezTo>
                  <a:cubicBezTo>
                    <a:pt x="162" y="86"/>
                    <a:pt x="162" y="86"/>
                    <a:pt x="162" y="86"/>
                  </a:cubicBezTo>
                  <a:cubicBezTo>
                    <a:pt x="169" y="85"/>
                    <a:pt x="176" y="84"/>
                    <a:pt x="183" y="83"/>
                  </a:cubicBezTo>
                  <a:cubicBezTo>
                    <a:pt x="184" y="83"/>
                    <a:pt x="184" y="83"/>
                    <a:pt x="184" y="83"/>
                  </a:cubicBezTo>
                  <a:cubicBezTo>
                    <a:pt x="210" y="83"/>
                    <a:pt x="234" y="91"/>
                    <a:pt x="257" y="107"/>
                  </a:cubicBezTo>
                  <a:cubicBezTo>
                    <a:pt x="259" y="109"/>
                    <a:pt x="261" y="109"/>
                    <a:pt x="262" y="109"/>
                  </a:cubicBezTo>
                  <a:cubicBezTo>
                    <a:pt x="264" y="109"/>
                    <a:pt x="266" y="108"/>
                    <a:pt x="269" y="107"/>
                  </a:cubicBezTo>
                  <a:cubicBezTo>
                    <a:pt x="295" y="91"/>
                    <a:pt x="318" y="84"/>
                    <a:pt x="341" y="83"/>
                  </a:cubicBezTo>
                  <a:cubicBezTo>
                    <a:pt x="339" y="82"/>
                    <a:pt x="338" y="80"/>
                    <a:pt x="337" y="7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" name="Google Shape;718;p41"/>
            <p:cNvSpPr/>
            <p:nvPr/>
          </p:nvSpPr>
          <p:spPr>
            <a:xfrm>
              <a:off x="3743529" y="3408162"/>
              <a:ext cx="548171" cy="449028"/>
            </a:xfrm>
            <a:custGeom>
              <a:avLst/>
              <a:gdLst/>
              <a:ahLst/>
              <a:cxnLst/>
              <a:rect l="l" t="t" r="r" b="b"/>
              <a:pathLst>
                <a:path w="399" h="324" extrusionOk="0">
                  <a:moveTo>
                    <a:pt x="399" y="221"/>
                  </a:moveTo>
                  <a:cubicBezTo>
                    <a:pt x="381" y="231"/>
                    <a:pt x="357" y="241"/>
                    <a:pt x="329" y="246"/>
                  </a:cubicBezTo>
                  <a:cubicBezTo>
                    <a:pt x="315" y="249"/>
                    <a:pt x="299" y="250"/>
                    <a:pt x="284" y="250"/>
                  </a:cubicBezTo>
                  <a:cubicBezTo>
                    <a:pt x="244" y="250"/>
                    <a:pt x="214" y="241"/>
                    <a:pt x="209" y="239"/>
                  </a:cubicBezTo>
                  <a:cubicBezTo>
                    <a:pt x="208" y="239"/>
                    <a:pt x="206" y="239"/>
                    <a:pt x="204" y="238"/>
                  </a:cubicBezTo>
                  <a:cubicBezTo>
                    <a:pt x="143" y="209"/>
                    <a:pt x="100" y="176"/>
                    <a:pt x="70" y="133"/>
                  </a:cubicBezTo>
                  <a:cubicBezTo>
                    <a:pt x="55" y="111"/>
                    <a:pt x="46" y="86"/>
                    <a:pt x="43" y="59"/>
                  </a:cubicBezTo>
                  <a:cubicBezTo>
                    <a:pt x="40" y="36"/>
                    <a:pt x="44" y="16"/>
                    <a:pt x="53" y="0"/>
                  </a:cubicBezTo>
                  <a:cubicBezTo>
                    <a:pt x="35" y="16"/>
                    <a:pt x="18" y="39"/>
                    <a:pt x="12" y="75"/>
                  </a:cubicBezTo>
                  <a:cubicBezTo>
                    <a:pt x="0" y="154"/>
                    <a:pt x="37" y="221"/>
                    <a:pt x="41" y="228"/>
                  </a:cubicBezTo>
                  <a:cubicBezTo>
                    <a:pt x="74" y="261"/>
                    <a:pt x="116" y="289"/>
                    <a:pt x="169" y="314"/>
                  </a:cubicBezTo>
                  <a:cubicBezTo>
                    <a:pt x="183" y="320"/>
                    <a:pt x="199" y="324"/>
                    <a:pt x="215" y="324"/>
                  </a:cubicBezTo>
                  <a:cubicBezTo>
                    <a:pt x="233" y="324"/>
                    <a:pt x="252" y="319"/>
                    <a:pt x="268" y="312"/>
                  </a:cubicBezTo>
                  <a:cubicBezTo>
                    <a:pt x="312" y="291"/>
                    <a:pt x="350" y="266"/>
                    <a:pt x="383" y="236"/>
                  </a:cubicBezTo>
                  <a:cubicBezTo>
                    <a:pt x="389" y="231"/>
                    <a:pt x="394" y="226"/>
                    <a:pt x="399" y="22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" name="Google Shape;719;p41"/>
            <p:cNvSpPr/>
            <p:nvPr/>
          </p:nvSpPr>
          <p:spPr>
            <a:xfrm>
              <a:off x="4061000" y="3231000"/>
              <a:ext cx="339279" cy="508390"/>
            </a:xfrm>
            <a:custGeom>
              <a:avLst/>
              <a:gdLst/>
              <a:ahLst/>
              <a:cxnLst/>
              <a:rect l="l" t="t" r="r" b="b"/>
              <a:pathLst>
                <a:path w="247" h="367" extrusionOk="0">
                  <a:moveTo>
                    <a:pt x="53" y="367"/>
                  </a:moveTo>
                  <a:cubicBezTo>
                    <a:pt x="68" y="367"/>
                    <a:pt x="82" y="365"/>
                    <a:pt x="96" y="363"/>
                  </a:cubicBezTo>
                  <a:cubicBezTo>
                    <a:pt x="150" y="353"/>
                    <a:pt x="191" y="320"/>
                    <a:pt x="195" y="316"/>
                  </a:cubicBezTo>
                  <a:cubicBezTo>
                    <a:pt x="221" y="279"/>
                    <a:pt x="237" y="239"/>
                    <a:pt x="242" y="195"/>
                  </a:cubicBezTo>
                  <a:cubicBezTo>
                    <a:pt x="247" y="155"/>
                    <a:pt x="239" y="116"/>
                    <a:pt x="221" y="85"/>
                  </a:cubicBezTo>
                  <a:cubicBezTo>
                    <a:pt x="201" y="51"/>
                    <a:pt x="170" y="26"/>
                    <a:pt x="130" y="12"/>
                  </a:cubicBezTo>
                  <a:cubicBezTo>
                    <a:pt x="110" y="4"/>
                    <a:pt x="88" y="0"/>
                    <a:pt x="66" y="0"/>
                  </a:cubicBezTo>
                  <a:cubicBezTo>
                    <a:pt x="44" y="0"/>
                    <a:pt x="22" y="4"/>
                    <a:pt x="0" y="11"/>
                  </a:cubicBezTo>
                  <a:cubicBezTo>
                    <a:pt x="11" y="18"/>
                    <a:pt x="28" y="30"/>
                    <a:pt x="43" y="44"/>
                  </a:cubicBezTo>
                  <a:cubicBezTo>
                    <a:pt x="57" y="58"/>
                    <a:pt x="64" y="66"/>
                    <a:pt x="69" y="72"/>
                  </a:cubicBezTo>
                  <a:cubicBezTo>
                    <a:pt x="71" y="74"/>
                    <a:pt x="72" y="76"/>
                    <a:pt x="74" y="78"/>
                  </a:cubicBezTo>
                  <a:cubicBezTo>
                    <a:pt x="80" y="85"/>
                    <a:pt x="89" y="87"/>
                    <a:pt x="89" y="87"/>
                  </a:cubicBezTo>
                  <a:cubicBezTo>
                    <a:pt x="102" y="91"/>
                    <a:pt x="102" y="91"/>
                    <a:pt x="102" y="91"/>
                  </a:cubicBezTo>
                  <a:cubicBezTo>
                    <a:pt x="102" y="91"/>
                    <a:pt x="102" y="91"/>
                    <a:pt x="102" y="91"/>
                  </a:cubicBezTo>
                  <a:cubicBezTo>
                    <a:pt x="143" y="106"/>
                    <a:pt x="164" y="140"/>
                    <a:pt x="159" y="185"/>
                  </a:cubicBezTo>
                  <a:cubicBezTo>
                    <a:pt x="154" y="230"/>
                    <a:pt x="133" y="268"/>
                    <a:pt x="96" y="302"/>
                  </a:cubicBezTo>
                  <a:cubicBezTo>
                    <a:pt x="70" y="326"/>
                    <a:pt x="40" y="345"/>
                    <a:pt x="5" y="362"/>
                  </a:cubicBezTo>
                  <a:cubicBezTo>
                    <a:pt x="18" y="365"/>
                    <a:pt x="34" y="367"/>
                    <a:pt x="53" y="367"/>
                  </a:cubicBezTo>
                  <a:cubicBezTo>
                    <a:pt x="53" y="367"/>
                    <a:pt x="53" y="367"/>
                    <a:pt x="53" y="36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2" name="Стрелка: шеврон 14">
            <a:extLst>
              <a:ext uri="{FF2B5EF4-FFF2-40B4-BE49-F238E27FC236}">
                <a16:creationId xmlns:a16="http://schemas.microsoft.com/office/drawing/2014/main" xmlns="" id="{EEE07FF5-FDDC-47FD-AD56-4550D5A61AB2}"/>
              </a:ext>
            </a:extLst>
          </p:cNvPr>
          <p:cNvSpPr/>
          <p:nvPr/>
        </p:nvSpPr>
        <p:spPr>
          <a:xfrm>
            <a:off x="573891" y="1869414"/>
            <a:ext cx="1058419" cy="1058419"/>
          </a:xfrm>
          <a:prstGeom prst="chevron">
            <a:avLst>
              <a:gd name="adj" fmla="val 41371"/>
            </a:avLst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3" name="Стрелка: шеврон 14">
            <a:extLst>
              <a:ext uri="{FF2B5EF4-FFF2-40B4-BE49-F238E27FC236}">
                <a16:creationId xmlns:a16="http://schemas.microsoft.com/office/drawing/2014/main" xmlns="" id="{EEE07FF5-FDDC-47FD-AD56-4550D5A61AB2}"/>
              </a:ext>
            </a:extLst>
          </p:cNvPr>
          <p:cNvSpPr/>
          <p:nvPr/>
        </p:nvSpPr>
        <p:spPr>
          <a:xfrm>
            <a:off x="562662" y="3492177"/>
            <a:ext cx="1058419" cy="1058419"/>
          </a:xfrm>
          <a:prstGeom prst="chevron">
            <a:avLst>
              <a:gd name="adj" fmla="val 41371"/>
            </a:avLst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4" name="Стрелка: шеврон 14">
            <a:extLst>
              <a:ext uri="{FF2B5EF4-FFF2-40B4-BE49-F238E27FC236}">
                <a16:creationId xmlns:a16="http://schemas.microsoft.com/office/drawing/2014/main" xmlns="" id="{EEE07FF5-FDDC-47FD-AD56-4550D5A61AB2}"/>
              </a:ext>
            </a:extLst>
          </p:cNvPr>
          <p:cNvSpPr/>
          <p:nvPr/>
        </p:nvSpPr>
        <p:spPr>
          <a:xfrm>
            <a:off x="613776" y="5005122"/>
            <a:ext cx="1058419" cy="1058419"/>
          </a:xfrm>
          <a:prstGeom prst="chevron">
            <a:avLst>
              <a:gd name="adj" fmla="val 41371"/>
            </a:avLst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1936191" y="3421221"/>
            <a:ext cx="6874321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/>
              <a:t>Министерство образования и науки Алтайского края </a:t>
            </a:r>
          </a:p>
          <a:p>
            <a:r>
              <a:rPr lang="ru-RU" dirty="0" smtClean="0"/>
              <a:t>– создание единого информационного пространства, </a:t>
            </a:r>
          </a:p>
          <a:p>
            <a:r>
              <a:rPr lang="ru-RU" dirty="0" smtClean="0"/>
              <a:t>направленного на повышение доступности поддержки </a:t>
            </a:r>
          </a:p>
          <a:p>
            <a:r>
              <a:rPr lang="ru-RU" dirty="0" smtClean="0"/>
              <a:t>Родителей,  воспитывающих детей дошкольного возраста</a:t>
            </a:r>
            <a:endParaRPr lang="ru-RU" dirty="0" smtClean="0"/>
          </a:p>
        </p:txBody>
      </p:sp>
      <p:sp>
        <p:nvSpPr>
          <p:cNvPr id="26" name="Прямоугольник 25"/>
          <p:cNvSpPr/>
          <p:nvPr/>
        </p:nvSpPr>
        <p:spPr>
          <a:xfrm>
            <a:off x="1850131" y="4934166"/>
            <a:ext cx="6874321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/>
              <a:t>Комитет по образованию администрации муниципального </a:t>
            </a:r>
          </a:p>
          <a:p>
            <a:r>
              <a:rPr lang="ru-RU" b="1" dirty="0" smtClean="0"/>
              <a:t>округа г.Славгород Алтайский край </a:t>
            </a:r>
          </a:p>
          <a:p>
            <a:r>
              <a:rPr lang="ru-RU" dirty="0" smtClean="0"/>
              <a:t>– проектирование условий с целью совершенствования педагогической и родительской компетентности при </a:t>
            </a:r>
          </a:p>
          <a:p>
            <a:r>
              <a:rPr lang="ru-RU" dirty="0" smtClean="0"/>
              <a:t>Поддержке родительских инициатив в условиях ДОО</a:t>
            </a:r>
            <a:endParaRPr lang="ru-RU" dirty="0" smtClean="0"/>
          </a:p>
        </p:txBody>
      </p:sp>
      <p:sp>
        <p:nvSpPr>
          <p:cNvPr id="27" name="Прямоугольник 26"/>
          <p:cNvSpPr/>
          <p:nvPr/>
        </p:nvSpPr>
        <p:spPr>
          <a:xfrm>
            <a:off x="1850130" y="1746208"/>
            <a:ext cx="5798557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/>
              <a:t> ФГБНУ «Институт возрастной физиологии Российской академии образования»</a:t>
            </a:r>
          </a:p>
          <a:p>
            <a:r>
              <a:rPr lang="ru-RU" dirty="0" smtClean="0"/>
              <a:t>- разработка мер государственной поддержки в части подготовки и внедрения программ просветительской деятельности для родителей</a:t>
            </a:r>
            <a:endParaRPr lang="ru-RU" dirty="0" smtClean="0"/>
          </a:p>
        </p:txBody>
      </p:sp>
      <p:pic>
        <p:nvPicPr>
          <p:cNvPr id="25602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60749" y="4196795"/>
            <a:ext cx="1727406" cy="23227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603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78867" y="2562495"/>
            <a:ext cx="2149476" cy="29140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35677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F3526FF6-93C0-4668-ABD6-DCA4644EF04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6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3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xmlns="" id="{C19A566D-18C1-4C6E-9C31-C3ACFBB7A3B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6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82" name="Rectangle 34">
            <a:extLst>
              <a:ext uri="{FF2B5EF4-FFF2-40B4-BE49-F238E27FC236}">
                <a16:creationId xmlns:a16="http://schemas.microsoft.com/office/drawing/2014/main" xmlns="" id="{95E76223-C7DF-44AE-AF5C-211291AB60BA}"/>
              </a:ext>
            </a:extLst>
          </p:cNvPr>
          <p:cNvSpPr/>
          <p:nvPr/>
        </p:nvSpPr>
        <p:spPr>
          <a:xfrm flipH="1" flipV="1">
            <a:off x="0" y="3554574"/>
            <a:ext cx="11487152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C78FDFDA-BEF5-4DEF-B80F-DA46ED605B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xmlns="" id="{1084F888-1588-4806-BB49-705D2F659B7D}"/>
              </a:ext>
            </a:extLst>
          </p:cNvPr>
          <p:cNvSpPr/>
          <p:nvPr/>
        </p:nvSpPr>
        <p:spPr>
          <a:xfrm>
            <a:off x="6827520" y="214413"/>
            <a:ext cx="5130800" cy="5973027"/>
          </a:xfrm>
          <a:prstGeom prst="roundRect">
            <a:avLst>
              <a:gd name="adj" fmla="val 6764"/>
            </a:avLst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r>
              <a:rPr lang="ru-RU" sz="3600" b="1" dirty="0" smtClean="0">
                <a:solidFill>
                  <a:prstClr val="white"/>
                </a:solidFill>
                <a:latin typeface="Manrope ExtraBold" pitchFamily="2" charset="0"/>
              </a:rPr>
              <a:t>Создаем будущее </a:t>
            </a:r>
          </a:p>
          <a:p>
            <a:pPr lvl="0" algn="ctr">
              <a:defRPr/>
            </a:pPr>
            <a:r>
              <a:rPr lang="ru-RU" sz="3600" b="1" dirty="0" smtClean="0">
                <a:solidFill>
                  <a:prstClr val="white"/>
                </a:solidFill>
                <a:latin typeface="Manrope ExtraBold" pitchFamily="2" charset="0"/>
              </a:rPr>
              <a:t>вместе!</a:t>
            </a:r>
            <a:endParaRPr lang="ru-RU" sz="3600" b="1" dirty="0">
              <a:solidFill>
                <a:prstClr val="white"/>
              </a:solidFill>
              <a:latin typeface="Manrope ExtraBold" pitchFamily="2" charset="0"/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xmlns="" id="{CE0097AB-720C-4098-84EB-1C63FF77432B}"/>
              </a:ext>
            </a:extLst>
          </p:cNvPr>
          <p:cNvGrpSpPr/>
          <p:nvPr/>
        </p:nvGrpSpPr>
        <p:grpSpPr>
          <a:xfrm>
            <a:off x="6096000" y="1678820"/>
            <a:ext cx="4533900" cy="692702"/>
            <a:chOff x="6096000" y="4382690"/>
            <a:chExt cx="4533900" cy="692702"/>
          </a:xfrm>
        </p:grpSpPr>
        <p:sp>
          <p:nvSpPr>
            <p:cNvPr id="35" name="TextBox 50">
              <a:extLst>
                <a:ext uri="{FF2B5EF4-FFF2-40B4-BE49-F238E27FC236}">
                  <a16:creationId xmlns:a16="http://schemas.microsoft.com/office/drawing/2014/main" xmlns="" id="{AD6C99FB-5D8C-4BDD-8363-C5FBA4CE1511}"/>
                </a:ext>
              </a:extLst>
            </p:cNvPr>
            <p:cNvSpPr txBox="1"/>
            <p:nvPr/>
          </p:nvSpPr>
          <p:spPr>
            <a:xfrm>
              <a:off x="6096002" y="4382690"/>
              <a:ext cx="4459223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2000" b="1" dirty="0"/>
            </a:p>
          </p:txBody>
        </p:sp>
        <p:sp>
          <p:nvSpPr>
            <p:cNvPr id="36" name="TextBox 48">
              <a:extLst>
                <a:ext uri="{FF2B5EF4-FFF2-40B4-BE49-F238E27FC236}">
                  <a16:creationId xmlns:a16="http://schemas.microsoft.com/office/drawing/2014/main" xmlns="" id="{3D040B3B-0DC7-4FE3-855F-B26D9E3E8EBB}"/>
                </a:ext>
              </a:extLst>
            </p:cNvPr>
            <p:cNvSpPr txBox="1"/>
            <p:nvPr/>
          </p:nvSpPr>
          <p:spPr>
            <a:xfrm>
              <a:off x="6096000" y="4859948"/>
              <a:ext cx="4533900" cy="215444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00" dirty="0"/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xmlns="" id="{1CF7F638-788E-4F11-9698-1BE759841942}"/>
              </a:ext>
            </a:extLst>
          </p:cNvPr>
          <p:cNvGrpSpPr/>
          <p:nvPr/>
        </p:nvGrpSpPr>
        <p:grpSpPr>
          <a:xfrm>
            <a:off x="193040" y="121931"/>
            <a:ext cx="2164080" cy="2123429"/>
            <a:chOff x="2656596" y="5354331"/>
            <a:chExt cx="1133683" cy="1133683"/>
          </a:xfrm>
        </p:grpSpPr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xmlns="" id="{3A2FB6EB-28FE-4A23-8B4D-CEA05CB1D410}"/>
                </a:ext>
              </a:extLst>
            </p:cNvPr>
            <p:cNvGrpSpPr/>
            <p:nvPr/>
          </p:nvGrpSpPr>
          <p:grpSpPr>
            <a:xfrm>
              <a:off x="2656596" y="5354331"/>
              <a:ext cx="1133683" cy="1133683"/>
              <a:chOff x="2656596" y="5354331"/>
              <a:chExt cx="1133683" cy="1133683"/>
            </a:xfrm>
          </p:grpSpPr>
          <p:sp>
            <p:nvSpPr>
              <p:cNvPr id="32" name="Oval 31">
                <a:extLst>
                  <a:ext uri="{FF2B5EF4-FFF2-40B4-BE49-F238E27FC236}">
                    <a16:creationId xmlns:a16="http://schemas.microsoft.com/office/drawing/2014/main" xmlns="" id="{A51E64DF-C3AF-47D6-91BD-96256DE0CC69}"/>
                  </a:ext>
                </a:extLst>
              </p:cNvPr>
              <p:cNvSpPr/>
              <p:nvPr/>
            </p:nvSpPr>
            <p:spPr>
              <a:xfrm>
                <a:off x="2656596" y="5354331"/>
                <a:ext cx="1133683" cy="1133683"/>
              </a:xfrm>
              <a:prstGeom prst="ellipse">
                <a:avLst/>
              </a:prstGeom>
              <a:ln/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7" name="Oval 36">
                <a:extLst>
                  <a:ext uri="{FF2B5EF4-FFF2-40B4-BE49-F238E27FC236}">
                    <a16:creationId xmlns:a16="http://schemas.microsoft.com/office/drawing/2014/main" xmlns="" id="{DC5A9E09-BB1B-4653-8522-95EF63DBD60F}"/>
                  </a:ext>
                </a:extLst>
              </p:cNvPr>
              <p:cNvSpPr/>
              <p:nvPr/>
            </p:nvSpPr>
            <p:spPr>
              <a:xfrm>
                <a:off x="2754280" y="5452015"/>
                <a:ext cx="938314" cy="938314"/>
              </a:xfrm>
              <a:prstGeom prst="ellipse">
                <a:avLst/>
              </a:prstGeom>
              <a:ln/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xmlns="" id="{F263E3F9-B66F-4852-B03B-92C0CE0CB3E8}"/>
                </a:ext>
              </a:extLst>
            </p:cNvPr>
            <p:cNvGrpSpPr/>
            <p:nvPr/>
          </p:nvGrpSpPr>
          <p:grpSpPr>
            <a:xfrm>
              <a:off x="3047224" y="5740991"/>
              <a:ext cx="352426" cy="360363"/>
              <a:chOff x="5562600" y="4332288"/>
              <a:chExt cx="352426" cy="360363"/>
            </a:xfrm>
            <a:solidFill>
              <a:schemeClr val="accent1"/>
            </a:solidFill>
          </p:grpSpPr>
          <p:sp>
            <p:nvSpPr>
              <p:cNvPr id="45" name="Oval 127">
                <a:extLst>
                  <a:ext uri="{FF2B5EF4-FFF2-40B4-BE49-F238E27FC236}">
                    <a16:creationId xmlns:a16="http://schemas.microsoft.com/office/drawing/2014/main" xmlns="" id="{88D25CD4-1641-4123-9FB7-F8EB8137EFD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92763" y="4332288"/>
                <a:ext cx="120650" cy="120650"/>
              </a:xfrm>
              <a:prstGeom prst="ellipse">
                <a:avLst/>
              </a:prstGeom>
              <a:ln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46" name="Freeform 128">
                <a:extLst>
                  <a:ext uri="{FF2B5EF4-FFF2-40B4-BE49-F238E27FC236}">
                    <a16:creationId xmlns:a16="http://schemas.microsoft.com/office/drawing/2014/main" xmlns="" id="{F68A404C-BBEA-4963-8793-51CA349200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62600" y="4467226"/>
                <a:ext cx="180975" cy="225425"/>
              </a:xfrm>
              <a:custGeom>
                <a:avLst/>
                <a:gdLst>
                  <a:gd name="T0" fmla="*/ 28 w 48"/>
                  <a:gd name="T1" fmla="*/ 0 h 60"/>
                  <a:gd name="T2" fmla="*/ 30 w 48"/>
                  <a:gd name="T3" fmla="*/ 27 h 60"/>
                  <a:gd name="T4" fmla="*/ 24 w 48"/>
                  <a:gd name="T5" fmla="*/ 33 h 60"/>
                  <a:gd name="T6" fmla="*/ 18 w 48"/>
                  <a:gd name="T7" fmla="*/ 27 h 60"/>
                  <a:gd name="T8" fmla="*/ 20 w 48"/>
                  <a:gd name="T9" fmla="*/ 0 h 60"/>
                  <a:gd name="T10" fmla="*/ 0 w 48"/>
                  <a:gd name="T11" fmla="*/ 0 h 60"/>
                  <a:gd name="T12" fmla="*/ 0 w 48"/>
                  <a:gd name="T13" fmla="*/ 2 h 60"/>
                  <a:gd name="T14" fmla="*/ 14 w 48"/>
                  <a:gd name="T15" fmla="*/ 33 h 60"/>
                  <a:gd name="T16" fmla="*/ 14 w 48"/>
                  <a:gd name="T17" fmla="*/ 60 h 60"/>
                  <a:gd name="T18" fmla="*/ 34 w 48"/>
                  <a:gd name="T19" fmla="*/ 60 h 60"/>
                  <a:gd name="T20" fmla="*/ 34 w 48"/>
                  <a:gd name="T21" fmla="*/ 33 h 60"/>
                  <a:gd name="T22" fmla="*/ 48 w 48"/>
                  <a:gd name="T23" fmla="*/ 2 h 60"/>
                  <a:gd name="T24" fmla="*/ 48 w 48"/>
                  <a:gd name="T25" fmla="*/ 0 h 60"/>
                  <a:gd name="T26" fmla="*/ 28 w 48"/>
                  <a:gd name="T27" fmla="*/ 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8" h="60">
                    <a:moveTo>
                      <a:pt x="28" y="0"/>
                    </a:moveTo>
                    <a:cubicBezTo>
                      <a:pt x="30" y="27"/>
                      <a:pt x="30" y="27"/>
                      <a:pt x="30" y="27"/>
                    </a:cubicBezTo>
                    <a:cubicBezTo>
                      <a:pt x="24" y="33"/>
                      <a:pt x="24" y="33"/>
                      <a:pt x="24" y="33"/>
                    </a:cubicBezTo>
                    <a:cubicBezTo>
                      <a:pt x="18" y="27"/>
                      <a:pt x="18" y="27"/>
                      <a:pt x="18" y="27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6"/>
                      <a:pt x="5" y="27"/>
                      <a:pt x="14" y="33"/>
                    </a:cubicBezTo>
                    <a:cubicBezTo>
                      <a:pt x="14" y="60"/>
                      <a:pt x="14" y="60"/>
                      <a:pt x="14" y="60"/>
                    </a:cubicBezTo>
                    <a:cubicBezTo>
                      <a:pt x="34" y="60"/>
                      <a:pt x="34" y="60"/>
                      <a:pt x="34" y="60"/>
                    </a:cubicBezTo>
                    <a:cubicBezTo>
                      <a:pt x="34" y="33"/>
                      <a:pt x="34" y="33"/>
                      <a:pt x="34" y="33"/>
                    </a:cubicBezTo>
                    <a:cubicBezTo>
                      <a:pt x="43" y="27"/>
                      <a:pt x="48" y="16"/>
                      <a:pt x="48" y="2"/>
                    </a:cubicBezTo>
                    <a:cubicBezTo>
                      <a:pt x="48" y="0"/>
                      <a:pt x="48" y="0"/>
                      <a:pt x="48" y="0"/>
                    </a:cubicBezTo>
                    <a:lnTo>
                      <a:pt x="28" y="0"/>
                    </a:lnTo>
                    <a:close/>
                  </a:path>
                </a:pathLst>
              </a:custGeom>
              <a:ln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47" name="Freeform 129">
                <a:extLst>
                  <a:ext uri="{FF2B5EF4-FFF2-40B4-BE49-F238E27FC236}">
                    <a16:creationId xmlns:a16="http://schemas.microsoft.com/office/drawing/2014/main" xmlns="" id="{55B7A32C-0B99-437A-BA61-F47F8E102E7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97538" y="4346576"/>
                <a:ext cx="217488" cy="225425"/>
              </a:xfrm>
              <a:custGeom>
                <a:avLst/>
                <a:gdLst>
                  <a:gd name="T0" fmla="*/ 4 w 58"/>
                  <a:gd name="T1" fmla="*/ 0 h 60"/>
                  <a:gd name="T2" fmla="*/ 8 w 58"/>
                  <a:gd name="T3" fmla="*/ 12 h 60"/>
                  <a:gd name="T4" fmla="*/ 0 w 58"/>
                  <a:gd name="T5" fmla="*/ 28 h 60"/>
                  <a:gd name="T6" fmla="*/ 16 w 58"/>
                  <a:gd name="T7" fmla="*/ 28 h 60"/>
                  <a:gd name="T8" fmla="*/ 16 w 58"/>
                  <a:gd name="T9" fmla="*/ 34 h 60"/>
                  <a:gd name="T10" fmla="*/ 9 w 58"/>
                  <a:gd name="T11" fmla="*/ 60 h 60"/>
                  <a:gd name="T12" fmla="*/ 58 w 58"/>
                  <a:gd name="T13" fmla="*/ 60 h 60"/>
                  <a:gd name="T14" fmla="*/ 58 w 58"/>
                  <a:gd name="T15" fmla="*/ 0 h 60"/>
                  <a:gd name="T16" fmla="*/ 4 w 58"/>
                  <a:gd name="T17" fmla="*/ 0 h 60"/>
                  <a:gd name="T18" fmla="*/ 45 w 58"/>
                  <a:gd name="T19" fmla="*/ 44 h 60"/>
                  <a:gd name="T20" fmla="*/ 44 w 58"/>
                  <a:gd name="T21" fmla="*/ 44 h 60"/>
                  <a:gd name="T22" fmla="*/ 43 w 58"/>
                  <a:gd name="T23" fmla="*/ 43 h 60"/>
                  <a:gd name="T24" fmla="*/ 40 w 58"/>
                  <a:gd name="T25" fmla="*/ 36 h 60"/>
                  <a:gd name="T26" fmla="*/ 28 w 58"/>
                  <a:gd name="T27" fmla="*/ 36 h 60"/>
                  <a:gd name="T28" fmla="*/ 25 w 58"/>
                  <a:gd name="T29" fmla="*/ 43 h 60"/>
                  <a:gd name="T30" fmla="*/ 23 w 58"/>
                  <a:gd name="T31" fmla="*/ 44 h 60"/>
                  <a:gd name="T32" fmla="*/ 22 w 58"/>
                  <a:gd name="T33" fmla="*/ 41 h 60"/>
                  <a:gd name="T34" fmla="*/ 32 w 58"/>
                  <a:gd name="T35" fmla="*/ 14 h 60"/>
                  <a:gd name="T36" fmla="*/ 34 w 58"/>
                  <a:gd name="T37" fmla="*/ 12 h 60"/>
                  <a:gd name="T38" fmla="*/ 36 w 58"/>
                  <a:gd name="T39" fmla="*/ 14 h 60"/>
                  <a:gd name="T40" fmla="*/ 46 w 58"/>
                  <a:gd name="T41" fmla="*/ 41 h 60"/>
                  <a:gd name="T42" fmla="*/ 45 w 58"/>
                  <a:gd name="T43" fmla="*/ 44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58" h="60">
                    <a:moveTo>
                      <a:pt x="4" y="0"/>
                    </a:moveTo>
                    <a:cubicBezTo>
                      <a:pt x="6" y="3"/>
                      <a:pt x="8" y="7"/>
                      <a:pt x="8" y="12"/>
                    </a:cubicBezTo>
                    <a:cubicBezTo>
                      <a:pt x="8" y="19"/>
                      <a:pt x="5" y="24"/>
                      <a:pt x="0" y="28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34"/>
                      <a:pt x="16" y="34"/>
                      <a:pt x="16" y="34"/>
                    </a:cubicBezTo>
                    <a:cubicBezTo>
                      <a:pt x="16" y="44"/>
                      <a:pt x="13" y="53"/>
                      <a:pt x="9" y="60"/>
                    </a:cubicBezTo>
                    <a:cubicBezTo>
                      <a:pt x="58" y="60"/>
                      <a:pt x="58" y="60"/>
                      <a:pt x="58" y="60"/>
                    </a:cubicBezTo>
                    <a:cubicBezTo>
                      <a:pt x="58" y="0"/>
                      <a:pt x="58" y="0"/>
                      <a:pt x="58" y="0"/>
                    </a:cubicBezTo>
                    <a:lnTo>
                      <a:pt x="4" y="0"/>
                    </a:lnTo>
                    <a:close/>
                    <a:moveTo>
                      <a:pt x="45" y="44"/>
                    </a:moveTo>
                    <a:cubicBezTo>
                      <a:pt x="45" y="44"/>
                      <a:pt x="45" y="44"/>
                      <a:pt x="44" y="44"/>
                    </a:cubicBezTo>
                    <a:cubicBezTo>
                      <a:pt x="44" y="44"/>
                      <a:pt x="43" y="44"/>
                      <a:pt x="43" y="43"/>
                    </a:cubicBezTo>
                    <a:cubicBezTo>
                      <a:pt x="40" y="36"/>
                      <a:pt x="40" y="36"/>
                      <a:pt x="40" y="36"/>
                    </a:cubicBezTo>
                    <a:cubicBezTo>
                      <a:pt x="28" y="36"/>
                      <a:pt x="28" y="36"/>
                      <a:pt x="28" y="36"/>
                    </a:cubicBezTo>
                    <a:cubicBezTo>
                      <a:pt x="25" y="43"/>
                      <a:pt x="25" y="43"/>
                      <a:pt x="25" y="43"/>
                    </a:cubicBezTo>
                    <a:cubicBezTo>
                      <a:pt x="25" y="44"/>
                      <a:pt x="24" y="44"/>
                      <a:pt x="23" y="44"/>
                    </a:cubicBezTo>
                    <a:cubicBezTo>
                      <a:pt x="22" y="43"/>
                      <a:pt x="21" y="42"/>
                      <a:pt x="22" y="41"/>
                    </a:cubicBezTo>
                    <a:cubicBezTo>
                      <a:pt x="32" y="14"/>
                      <a:pt x="32" y="14"/>
                      <a:pt x="32" y="14"/>
                    </a:cubicBezTo>
                    <a:cubicBezTo>
                      <a:pt x="32" y="13"/>
                      <a:pt x="33" y="12"/>
                      <a:pt x="34" y="12"/>
                    </a:cubicBezTo>
                    <a:cubicBezTo>
                      <a:pt x="35" y="12"/>
                      <a:pt x="36" y="13"/>
                      <a:pt x="36" y="14"/>
                    </a:cubicBezTo>
                    <a:cubicBezTo>
                      <a:pt x="46" y="41"/>
                      <a:pt x="46" y="41"/>
                      <a:pt x="46" y="41"/>
                    </a:cubicBezTo>
                    <a:cubicBezTo>
                      <a:pt x="47" y="42"/>
                      <a:pt x="46" y="44"/>
                      <a:pt x="45" y="44"/>
                    </a:cubicBezTo>
                    <a:close/>
                  </a:path>
                </a:pathLst>
              </a:custGeom>
              <a:ln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48" name="Freeform 130">
                <a:extLst>
                  <a:ext uri="{FF2B5EF4-FFF2-40B4-BE49-F238E27FC236}">
                    <a16:creationId xmlns:a16="http://schemas.microsoft.com/office/drawing/2014/main" xmlns="" id="{715B3548-B629-4745-AAD1-2138584703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10250" y="4422776"/>
                <a:ext cx="34925" cy="44450"/>
              </a:xfrm>
              <a:custGeom>
                <a:avLst/>
                <a:gdLst>
                  <a:gd name="T0" fmla="*/ 0 w 22"/>
                  <a:gd name="T1" fmla="*/ 28 h 28"/>
                  <a:gd name="T2" fmla="*/ 22 w 22"/>
                  <a:gd name="T3" fmla="*/ 28 h 28"/>
                  <a:gd name="T4" fmla="*/ 10 w 22"/>
                  <a:gd name="T5" fmla="*/ 0 h 28"/>
                  <a:gd name="T6" fmla="*/ 0 w 22"/>
                  <a:gd name="T7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2" h="28">
                    <a:moveTo>
                      <a:pt x="0" y="28"/>
                    </a:moveTo>
                    <a:lnTo>
                      <a:pt x="22" y="28"/>
                    </a:lnTo>
                    <a:lnTo>
                      <a:pt x="10" y="0"/>
                    </a:lnTo>
                    <a:lnTo>
                      <a:pt x="0" y="28"/>
                    </a:lnTo>
                    <a:close/>
                  </a:path>
                </a:pathLst>
              </a:custGeom>
              <a:ln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pic>
        <p:nvPicPr>
          <p:cNvPr id="28" name="Рисунок 27">
            <a:extLst>
              <a:ext uri="{FF2B5EF4-FFF2-40B4-BE49-F238E27FC236}">
                <a16:creationId xmlns:a16="http://schemas.microsoft.com/office/drawing/2014/main" xmlns="" id="{F5A915BA-698F-4574-83F2-CC987DC1D5F2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617777" y="846972"/>
            <a:ext cx="1888568" cy="509614"/>
          </a:xfrm>
          <a:prstGeom prst="rect">
            <a:avLst/>
          </a:prstGeom>
        </p:spPr>
      </p:pic>
      <p:sp>
        <p:nvSpPr>
          <p:cNvPr id="31" name="Заголовок 30"/>
          <p:cNvSpPr>
            <a:spLocks noGrp="1"/>
          </p:cNvSpPr>
          <p:nvPr>
            <p:ph type="title"/>
          </p:nvPr>
        </p:nvSpPr>
        <p:spPr>
          <a:xfrm>
            <a:off x="675746" y="1986597"/>
            <a:ext cx="6136640" cy="3279116"/>
          </a:xfrm>
        </p:spPr>
        <p:txBody>
          <a:bodyPr>
            <a:noAutofit/>
          </a:bodyPr>
          <a:lstStyle/>
          <a:p>
            <a:pPr algn="ctr"/>
            <a:r>
              <a:rPr lang="ru-RU" sz="2000" dirty="0" smtClean="0"/>
              <a:t>Реализация </a:t>
            </a:r>
            <a:r>
              <a:rPr lang="ru-RU" sz="2000" dirty="0" smtClean="0"/>
              <a:t/>
            </a:r>
            <a:br>
              <a:rPr lang="ru-RU" sz="2000" dirty="0" smtClean="0"/>
            </a:br>
            <a:r>
              <a:rPr lang="ru-RU" sz="2000" dirty="0" smtClean="0"/>
              <a:t>представленной </a:t>
            </a:r>
            <a:r>
              <a:rPr lang="ru-RU" sz="2000" dirty="0" smtClean="0"/>
              <a:t>целостной системы организации  форм и методов работы по взаимодействию педагогического коллектива </a:t>
            </a:r>
            <a:r>
              <a:rPr lang="ru-RU" sz="2000" dirty="0" smtClean="0"/>
              <a:t> МБДОУ «Детский сад №43» г.Славгорода Алтайского края  </a:t>
            </a:r>
            <a:r>
              <a:rPr lang="ru-RU" sz="2000" dirty="0" smtClean="0"/>
              <a:t>и </a:t>
            </a:r>
            <a:r>
              <a:rPr lang="ru-RU" sz="2000" dirty="0" smtClean="0"/>
              <a:t>его 4 филиалов </a:t>
            </a:r>
            <a:r>
              <a:rPr lang="ru-RU" sz="2000" dirty="0" smtClean="0"/>
              <a:t>с родителями (законными представителями) воспитанников позволяет </a:t>
            </a:r>
            <a:r>
              <a:rPr lang="ru-RU" sz="2000" dirty="0" smtClean="0"/>
              <a:t>продуктивно решать </a:t>
            </a:r>
            <a:r>
              <a:rPr lang="ru-RU" sz="2000" dirty="0" smtClean="0"/>
              <a:t>широкий спектр задач родительского просвещения, вовлекать </a:t>
            </a:r>
            <a:r>
              <a:rPr lang="ru-RU" sz="2000" dirty="0" smtClean="0"/>
              <a:t>их </a:t>
            </a:r>
            <a:r>
              <a:rPr lang="ru-RU" sz="2000" dirty="0" smtClean="0"/>
              <a:t>в образовательную деятельность и содействовать формированию ответственного и позитивного родительства.  </a:t>
            </a:r>
            <a:endParaRPr lang="ru-RU" sz="2000" dirty="0"/>
          </a:p>
        </p:txBody>
      </p:sp>
      <p:sp>
        <p:nvSpPr>
          <p:cNvPr id="33" name="Google Shape;428;p40"/>
          <p:cNvSpPr/>
          <p:nvPr/>
        </p:nvSpPr>
        <p:spPr>
          <a:xfrm>
            <a:off x="5283201" y="4936812"/>
            <a:ext cx="1239520" cy="1440780"/>
          </a:xfrm>
          <a:custGeom>
            <a:avLst/>
            <a:gdLst/>
            <a:ahLst/>
            <a:cxnLst/>
            <a:rect l="l" t="t" r="r" b="b"/>
            <a:pathLst>
              <a:path w="17082" h="17228" extrusionOk="0">
                <a:moveTo>
                  <a:pt x="6497" y="2993"/>
                </a:moveTo>
                <a:lnTo>
                  <a:pt x="6400" y="3042"/>
                </a:lnTo>
                <a:lnTo>
                  <a:pt x="6302" y="3090"/>
                </a:lnTo>
                <a:lnTo>
                  <a:pt x="6229" y="3212"/>
                </a:lnTo>
                <a:lnTo>
                  <a:pt x="6229" y="3285"/>
                </a:lnTo>
                <a:lnTo>
                  <a:pt x="6254" y="3334"/>
                </a:lnTo>
                <a:lnTo>
                  <a:pt x="6278" y="3407"/>
                </a:lnTo>
                <a:lnTo>
                  <a:pt x="6351" y="3455"/>
                </a:lnTo>
                <a:lnTo>
                  <a:pt x="6400" y="3480"/>
                </a:lnTo>
                <a:lnTo>
                  <a:pt x="6643" y="3480"/>
                </a:lnTo>
                <a:lnTo>
                  <a:pt x="6692" y="3504"/>
                </a:lnTo>
                <a:lnTo>
                  <a:pt x="6911" y="3504"/>
                </a:lnTo>
                <a:lnTo>
                  <a:pt x="6959" y="3480"/>
                </a:lnTo>
                <a:lnTo>
                  <a:pt x="7008" y="3455"/>
                </a:lnTo>
                <a:lnTo>
                  <a:pt x="7057" y="3407"/>
                </a:lnTo>
                <a:lnTo>
                  <a:pt x="7057" y="3334"/>
                </a:lnTo>
                <a:lnTo>
                  <a:pt x="7057" y="3212"/>
                </a:lnTo>
                <a:lnTo>
                  <a:pt x="7032" y="3163"/>
                </a:lnTo>
                <a:lnTo>
                  <a:pt x="7008" y="3115"/>
                </a:lnTo>
                <a:lnTo>
                  <a:pt x="6935" y="3042"/>
                </a:lnTo>
                <a:lnTo>
                  <a:pt x="6838" y="3017"/>
                </a:lnTo>
                <a:lnTo>
                  <a:pt x="6716" y="2993"/>
                </a:lnTo>
                <a:close/>
                <a:moveTo>
                  <a:pt x="5743" y="3236"/>
                </a:moveTo>
                <a:lnTo>
                  <a:pt x="5670" y="3261"/>
                </a:lnTo>
                <a:lnTo>
                  <a:pt x="5402" y="3358"/>
                </a:lnTo>
                <a:lnTo>
                  <a:pt x="5134" y="3480"/>
                </a:lnTo>
                <a:lnTo>
                  <a:pt x="4891" y="3601"/>
                </a:lnTo>
                <a:lnTo>
                  <a:pt x="4672" y="3747"/>
                </a:lnTo>
                <a:lnTo>
                  <a:pt x="4453" y="3918"/>
                </a:lnTo>
                <a:lnTo>
                  <a:pt x="4234" y="4088"/>
                </a:lnTo>
                <a:lnTo>
                  <a:pt x="4039" y="4283"/>
                </a:lnTo>
                <a:lnTo>
                  <a:pt x="3869" y="4477"/>
                </a:lnTo>
                <a:lnTo>
                  <a:pt x="3699" y="4696"/>
                </a:lnTo>
                <a:lnTo>
                  <a:pt x="3553" y="4940"/>
                </a:lnTo>
                <a:lnTo>
                  <a:pt x="3431" y="5159"/>
                </a:lnTo>
                <a:lnTo>
                  <a:pt x="3309" y="5402"/>
                </a:lnTo>
                <a:lnTo>
                  <a:pt x="3236" y="5670"/>
                </a:lnTo>
                <a:lnTo>
                  <a:pt x="3163" y="5937"/>
                </a:lnTo>
                <a:lnTo>
                  <a:pt x="3115" y="6229"/>
                </a:lnTo>
                <a:lnTo>
                  <a:pt x="3090" y="6497"/>
                </a:lnTo>
                <a:lnTo>
                  <a:pt x="3090" y="6546"/>
                </a:lnTo>
                <a:lnTo>
                  <a:pt x="3115" y="6594"/>
                </a:lnTo>
                <a:lnTo>
                  <a:pt x="3188" y="6667"/>
                </a:lnTo>
                <a:lnTo>
                  <a:pt x="3261" y="6716"/>
                </a:lnTo>
                <a:lnTo>
                  <a:pt x="3285" y="6716"/>
                </a:lnTo>
                <a:lnTo>
                  <a:pt x="3309" y="6692"/>
                </a:lnTo>
                <a:lnTo>
                  <a:pt x="3382" y="6667"/>
                </a:lnTo>
                <a:lnTo>
                  <a:pt x="3431" y="6594"/>
                </a:lnTo>
                <a:lnTo>
                  <a:pt x="3480" y="6546"/>
                </a:lnTo>
                <a:lnTo>
                  <a:pt x="3504" y="6473"/>
                </a:lnTo>
                <a:lnTo>
                  <a:pt x="3528" y="6156"/>
                </a:lnTo>
                <a:lnTo>
                  <a:pt x="3601" y="5864"/>
                </a:lnTo>
                <a:lnTo>
                  <a:pt x="3699" y="5597"/>
                </a:lnTo>
                <a:lnTo>
                  <a:pt x="3820" y="5353"/>
                </a:lnTo>
                <a:lnTo>
                  <a:pt x="3966" y="5086"/>
                </a:lnTo>
                <a:lnTo>
                  <a:pt x="4137" y="4867"/>
                </a:lnTo>
                <a:lnTo>
                  <a:pt x="4307" y="4623"/>
                </a:lnTo>
                <a:lnTo>
                  <a:pt x="4526" y="4429"/>
                </a:lnTo>
                <a:lnTo>
                  <a:pt x="4745" y="4234"/>
                </a:lnTo>
                <a:lnTo>
                  <a:pt x="4988" y="4088"/>
                </a:lnTo>
                <a:lnTo>
                  <a:pt x="5256" y="3942"/>
                </a:lnTo>
                <a:lnTo>
                  <a:pt x="5499" y="3796"/>
                </a:lnTo>
                <a:lnTo>
                  <a:pt x="5767" y="3699"/>
                </a:lnTo>
                <a:lnTo>
                  <a:pt x="5864" y="3650"/>
                </a:lnTo>
                <a:lnTo>
                  <a:pt x="5913" y="3577"/>
                </a:lnTo>
                <a:lnTo>
                  <a:pt x="5937" y="3504"/>
                </a:lnTo>
                <a:lnTo>
                  <a:pt x="5937" y="3407"/>
                </a:lnTo>
                <a:lnTo>
                  <a:pt x="5889" y="3334"/>
                </a:lnTo>
                <a:lnTo>
                  <a:pt x="5840" y="3285"/>
                </a:lnTo>
                <a:lnTo>
                  <a:pt x="5743" y="3236"/>
                </a:lnTo>
                <a:close/>
                <a:moveTo>
                  <a:pt x="7324" y="1971"/>
                </a:moveTo>
                <a:lnTo>
                  <a:pt x="7787" y="2020"/>
                </a:lnTo>
                <a:lnTo>
                  <a:pt x="8249" y="2141"/>
                </a:lnTo>
                <a:lnTo>
                  <a:pt x="8687" y="2312"/>
                </a:lnTo>
                <a:lnTo>
                  <a:pt x="9101" y="2506"/>
                </a:lnTo>
                <a:lnTo>
                  <a:pt x="9490" y="2774"/>
                </a:lnTo>
                <a:lnTo>
                  <a:pt x="9879" y="3066"/>
                </a:lnTo>
                <a:lnTo>
                  <a:pt x="10220" y="3431"/>
                </a:lnTo>
                <a:lnTo>
                  <a:pt x="10512" y="3820"/>
                </a:lnTo>
                <a:lnTo>
                  <a:pt x="10707" y="4088"/>
                </a:lnTo>
                <a:lnTo>
                  <a:pt x="10877" y="4380"/>
                </a:lnTo>
                <a:lnTo>
                  <a:pt x="11023" y="4696"/>
                </a:lnTo>
                <a:lnTo>
                  <a:pt x="11120" y="5013"/>
                </a:lnTo>
                <a:lnTo>
                  <a:pt x="11217" y="5329"/>
                </a:lnTo>
                <a:lnTo>
                  <a:pt x="11266" y="5645"/>
                </a:lnTo>
                <a:lnTo>
                  <a:pt x="11315" y="5986"/>
                </a:lnTo>
                <a:lnTo>
                  <a:pt x="11315" y="6302"/>
                </a:lnTo>
                <a:lnTo>
                  <a:pt x="11315" y="6643"/>
                </a:lnTo>
                <a:lnTo>
                  <a:pt x="11266" y="6959"/>
                </a:lnTo>
                <a:lnTo>
                  <a:pt x="11217" y="7300"/>
                </a:lnTo>
                <a:lnTo>
                  <a:pt x="11144" y="7616"/>
                </a:lnTo>
                <a:lnTo>
                  <a:pt x="11047" y="7932"/>
                </a:lnTo>
                <a:lnTo>
                  <a:pt x="10925" y="8249"/>
                </a:lnTo>
                <a:lnTo>
                  <a:pt x="10780" y="8565"/>
                </a:lnTo>
                <a:lnTo>
                  <a:pt x="10634" y="8857"/>
                </a:lnTo>
                <a:lnTo>
                  <a:pt x="10439" y="9173"/>
                </a:lnTo>
                <a:lnTo>
                  <a:pt x="10220" y="9490"/>
                </a:lnTo>
                <a:lnTo>
                  <a:pt x="9977" y="9757"/>
                </a:lnTo>
                <a:lnTo>
                  <a:pt x="9733" y="10025"/>
                </a:lnTo>
                <a:lnTo>
                  <a:pt x="9441" y="10268"/>
                </a:lnTo>
                <a:lnTo>
                  <a:pt x="9149" y="10487"/>
                </a:lnTo>
                <a:lnTo>
                  <a:pt x="8857" y="10682"/>
                </a:lnTo>
                <a:lnTo>
                  <a:pt x="8541" y="10852"/>
                </a:lnTo>
                <a:lnTo>
                  <a:pt x="8200" y="10998"/>
                </a:lnTo>
                <a:lnTo>
                  <a:pt x="7860" y="11120"/>
                </a:lnTo>
                <a:lnTo>
                  <a:pt x="7519" y="11193"/>
                </a:lnTo>
                <a:lnTo>
                  <a:pt x="7154" y="11242"/>
                </a:lnTo>
                <a:lnTo>
                  <a:pt x="6789" y="11266"/>
                </a:lnTo>
                <a:lnTo>
                  <a:pt x="6424" y="11242"/>
                </a:lnTo>
                <a:lnTo>
                  <a:pt x="6059" y="11193"/>
                </a:lnTo>
                <a:lnTo>
                  <a:pt x="5670" y="11096"/>
                </a:lnTo>
                <a:lnTo>
                  <a:pt x="5353" y="10998"/>
                </a:lnTo>
                <a:lnTo>
                  <a:pt x="5037" y="10877"/>
                </a:lnTo>
                <a:lnTo>
                  <a:pt x="4721" y="10731"/>
                </a:lnTo>
                <a:lnTo>
                  <a:pt x="4404" y="10560"/>
                </a:lnTo>
                <a:lnTo>
                  <a:pt x="4112" y="10390"/>
                </a:lnTo>
                <a:lnTo>
                  <a:pt x="3820" y="10171"/>
                </a:lnTo>
                <a:lnTo>
                  <a:pt x="3553" y="9952"/>
                </a:lnTo>
                <a:lnTo>
                  <a:pt x="3285" y="9733"/>
                </a:lnTo>
                <a:lnTo>
                  <a:pt x="3042" y="9490"/>
                </a:lnTo>
                <a:lnTo>
                  <a:pt x="2823" y="9222"/>
                </a:lnTo>
                <a:lnTo>
                  <a:pt x="2628" y="8930"/>
                </a:lnTo>
                <a:lnTo>
                  <a:pt x="2434" y="8638"/>
                </a:lnTo>
                <a:lnTo>
                  <a:pt x="2288" y="8346"/>
                </a:lnTo>
                <a:lnTo>
                  <a:pt x="2142" y="8030"/>
                </a:lnTo>
                <a:lnTo>
                  <a:pt x="2044" y="7689"/>
                </a:lnTo>
                <a:lnTo>
                  <a:pt x="1971" y="7349"/>
                </a:lnTo>
                <a:lnTo>
                  <a:pt x="1947" y="7057"/>
                </a:lnTo>
                <a:lnTo>
                  <a:pt x="1923" y="6765"/>
                </a:lnTo>
                <a:lnTo>
                  <a:pt x="1923" y="6497"/>
                </a:lnTo>
                <a:lnTo>
                  <a:pt x="1947" y="6205"/>
                </a:lnTo>
                <a:lnTo>
                  <a:pt x="1996" y="5937"/>
                </a:lnTo>
                <a:lnTo>
                  <a:pt x="2044" y="5670"/>
                </a:lnTo>
                <a:lnTo>
                  <a:pt x="2142" y="5402"/>
                </a:lnTo>
                <a:lnTo>
                  <a:pt x="2239" y="5159"/>
                </a:lnTo>
                <a:lnTo>
                  <a:pt x="2336" y="4915"/>
                </a:lnTo>
                <a:lnTo>
                  <a:pt x="2482" y="4672"/>
                </a:lnTo>
                <a:lnTo>
                  <a:pt x="2628" y="4429"/>
                </a:lnTo>
                <a:lnTo>
                  <a:pt x="2774" y="4210"/>
                </a:lnTo>
                <a:lnTo>
                  <a:pt x="2944" y="3991"/>
                </a:lnTo>
                <a:lnTo>
                  <a:pt x="3139" y="3772"/>
                </a:lnTo>
                <a:lnTo>
                  <a:pt x="3528" y="3382"/>
                </a:lnTo>
                <a:lnTo>
                  <a:pt x="3966" y="3017"/>
                </a:lnTo>
                <a:lnTo>
                  <a:pt x="4404" y="2701"/>
                </a:lnTo>
                <a:lnTo>
                  <a:pt x="4891" y="2409"/>
                </a:lnTo>
                <a:lnTo>
                  <a:pt x="5134" y="2287"/>
                </a:lnTo>
                <a:lnTo>
                  <a:pt x="5378" y="2166"/>
                </a:lnTo>
                <a:lnTo>
                  <a:pt x="5645" y="2117"/>
                </a:lnTo>
                <a:lnTo>
                  <a:pt x="6035" y="2068"/>
                </a:lnTo>
                <a:lnTo>
                  <a:pt x="6716" y="1995"/>
                </a:lnTo>
                <a:lnTo>
                  <a:pt x="7300" y="1995"/>
                </a:lnTo>
                <a:lnTo>
                  <a:pt x="7324" y="1971"/>
                </a:lnTo>
                <a:close/>
                <a:moveTo>
                  <a:pt x="6935" y="1533"/>
                </a:moveTo>
                <a:lnTo>
                  <a:pt x="6497" y="1582"/>
                </a:lnTo>
                <a:lnTo>
                  <a:pt x="6083" y="1679"/>
                </a:lnTo>
                <a:lnTo>
                  <a:pt x="5864" y="1703"/>
                </a:lnTo>
                <a:lnTo>
                  <a:pt x="5621" y="1752"/>
                </a:lnTo>
                <a:lnTo>
                  <a:pt x="5353" y="1825"/>
                </a:lnTo>
                <a:lnTo>
                  <a:pt x="5110" y="1922"/>
                </a:lnTo>
                <a:lnTo>
                  <a:pt x="4842" y="2044"/>
                </a:lnTo>
                <a:lnTo>
                  <a:pt x="4599" y="2166"/>
                </a:lnTo>
                <a:lnTo>
                  <a:pt x="4112" y="2458"/>
                </a:lnTo>
                <a:lnTo>
                  <a:pt x="3650" y="2774"/>
                </a:lnTo>
                <a:lnTo>
                  <a:pt x="3212" y="3115"/>
                </a:lnTo>
                <a:lnTo>
                  <a:pt x="2823" y="3504"/>
                </a:lnTo>
                <a:lnTo>
                  <a:pt x="2458" y="3918"/>
                </a:lnTo>
                <a:lnTo>
                  <a:pt x="2312" y="4161"/>
                </a:lnTo>
                <a:lnTo>
                  <a:pt x="2166" y="4380"/>
                </a:lnTo>
                <a:lnTo>
                  <a:pt x="2020" y="4623"/>
                </a:lnTo>
                <a:lnTo>
                  <a:pt x="1923" y="4867"/>
                </a:lnTo>
                <a:lnTo>
                  <a:pt x="1801" y="5110"/>
                </a:lnTo>
                <a:lnTo>
                  <a:pt x="1728" y="5378"/>
                </a:lnTo>
                <a:lnTo>
                  <a:pt x="1631" y="5645"/>
                </a:lnTo>
                <a:lnTo>
                  <a:pt x="1582" y="5913"/>
                </a:lnTo>
                <a:lnTo>
                  <a:pt x="1533" y="6181"/>
                </a:lnTo>
                <a:lnTo>
                  <a:pt x="1509" y="6473"/>
                </a:lnTo>
                <a:lnTo>
                  <a:pt x="1509" y="6765"/>
                </a:lnTo>
                <a:lnTo>
                  <a:pt x="1509" y="7057"/>
                </a:lnTo>
                <a:lnTo>
                  <a:pt x="1558" y="7349"/>
                </a:lnTo>
                <a:lnTo>
                  <a:pt x="1606" y="7640"/>
                </a:lnTo>
                <a:lnTo>
                  <a:pt x="1679" y="7932"/>
                </a:lnTo>
                <a:lnTo>
                  <a:pt x="1752" y="8224"/>
                </a:lnTo>
                <a:lnTo>
                  <a:pt x="1874" y="8492"/>
                </a:lnTo>
                <a:lnTo>
                  <a:pt x="1996" y="8760"/>
                </a:lnTo>
                <a:lnTo>
                  <a:pt x="2142" y="9027"/>
                </a:lnTo>
                <a:lnTo>
                  <a:pt x="2312" y="9295"/>
                </a:lnTo>
                <a:lnTo>
                  <a:pt x="2507" y="9538"/>
                </a:lnTo>
                <a:lnTo>
                  <a:pt x="2726" y="9782"/>
                </a:lnTo>
                <a:lnTo>
                  <a:pt x="2944" y="10001"/>
                </a:lnTo>
                <a:lnTo>
                  <a:pt x="3188" y="10195"/>
                </a:lnTo>
                <a:lnTo>
                  <a:pt x="3699" y="10585"/>
                </a:lnTo>
                <a:lnTo>
                  <a:pt x="3991" y="10779"/>
                </a:lnTo>
                <a:lnTo>
                  <a:pt x="4283" y="10950"/>
                </a:lnTo>
                <a:lnTo>
                  <a:pt x="4599" y="11120"/>
                </a:lnTo>
                <a:lnTo>
                  <a:pt x="4915" y="11266"/>
                </a:lnTo>
                <a:lnTo>
                  <a:pt x="5232" y="11412"/>
                </a:lnTo>
                <a:lnTo>
                  <a:pt x="5572" y="11509"/>
                </a:lnTo>
                <a:lnTo>
                  <a:pt x="5889" y="11607"/>
                </a:lnTo>
                <a:lnTo>
                  <a:pt x="6254" y="11680"/>
                </a:lnTo>
                <a:lnTo>
                  <a:pt x="6594" y="11704"/>
                </a:lnTo>
                <a:lnTo>
                  <a:pt x="6959" y="11728"/>
                </a:lnTo>
                <a:lnTo>
                  <a:pt x="7300" y="11680"/>
                </a:lnTo>
                <a:lnTo>
                  <a:pt x="7641" y="11631"/>
                </a:lnTo>
                <a:lnTo>
                  <a:pt x="7981" y="11534"/>
                </a:lnTo>
                <a:lnTo>
                  <a:pt x="8322" y="11436"/>
                </a:lnTo>
                <a:lnTo>
                  <a:pt x="8638" y="11290"/>
                </a:lnTo>
                <a:lnTo>
                  <a:pt x="8955" y="11120"/>
                </a:lnTo>
                <a:lnTo>
                  <a:pt x="9344" y="10877"/>
                </a:lnTo>
                <a:lnTo>
                  <a:pt x="9733" y="10609"/>
                </a:lnTo>
                <a:lnTo>
                  <a:pt x="10074" y="10293"/>
                </a:lnTo>
                <a:lnTo>
                  <a:pt x="10390" y="9976"/>
                </a:lnTo>
                <a:lnTo>
                  <a:pt x="10658" y="9611"/>
                </a:lnTo>
                <a:lnTo>
                  <a:pt x="10925" y="9222"/>
                </a:lnTo>
                <a:lnTo>
                  <a:pt x="11144" y="8808"/>
                </a:lnTo>
                <a:lnTo>
                  <a:pt x="11339" y="8395"/>
                </a:lnTo>
                <a:lnTo>
                  <a:pt x="11509" y="7957"/>
                </a:lnTo>
                <a:lnTo>
                  <a:pt x="11631" y="7519"/>
                </a:lnTo>
                <a:lnTo>
                  <a:pt x="11704" y="7081"/>
                </a:lnTo>
                <a:lnTo>
                  <a:pt x="11753" y="6619"/>
                </a:lnTo>
                <a:lnTo>
                  <a:pt x="11753" y="6156"/>
                </a:lnTo>
                <a:lnTo>
                  <a:pt x="11728" y="5694"/>
                </a:lnTo>
                <a:lnTo>
                  <a:pt x="11655" y="5256"/>
                </a:lnTo>
                <a:lnTo>
                  <a:pt x="11534" y="4794"/>
                </a:lnTo>
                <a:lnTo>
                  <a:pt x="11363" y="4404"/>
                </a:lnTo>
                <a:lnTo>
                  <a:pt x="11169" y="4015"/>
                </a:lnTo>
                <a:lnTo>
                  <a:pt x="10950" y="3650"/>
                </a:lnTo>
                <a:lnTo>
                  <a:pt x="10682" y="3285"/>
                </a:lnTo>
                <a:lnTo>
                  <a:pt x="10390" y="2969"/>
                </a:lnTo>
                <a:lnTo>
                  <a:pt x="10074" y="2677"/>
                </a:lnTo>
                <a:lnTo>
                  <a:pt x="9733" y="2409"/>
                </a:lnTo>
                <a:lnTo>
                  <a:pt x="9393" y="2166"/>
                </a:lnTo>
                <a:lnTo>
                  <a:pt x="9003" y="1971"/>
                </a:lnTo>
                <a:lnTo>
                  <a:pt x="8614" y="1801"/>
                </a:lnTo>
                <a:lnTo>
                  <a:pt x="8200" y="1655"/>
                </a:lnTo>
                <a:lnTo>
                  <a:pt x="7787" y="1582"/>
                </a:lnTo>
                <a:lnTo>
                  <a:pt x="7349" y="1533"/>
                </a:lnTo>
                <a:close/>
                <a:moveTo>
                  <a:pt x="12118" y="11558"/>
                </a:moveTo>
                <a:lnTo>
                  <a:pt x="12142" y="11582"/>
                </a:lnTo>
                <a:lnTo>
                  <a:pt x="11972" y="11777"/>
                </a:lnTo>
                <a:lnTo>
                  <a:pt x="12093" y="11631"/>
                </a:lnTo>
                <a:lnTo>
                  <a:pt x="12118" y="11558"/>
                </a:lnTo>
                <a:close/>
                <a:moveTo>
                  <a:pt x="6789" y="584"/>
                </a:moveTo>
                <a:lnTo>
                  <a:pt x="7154" y="608"/>
                </a:lnTo>
                <a:lnTo>
                  <a:pt x="7519" y="657"/>
                </a:lnTo>
                <a:lnTo>
                  <a:pt x="7884" y="706"/>
                </a:lnTo>
                <a:lnTo>
                  <a:pt x="8225" y="803"/>
                </a:lnTo>
                <a:lnTo>
                  <a:pt x="8565" y="900"/>
                </a:lnTo>
                <a:lnTo>
                  <a:pt x="8906" y="1022"/>
                </a:lnTo>
                <a:lnTo>
                  <a:pt x="9247" y="1144"/>
                </a:lnTo>
                <a:lnTo>
                  <a:pt x="9563" y="1314"/>
                </a:lnTo>
                <a:lnTo>
                  <a:pt x="9879" y="1484"/>
                </a:lnTo>
                <a:lnTo>
                  <a:pt x="10171" y="1679"/>
                </a:lnTo>
                <a:lnTo>
                  <a:pt x="10439" y="1874"/>
                </a:lnTo>
                <a:lnTo>
                  <a:pt x="10707" y="2093"/>
                </a:lnTo>
                <a:lnTo>
                  <a:pt x="10950" y="2312"/>
                </a:lnTo>
                <a:lnTo>
                  <a:pt x="11193" y="2555"/>
                </a:lnTo>
                <a:lnTo>
                  <a:pt x="11485" y="2896"/>
                </a:lnTo>
                <a:lnTo>
                  <a:pt x="11753" y="3261"/>
                </a:lnTo>
                <a:lnTo>
                  <a:pt x="11996" y="3626"/>
                </a:lnTo>
                <a:lnTo>
                  <a:pt x="12191" y="4015"/>
                </a:lnTo>
                <a:lnTo>
                  <a:pt x="12361" y="4404"/>
                </a:lnTo>
                <a:lnTo>
                  <a:pt x="12507" y="4818"/>
                </a:lnTo>
                <a:lnTo>
                  <a:pt x="12629" y="5232"/>
                </a:lnTo>
                <a:lnTo>
                  <a:pt x="12702" y="5645"/>
                </a:lnTo>
                <a:lnTo>
                  <a:pt x="12750" y="6059"/>
                </a:lnTo>
                <a:lnTo>
                  <a:pt x="12775" y="6473"/>
                </a:lnTo>
                <a:lnTo>
                  <a:pt x="12775" y="6911"/>
                </a:lnTo>
                <a:lnTo>
                  <a:pt x="12726" y="7324"/>
                </a:lnTo>
                <a:lnTo>
                  <a:pt x="12653" y="7762"/>
                </a:lnTo>
                <a:lnTo>
                  <a:pt x="12556" y="8176"/>
                </a:lnTo>
                <a:lnTo>
                  <a:pt x="12434" y="8589"/>
                </a:lnTo>
                <a:lnTo>
                  <a:pt x="12264" y="9003"/>
                </a:lnTo>
                <a:lnTo>
                  <a:pt x="12045" y="9465"/>
                </a:lnTo>
                <a:lnTo>
                  <a:pt x="11801" y="9903"/>
                </a:lnTo>
                <a:lnTo>
                  <a:pt x="11534" y="10293"/>
                </a:lnTo>
                <a:lnTo>
                  <a:pt x="11217" y="10682"/>
                </a:lnTo>
                <a:lnTo>
                  <a:pt x="10901" y="11047"/>
                </a:lnTo>
                <a:lnTo>
                  <a:pt x="10536" y="11388"/>
                </a:lnTo>
                <a:lnTo>
                  <a:pt x="10171" y="11680"/>
                </a:lnTo>
                <a:lnTo>
                  <a:pt x="9782" y="11947"/>
                </a:lnTo>
                <a:lnTo>
                  <a:pt x="9368" y="12191"/>
                </a:lnTo>
                <a:lnTo>
                  <a:pt x="8930" y="12385"/>
                </a:lnTo>
                <a:lnTo>
                  <a:pt x="8468" y="12556"/>
                </a:lnTo>
                <a:lnTo>
                  <a:pt x="8006" y="12677"/>
                </a:lnTo>
                <a:lnTo>
                  <a:pt x="7543" y="12750"/>
                </a:lnTo>
                <a:lnTo>
                  <a:pt x="7032" y="12775"/>
                </a:lnTo>
                <a:lnTo>
                  <a:pt x="6546" y="12775"/>
                </a:lnTo>
                <a:lnTo>
                  <a:pt x="6035" y="12702"/>
                </a:lnTo>
                <a:lnTo>
                  <a:pt x="5597" y="12604"/>
                </a:lnTo>
                <a:lnTo>
                  <a:pt x="5159" y="12483"/>
                </a:lnTo>
                <a:lnTo>
                  <a:pt x="4721" y="12337"/>
                </a:lnTo>
                <a:lnTo>
                  <a:pt x="4307" y="12166"/>
                </a:lnTo>
                <a:lnTo>
                  <a:pt x="3893" y="11947"/>
                </a:lnTo>
                <a:lnTo>
                  <a:pt x="3504" y="11728"/>
                </a:lnTo>
                <a:lnTo>
                  <a:pt x="3115" y="11485"/>
                </a:lnTo>
                <a:lnTo>
                  <a:pt x="2774" y="11193"/>
                </a:lnTo>
                <a:lnTo>
                  <a:pt x="2434" y="10901"/>
                </a:lnTo>
                <a:lnTo>
                  <a:pt x="2117" y="10560"/>
                </a:lnTo>
                <a:lnTo>
                  <a:pt x="1825" y="10220"/>
                </a:lnTo>
                <a:lnTo>
                  <a:pt x="1558" y="9855"/>
                </a:lnTo>
                <a:lnTo>
                  <a:pt x="1314" y="9465"/>
                </a:lnTo>
                <a:lnTo>
                  <a:pt x="1095" y="9052"/>
                </a:lnTo>
                <a:lnTo>
                  <a:pt x="925" y="8638"/>
                </a:lnTo>
                <a:lnTo>
                  <a:pt x="779" y="8200"/>
                </a:lnTo>
                <a:lnTo>
                  <a:pt x="682" y="7811"/>
                </a:lnTo>
                <a:lnTo>
                  <a:pt x="609" y="7446"/>
                </a:lnTo>
                <a:lnTo>
                  <a:pt x="560" y="7081"/>
                </a:lnTo>
                <a:lnTo>
                  <a:pt x="560" y="6716"/>
                </a:lnTo>
                <a:lnTo>
                  <a:pt x="560" y="6351"/>
                </a:lnTo>
                <a:lnTo>
                  <a:pt x="584" y="5986"/>
                </a:lnTo>
                <a:lnTo>
                  <a:pt x="633" y="5645"/>
                </a:lnTo>
                <a:lnTo>
                  <a:pt x="706" y="5305"/>
                </a:lnTo>
                <a:lnTo>
                  <a:pt x="803" y="4964"/>
                </a:lnTo>
                <a:lnTo>
                  <a:pt x="925" y="4648"/>
                </a:lnTo>
                <a:lnTo>
                  <a:pt x="1047" y="4307"/>
                </a:lnTo>
                <a:lnTo>
                  <a:pt x="1217" y="3991"/>
                </a:lnTo>
                <a:lnTo>
                  <a:pt x="1387" y="3674"/>
                </a:lnTo>
                <a:lnTo>
                  <a:pt x="1606" y="3382"/>
                </a:lnTo>
                <a:lnTo>
                  <a:pt x="1825" y="3090"/>
                </a:lnTo>
                <a:lnTo>
                  <a:pt x="2069" y="2798"/>
                </a:lnTo>
                <a:lnTo>
                  <a:pt x="2361" y="2506"/>
                </a:lnTo>
                <a:lnTo>
                  <a:pt x="2726" y="2190"/>
                </a:lnTo>
                <a:lnTo>
                  <a:pt x="3163" y="1849"/>
                </a:lnTo>
                <a:lnTo>
                  <a:pt x="3674" y="1509"/>
                </a:lnTo>
                <a:lnTo>
                  <a:pt x="4210" y="1217"/>
                </a:lnTo>
                <a:lnTo>
                  <a:pt x="4502" y="1071"/>
                </a:lnTo>
                <a:lnTo>
                  <a:pt x="4794" y="949"/>
                </a:lnTo>
                <a:lnTo>
                  <a:pt x="5110" y="852"/>
                </a:lnTo>
                <a:lnTo>
                  <a:pt x="5402" y="754"/>
                </a:lnTo>
                <a:lnTo>
                  <a:pt x="5718" y="681"/>
                </a:lnTo>
                <a:lnTo>
                  <a:pt x="6035" y="633"/>
                </a:lnTo>
                <a:lnTo>
                  <a:pt x="6400" y="608"/>
                </a:lnTo>
                <a:lnTo>
                  <a:pt x="6789" y="584"/>
                </a:lnTo>
                <a:close/>
                <a:moveTo>
                  <a:pt x="11704" y="10998"/>
                </a:moveTo>
                <a:lnTo>
                  <a:pt x="11923" y="11315"/>
                </a:lnTo>
                <a:lnTo>
                  <a:pt x="11874" y="11339"/>
                </a:lnTo>
                <a:lnTo>
                  <a:pt x="11850" y="11363"/>
                </a:lnTo>
                <a:lnTo>
                  <a:pt x="11607" y="11607"/>
                </a:lnTo>
                <a:lnTo>
                  <a:pt x="11339" y="11826"/>
                </a:lnTo>
                <a:lnTo>
                  <a:pt x="11071" y="11996"/>
                </a:lnTo>
                <a:lnTo>
                  <a:pt x="10950" y="12093"/>
                </a:lnTo>
                <a:lnTo>
                  <a:pt x="10925" y="12166"/>
                </a:lnTo>
                <a:lnTo>
                  <a:pt x="10901" y="12239"/>
                </a:lnTo>
                <a:lnTo>
                  <a:pt x="10901" y="12264"/>
                </a:lnTo>
                <a:lnTo>
                  <a:pt x="10974" y="12288"/>
                </a:lnTo>
                <a:lnTo>
                  <a:pt x="11047" y="12288"/>
                </a:lnTo>
                <a:lnTo>
                  <a:pt x="11217" y="12264"/>
                </a:lnTo>
                <a:lnTo>
                  <a:pt x="11363" y="12191"/>
                </a:lnTo>
                <a:lnTo>
                  <a:pt x="11509" y="12093"/>
                </a:lnTo>
                <a:lnTo>
                  <a:pt x="11826" y="11899"/>
                </a:lnTo>
                <a:lnTo>
                  <a:pt x="11972" y="11777"/>
                </a:lnTo>
                <a:lnTo>
                  <a:pt x="11850" y="11899"/>
                </a:lnTo>
                <a:lnTo>
                  <a:pt x="11728" y="11996"/>
                </a:lnTo>
                <a:lnTo>
                  <a:pt x="11485" y="12191"/>
                </a:lnTo>
                <a:lnTo>
                  <a:pt x="11363" y="12288"/>
                </a:lnTo>
                <a:lnTo>
                  <a:pt x="11339" y="12361"/>
                </a:lnTo>
                <a:lnTo>
                  <a:pt x="11339" y="12434"/>
                </a:lnTo>
                <a:lnTo>
                  <a:pt x="11363" y="12483"/>
                </a:lnTo>
                <a:lnTo>
                  <a:pt x="11412" y="12531"/>
                </a:lnTo>
                <a:lnTo>
                  <a:pt x="11485" y="12556"/>
                </a:lnTo>
                <a:lnTo>
                  <a:pt x="11558" y="12531"/>
                </a:lnTo>
                <a:lnTo>
                  <a:pt x="11728" y="12483"/>
                </a:lnTo>
                <a:lnTo>
                  <a:pt x="11874" y="12385"/>
                </a:lnTo>
                <a:lnTo>
                  <a:pt x="12020" y="12288"/>
                </a:lnTo>
                <a:lnTo>
                  <a:pt x="12239" y="12118"/>
                </a:lnTo>
                <a:lnTo>
                  <a:pt x="12361" y="12020"/>
                </a:lnTo>
                <a:lnTo>
                  <a:pt x="12434" y="11899"/>
                </a:lnTo>
                <a:lnTo>
                  <a:pt x="12507" y="11947"/>
                </a:lnTo>
                <a:lnTo>
                  <a:pt x="12288" y="12142"/>
                </a:lnTo>
                <a:lnTo>
                  <a:pt x="12069" y="12337"/>
                </a:lnTo>
                <a:lnTo>
                  <a:pt x="11826" y="12556"/>
                </a:lnTo>
                <a:lnTo>
                  <a:pt x="11728" y="12677"/>
                </a:lnTo>
                <a:lnTo>
                  <a:pt x="11655" y="12823"/>
                </a:lnTo>
                <a:lnTo>
                  <a:pt x="11631" y="12896"/>
                </a:lnTo>
                <a:lnTo>
                  <a:pt x="11680" y="12969"/>
                </a:lnTo>
                <a:lnTo>
                  <a:pt x="11753" y="12994"/>
                </a:lnTo>
                <a:lnTo>
                  <a:pt x="11826" y="12994"/>
                </a:lnTo>
                <a:lnTo>
                  <a:pt x="11972" y="12945"/>
                </a:lnTo>
                <a:lnTo>
                  <a:pt x="12118" y="12848"/>
                </a:lnTo>
                <a:lnTo>
                  <a:pt x="12385" y="12629"/>
                </a:lnTo>
                <a:lnTo>
                  <a:pt x="12604" y="12458"/>
                </a:lnTo>
                <a:lnTo>
                  <a:pt x="12823" y="12264"/>
                </a:lnTo>
                <a:lnTo>
                  <a:pt x="12872" y="12312"/>
                </a:lnTo>
                <a:lnTo>
                  <a:pt x="12604" y="12702"/>
                </a:lnTo>
                <a:lnTo>
                  <a:pt x="12483" y="12848"/>
                </a:lnTo>
                <a:lnTo>
                  <a:pt x="12361" y="12969"/>
                </a:lnTo>
                <a:lnTo>
                  <a:pt x="12215" y="13067"/>
                </a:lnTo>
                <a:lnTo>
                  <a:pt x="12093" y="13213"/>
                </a:lnTo>
                <a:lnTo>
                  <a:pt x="12093" y="13261"/>
                </a:lnTo>
                <a:lnTo>
                  <a:pt x="12093" y="13310"/>
                </a:lnTo>
                <a:lnTo>
                  <a:pt x="12118" y="13334"/>
                </a:lnTo>
                <a:lnTo>
                  <a:pt x="12166" y="13359"/>
                </a:lnTo>
                <a:lnTo>
                  <a:pt x="12312" y="13359"/>
                </a:lnTo>
                <a:lnTo>
                  <a:pt x="12458" y="13334"/>
                </a:lnTo>
                <a:lnTo>
                  <a:pt x="12604" y="13261"/>
                </a:lnTo>
                <a:lnTo>
                  <a:pt x="12750" y="13140"/>
                </a:lnTo>
                <a:lnTo>
                  <a:pt x="12896" y="13042"/>
                </a:lnTo>
                <a:lnTo>
                  <a:pt x="12994" y="12896"/>
                </a:lnTo>
                <a:lnTo>
                  <a:pt x="13115" y="12750"/>
                </a:lnTo>
                <a:lnTo>
                  <a:pt x="13188" y="12604"/>
                </a:lnTo>
                <a:lnTo>
                  <a:pt x="13505" y="12872"/>
                </a:lnTo>
                <a:lnTo>
                  <a:pt x="13407" y="12945"/>
                </a:lnTo>
                <a:lnTo>
                  <a:pt x="13310" y="13018"/>
                </a:lnTo>
                <a:lnTo>
                  <a:pt x="13115" y="13213"/>
                </a:lnTo>
                <a:lnTo>
                  <a:pt x="12896" y="13359"/>
                </a:lnTo>
                <a:lnTo>
                  <a:pt x="12677" y="13529"/>
                </a:lnTo>
                <a:lnTo>
                  <a:pt x="12653" y="13553"/>
                </a:lnTo>
                <a:lnTo>
                  <a:pt x="12629" y="13602"/>
                </a:lnTo>
                <a:lnTo>
                  <a:pt x="12653" y="13651"/>
                </a:lnTo>
                <a:lnTo>
                  <a:pt x="12677" y="13699"/>
                </a:lnTo>
                <a:lnTo>
                  <a:pt x="12750" y="13724"/>
                </a:lnTo>
                <a:lnTo>
                  <a:pt x="12848" y="13748"/>
                </a:lnTo>
                <a:lnTo>
                  <a:pt x="12921" y="13748"/>
                </a:lnTo>
                <a:lnTo>
                  <a:pt x="12994" y="13724"/>
                </a:lnTo>
                <a:lnTo>
                  <a:pt x="13140" y="13651"/>
                </a:lnTo>
                <a:lnTo>
                  <a:pt x="13286" y="13578"/>
                </a:lnTo>
                <a:lnTo>
                  <a:pt x="13407" y="13480"/>
                </a:lnTo>
                <a:lnTo>
                  <a:pt x="13553" y="13383"/>
                </a:lnTo>
                <a:lnTo>
                  <a:pt x="13675" y="13237"/>
                </a:lnTo>
                <a:lnTo>
                  <a:pt x="13724" y="13164"/>
                </a:lnTo>
                <a:lnTo>
                  <a:pt x="13748" y="13091"/>
                </a:lnTo>
                <a:lnTo>
                  <a:pt x="13943" y="13286"/>
                </a:lnTo>
                <a:lnTo>
                  <a:pt x="13918" y="13286"/>
                </a:lnTo>
                <a:lnTo>
                  <a:pt x="13772" y="13383"/>
                </a:lnTo>
                <a:lnTo>
                  <a:pt x="13675" y="13505"/>
                </a:lnTo>
                <a:lnTo>
                  <a:pt x="13456" y="13748"/>
                </a:lnTo>
                <a:lnTo>
                  <a:pt x="13237" y="13967"/>
                </a:lnTo>
                <a:lnTo>
                  <a:pt x="13140" y="14064"/>
                </a:lnTo>
                <a:lnTo>
                  <a:pt x="13067" y="14210"/>
                </a:lnTo>
                <a:lnTo>
                  <a:pt x="13042" y="14235"/>
                </a:lnTo>
                <a:lnTo>
                  <a:pt x="13067" y="14259"/>
                </a:lnTo>
                <a:lnTo>
                  <a:pt x="13067" y="14308"/>
                </a:lnTo>
                <a:lnTo>
                  <a:pt x="13115" y="14308"/>
                </a:lnTo>
                <a:lnTo>
                  <a:pt x="13261" y="14259"/>
                </a:lnTo>
                <a:lnTo>
                  <a:pt x="13407" y="14210"/>
                </a:lnTo>
                <a:lnTo>
                  <a:pt x="13651" y="14040"/>
                </a:lnTo>
                <a:lnTo>
                  <a:pt x="13797" y="13918"/>
                </a:lnTo>
                <a:lnTo>
                  <a:pt x="13943" y="13797"/>
                </a:lnTo>
                <a:lnTo>
                  <a:pt x="14064" y="13626"/>
                </a:lnTo>
                <a:lnTo>
                  <a:pt x="14137" y="13480"/>
                </a:lnTo>
                <a:lnTo>
                  <a:pt x="14332" y="13675"/>
                </a:lnTo>
                <a:lnTo>
                  <a:pt x="14186" y="13918"/>
                </a:lnTo>
                <a:lnTo>
                  <a:pt x="14089" y="14040"/>
                </a:lnTo>
                <a:lnTo>
                  <a:pt x="13991" y="14137"/>
                </a:lnTo>
                <a:lnTo>
                  <a:pt x="13870" y="14235"/>
                </a:lnTo>
                <a:lnTo>
                  <a:pt x="13748" y="14308"/>
                </a:lnTo>
                <a:lnTo>
                  <a:pt x="13626" y="14381"/>
                </a:lnTo>
                <a:lnTo>
                  <a:pt x="13505" y="14454"/>
                </a:lnTo>
                <a:lnTo>
                  <a:pt x="13505" y="14502"/>
                </a:lnTo>
                <a:lnTo>
                  <a:pt x="13480" y="14527"/>
                </a:lnTo>
                <a:lnTo>
                  <a:pt x="13505" y="14600"/>
                </a:lnTo>
                <a:lnTo>
                  <a:pt x="13602" y="14648"/>
                </a:lnTo>
                <a:lnTo>
                  <a:pt x="13675" y="14673"/>
                </a:lnTo>
                <a:lnTo>
                  <a:pt x="13772" y="14673"/>
                </a:lnTo>
                <a:lnTo>
                  <a:pt x="13894" y="14648"/>
                </a:lnTo>
                <a:lnTo>
                  <a:pt x="14089" y="14551"/>
                </a:lnTo>
                <a:lnTo>
                  <a:pt x="14235" y="14454"/>
                </a:lnTo>
                <a:lnTo>
                  <a:pt x="14356" y="14356"/>
                </a:lnTo>
                <a:lnTo>
                  <a:pt x="14454" y="14235"/>
                </a:lnTo>
                <a:lnTo>
                  <a:pt x="14575" y="14113"/>
                </a:lnTo>
                <a:lnTo>
                  <a:pt x="14648" y="13967"/>
                </a:lnTo>
                <a:lnTo>
                  <a:pt x="14867" y="14210"/>
                </a:lnTo>
                <a:lnTo>
                  <a:pt x="14843" y="14210"/>
                </a:lnTo>
                <a:lnTo>
                  <a:pt x="14721" y="14259"/>
                </a:lnTo>
                <a:lnTo>
                  <a:pt x="14624" y="14332"/>
                </a:lnTo>
                <a:lnTo>
                  <a:pt x="14454" y="14527"/>
                </a:lnTo>
                <a:lnTo>
                  <a:pt x="14235" y="14746"/>
                </a:lnTo>
                <a:lnTo>
                  <a:pt x="14113" y="14867"/>
                </a:lnTo>
                <a:lnTo>
                  <a:pt x="13991" y="14940"/>
                </a:lnTo>
                <a:lnTo>
                  <a:pt x="13967" y="14989"/>
                </a:lnTo>
                <a:lnTo>
                  <a:pt x="13967" y="15038"/>
                </a:lnTo>
                <a:lnTo>
                  <a:pt x="14016" y="15086"/>
                </a:lnTo>
                <a:lnTo>
                  <a:pt x="14064" y="15086"/>
                </a:lnTo>
                <a:lnTo>
                  <a:pt x="14356" y="15013"/>
                </a:lnTo>
                <a:lnTo>
                  <a:pt x="14478" y="14940"/>
                </a:lnTo>
                <a:lnTo>
                  <a:pt x="14624" y="14867"/>
                </a:lnTo>
                <a:lnTo>
                  <a:pt x="14867" y="14648"/>
                </a:lnTo>
                <a:lnTo>
                  <a:pt x="14965" y="14527"/>
                </a:lnTo>
                <a:lnTo>
                  <a:pt x="15038" y="14405"/>
                </a:lnTo>
                <a:lnTo>
                  <a:pt x="15038" y="14381"/>
                </a:lnTo>
                <a:lnTo>
                  <a:pt x="15330" y="14673"/>
                </a:lnTo>
                <a:lnTo>
                  <a:pt x="15111" y="14867"/>
                </a:lnTo>
                <a:lnTo>
                  <a:pt x="14892" y="15062"/>
                </a:lnTo>
                <a:lnTo>
                  <a:pt x="14648" y="15232"/>
                </a:lnTo>
                <a:lnTo>
                  <a:pt x="14527" y="15330"/>
                </a:lnTo>
                <a:lnTo>
                  <a:pt x="14429" y="15427"/>
                </a:lnTo>
                <a:lnTo>
                  <a:pt x="14405" y="15451"/>
                </a:lnTo>
                <a:lnTo>
                  <a:pt x="14405" y="15500"/>
                </a:lnTo>
                <a:lnTo>
                  <a:pt x="14429" y="15524"/>
                </a:lnTo>
                <a:lnTo>
                  <a:pt x="14454" y="15549"/>
                </a:lnTo>
                <a:lnTo>
                  <a:pt x="14624" y="15573"/>
                </a:lnTo>
                <a:lnTo>
                  <a:pt x="14770" y="15549"/>
                </a:lnTo>
                <a:lnTo>
                  <a:pt x="14940" y="15476"/>
                </a:lnTo>
                <a:lnTo>
                  <a:pt x="15086" y="15378"/>
                </a:lnTo>
                <a:lnTo>
                  <a:pt x="15232" y="15281"/>
                </a:lnTo>
                <a:lnTo>
                  <a:pt x="15354" y="15159"/>
                </a:lnTo>
                <a:lnTo>
                  <a:pt x="15573" y="14916"/>
                </a:lnTo>
                <a:lnTo>
                  <a:pt x="15743" y="15111"/>
                </a:lnTo>
                <a:lnTo>
                  <a:pt x="15476" y="15378"/>
                </a:lnTo>
                <a:lnTo>
                  <a:pt x="15330" y="15476"/>
                </a:lnTo>
                <a:lnTo>
                  <a:pt x="15184" y="15573"/>
                </a:lnTo>
                <a:lnTo>
                  <a:pt x="15038" y="15670"/>
                </a:lnTo>
                <a:lnTo>
                  <a:pt x="14892" y="15792"/>
                </a:lnTo>
                <a:lnTo>
                  <a:pt x="14843" y="15840"/>
                </a:lnTo>
                <a:lnTo>
                  <a:pt x="14867" y="15913"/>
                </a:lnTo>
                <a:lnTo>
                  <a:pt x="14892" y="15986"/>
                </a:lnTo>
                <a:lnTo>
                  <a:pt x="14940" y="16011"/>
                </a:lnTo>
                <a:lnTo>
                  <a:pt x="15038" y="16035"/>
                </a:lnTo>
                <a:lnTo>
                  <a:pt x="15159" y="16011"/>
                </a:lnTo>
                <a:lnTo>
                  <a:pt x="15354" y="15962"/>
                </a:lnTo>
                <a:lnTo>
                  <a:pt x="15524" y="15865"/>
                </a:lnTo>
                <a:lnTo>
                  <a:pt x="15695" y="15767"/>
                </a:lnTo>
                <a:lnTo>
                  <a:pt x="15889" y="15597"/>
                </a:lnTo>
                <a:lnTo>
                  <a:pt x="16060" y="15427"/>
                </a:lnTo>
                <a:lnTo>
                  <a:pt x="16352" y="15694"/>
                </a:lnTo>
                <a:lnTo>
                  <a:pt x="16181" y="15865"/>
                </a:lnTo>
                <a:lnTo>
                  <a:pt x="16011" y="16011"/>
                </a:lnTo>
                <a:lnTo>
                  <a:pt x="15743" y="16157"/>
                </a:lnTo>
                <a:lnTo>
                  <a:pt x="15500" y="16303"/>
                </a:lnTo>
                <a:lnTo>
                  <a:pt x="15451" y="16327"/>
                </a:lnTo>
                <a:lnTo>
                  <a:pt x="15451" y="16376"/>
                </a:lnTo>
                <a:lnTo>
                  <a:pt x="15476" y="16400"/>
                </a:lnTo>
                <a:lnTo>
                  <a:pt x="15524" y="16424"/>
                </a:lnTo>
                <a:lnTo>
                  <a:pt x="15719" y="16424"/>
                </a:lnTo>
                <a:lnTo>
                  <a:pt x="15889" y="16449"/>
                </a:lnTo>
                <a:lnTo>
                  <a:pt x="16084" y="16400"/>
                </a:lnTo>
                <a:lnTo>
                  <a:pt x="16254" y="16351"/>
                </a:lnTo>
                <a:lnTo>
                  <a:pt x="16400" y="16254"/>
                </a:lnTo>
                <a:lnTo>
                  <a:pt x="16522" y="16157"/>
                </a:lnTo>
                <a:lnTo>
                  <a:pt x="16498" y="16254"/>
                </a:lnTo>
                <a:lnTo>
                  <a:pt x="16400" y="16376"/>
                </a:lnTo>
                <a:lnTo>
                  <a:pt x="16279" y="16473"/>
                </a:lnTo>
                <a:lnTo>
                  <a:pt x="16133" y="16546"/>
                </a:lnTo>
                <a:lnTo>
                  <a:pt x="15987" y="16619"/>
                </a:lnTo>
                <a:lnTo>
                  <a:pt x="15768" y="16668"/>
                </a:lnTo>
                <a:lnTo>
                  <a:pt x="15451" y="16765"/>
                </a:lnTo>
                <a:lnTo>
                  <a:pt x="15427" y="16692"/>
                </a:lnTo>
                <a:lnTo>
                  <a:pt x="15354" y="16643"/>
                </a:lnTo>
                <a:lnTo>
                  <a:pt x="15208" y="16546"/>
                </a:lnTo>
                <a:lnTo>
                  <a:pt x="15062" y="16400"/>
                </a:lnTo>
                <a:lnTo>
                  <a:pt x="14770" y="16132"/>
                </a:lnTo>
                <a:lnTo>
                  <a:pt x="14016" y="15524"/>
                </a:lnTo>
                <a:lnTo>
                  <a:pt x="13626" y="15159"/>
                </a:lnTo>
                <a:lnTo>
                  <a:pt x="13261" y="14770"/>
                </a:lnTo>
                <a:lnTo>
                  <a:pt x="12556" y="14016"/>
                </a:lnTo>
                <a:lnTo>
                  <a:pt x="12312" y="13772"/>
                </a:lnTo>
                <a:lnTo>
                  <a:pt x="12045" y="13553"/>
                </a:lnTo>
                <a:lnTo>
                  <a:pt x="11485" y="13140"/>
                </a:lnTo>
                <a:lnTo>
                  <a:pt x="11217" y="12921"/>
                </a:lnTo>
                <a:lnTo>
                  <a:pt x="10950" y="12677"/>
                </a:lnTo>
                <a:lnTo>
                  <a:pt x="10707" y="12434"/>
                </a:lnTo>
                <a:lnTo>
                  <a:pt x="10512" y="12166"/>
                </a:lnTo>
                <a:lnTo>
                  <a:pt x="10828" y="11899"/>
                </a:lnTo>
                <a:lnTo>
                  <a:pt x="11144" y="11607"/>
                </a:lnTo>
                <a:lnTo>
                  <a:pt x="11436" y="11315"/>
                </a:lnTo>
                <a:lnTo>
                  <a:pt x="11704" y="10998"/>
                </a:lnTo>
                <a:close/>
                <a:moveTo>
                  <a:pt x="6400" y="0"/>
                </a:moveTo>
                <a:lnTo>
                  <a:pt x="5791" y="73"/>
                </a:lnTo>
                <a:lnTo>
                  <a:pt x="5183" y="170"/>
                </a:lnTo>
                <a:lnTo>
                  <a:pt x="4891" y="243"/>
                </a:lnTo>
                <a:lnTo>
                  <a:pt x="4599" y="341"/>
                </a:lnTo>
                <a:lnTo>
                  <a:pt x="4258" y="462"/>
                </a:lnTo>
                <a:lnTo>
                  <a:pt x="3918" y="633"/>
                </a:lnTo>
                <a:lnTo>
                  <a:pt x="3601" y="827"/>
                </a:lnTo>
                <a:lnTo>
                  <a:pt x="3285" y="1022"/>
                </a:lnTo>
                <a:lnTo>
                  <a:pt x="2969" y="1241"/>
                </a:lnTo>
                <a:lnTo>
                  <a:pt x="2677" y="1484"/>
                </a:lnTo>
                <a:lnTo>
                  <a:pt x="2117" y="1971"/>
                </a:lnTo>
                <a:lnTo>
                  <a:pt x="1850" y="2239"/>
                </a:lnTo>
                <a:lnTo>
                  <a:pt x="1606" y="2506"/>
                </a:lnTo>
                <a:lnTo>
                  <a:pt x="1363" y="2798"/>
                </a:lnTo>
                <a:lnTo>
                  <a:pt x="1168" y="3066"/>
                </a:lnTo>
                <a:lnTo>
                  <a:pt x="949" y="3382"/>
                </a:lnTo>
                <a:lnTo>
                  <a:pt x="779" y="3699"/>
                </a:lnTo>
                <a:lnTo>
                  <a:pt x="609" y="4015"/>
                </a:lnTo>
                <a:lnTo>
                  <a:pt x="463" y="4331"/>
                </a:lnTo>
                <a:lnTo>
                  <a:pt x="341" y="4672"/>
                </a:lnTo>
                <a:lnTo>
                  <a:pt x="244" y="5013"/>
                </a:lnTo>
                <a:lnTo>
                  <a:pt x="146" y="5353"/>
                </a:lnTo>
                <a:lnTo>
                  <a:pt x="73" y="5718"/>
                </a:lnTo>
                <a:lnTo>
                  <a:pt x="25" y="6083"/>
                </a:lnTo>
                <a:lnTo>
                  <a:pt x="0" y="6448"/>
                </a:lnTo>
                <a:lnTo>
                  <a:pt x="0" y="6813"/>
                </a:lnTo>
                <a:lnTo>
                  <a:pt x="0" y="7203"/>
                </a:lnTo>
                <a:lnTo>
                  <a:pt x="25" y="7592"/>
                </a:lnTo>
                <a:lnTo>
                  <a:pt x="98" y="7957"/>
                </a:lnTo>
                <a:lnTo>
                  <a:pt x="171" y="8346"/>
                </a:lnTo>
                <a:lnTo>
                  <a:pt x="268" y="8711"/>
                </a:lnTo>
                <a:lnTo>
                  <a:pt x="390" y="9076"/>
                </a:lnTo>
                <a:lnTo>
                  <a:pt x="560" y="9441"/>
                </a:lnTo>
                <a:lnTo>
                  <a:pt x="730" y="9782"/>
                </a:lnTo>
                <a:lnTo>
                  <a:pt x="925" y="10122"/>
                </a:lnTo>
                <a:lnTo>
                  <a:pt x="1168" y="10463"/>
                </a:lnTo>
                <a:lnTo>
                  <a:pt x="1436" y="10804"/>
                </a:lnTo>
                <a:lnTo>
                  <a:pt x="1704" y="11096"/>
                </a:lnTo>
                <a:lnTo>
                  <a:pt x="1996" y="11363"/>
                </a:lnTo>
                <a:lnTo>
                  <a:pt x="2312" y="11631"/>
                </a:lnTo>
                <a:lnTo>
                  <a:pt x="2628" y="11874"/>
                </a:lnTo>
                <a:lnTo>
                  <a:pt x="2969" y="12093"/>
                </a:lnTo>
                <a:lnTo>
                  <a:pt x="3334" y="12312"/>
                </a:lnTo>
                <a:lnTo>
                  <a:pt x="3747" y="12531"/>
                </a:lnTo>
                <a:lnTo>
                  <a:pt x="4161" y="12726"/>
                </a:lnTo>
                <a:lnTo>
                  <a:pt x="4599" y="12896"/>
                </a:lnTo>
                <a:lnTo>
                  <a:pt x="5037" y="13042"/>
                </a:lnTo>
                <a:lnTo>
                  <a:pt x="5499" y="13164"/>
                </a:lnTo>
                <a:lnTo>
                  <a:pt x="5937" y="13261"/>
                </a:lnTo>
                <a:lnTo>
                  <a:pt x="6400" y="13334"/>
                </a:lnTo>
                <a:lnTo>
                  <a:pt x="6862" y="13383"/>
                </a:lnTo>
                <a:lnTo>
                  <a:pt x="7324" y="13383"/>
                </a:lnTo>
                <a:lnTo>
                  <a:pt x="7787" y="13334"/>
                </a:lnTo>
                <a:lnTo>
                  <a:pt x="8225" y="13261"/>
                </a:lnTo>
                <a:lnTo>
                  <a:pt x="8638" y="13140"/>
                </a:lnTo>
                <a:lnTo>
                  <a:pt x="9076" y="12994"/>
                </a:lnTo>
                <a:lnTo>
                  <a:pt x="9466" y="12799"/>
                </a:lnTo>
                <a:lnTo>
                  <a:pt x="9879" y="12580"/>
                </a:lnTo>
                <a:lnTo>
                  <a:pt x="10269" y="12337"/>
                </a:lnTo>
                <a:lnTo>
                  <a:pt x="10293" y="12458"/>
                </a:lnTo>
                <a:lnTo>
                  <a:pt x="10317" y="12580"/>
                </a:lnTo>
                <a:lnTo>
                  <a:pt x="10390" y="12677"/>
                </a:lnTo>
                <a:lnTo>
                  <a:pt x="10463" y="12775"/>
                </a:lnTo>
                <a:lnTo>
                  <a:pt x="10658" y="12969"/>
                </a:lnTo>
                <a:lnTo>
                  <a:pt x="10828" y="13140"/>
                </a:lnTo>
                <a:lnTo>
                  <a:pt x="11120" y="13383"/>
                </a:lnTo>
                <a:lnTo>
                  <a:pt x="11412" y="13602"/>
                </a:lnTo>
                <a:lnTo>
                  <a:pt x="11704" y="13845"/>
                </a:lnTo>
                <a:lnTo>
                  <a:pt x="11972" y="14089"/>
                </a:lnTo>
                <a:lnTo>
                  <a:pt x="12385" y="14502"/>
                </a:lnTo>
                <a:lnTo>
                  <a:pt x="12775" y="14916"/>
                </a:lnTo>
                <a:lnTo>
                  <a:pt x="13164" y="15330"/>
                </a:lnTo>
                <a:lnTo>
                  <a:pt x="13553" y="15743"/>
                </a:lnTo>
                <a:lnTo>
                  <a:pt x="13772" y="15938"/>
                </a:lnTo>
                <a:lnTo>
                  <a:pt x="13991" y="16132"/>
                </a:lnTo>
                <a:lnTo>
                  <a:pt x="14429" y="16473"/>
                </a:lnTo>
                <a:lnTo>
                  <a:pt x="14770" y="16789"/>
                </a:lnTo>
                <a:lnTo>
                  <a:pt x="14916" y="16935"/>
                </a:lnTo>
                <a:lnTo>
                  <a:pt x="15111" y="17081"/>
                </a:lnTo>
                <a:lnTo>
                  <a:pt x="15184" y="17106"/>
                </a:lnTo>
                <a:lnTo>
                  <a:pt x="15232" y="17154"/>
                </a:lnTo>
                <a:lnTo>
                  <a:pt x="15305" y="17179"/>
                </a:lnTo>
                <a:lnTo>
                  <a:pt x="15451" y="17227"/>
                </a:lnTo>
                <a:lnTo>
                  <a:pt x="15646" y="17203"/>
                </a:lnTo>
                <a:lnTo>
                  <a:pt x="15841" y="17179"/>
                </a:lnTo>
                <a:lnTo>
                  <a:pt x="16035" y="17106"/>
                </a:lnTo>
                <a:lnTo>
                  <a:pt x="16230" y="17033"/>
                </a:lnTo>
                <a:lnTo>
                  <a:pt x="16498" y="16911"/>
                </a:lnTo>
                <a:lnTo>
                  <a:pt x="16644" y="16814"/>
                </a:lnTo>
                <a:lnTo>
                  <a:pt x="16790" y="16668"/>
                </a:lnTo>
                <a:lnTo>
                  <a:pt x="16911" y="16497"/>
                </a:lnTo>
                <a:lnTo>
                  <a:pt x="17009" y="16327"/>
                </a:lnTo>
                <a:lnTo>
                  <a:pt x="17057" y="16132"/>
                </a:lnTo>
                <a:lnTo>
                  <a:pt x="17082" y="15938"/>
                </a:lnTo>
                <a:lnTo>
                  <a:pt x="17057" y="15840"/>
                </a:lnTo>
                <a:lnTo>
                  <a:pt x="17033" y="15767"/>
                </a:lnTo>
                <a:lnTo>
                  <a:pt x="17009" y="15670"/>
                </a:lnTo>
                <a:lnTo>
                  <a:pt x="16936" y="15597"/>
                </a:lnTo>
                <a:lnTo>
                  <a:pt x="16887" y="15549"/>
                </a:lnTo>
                <a:lnTo>
                  <a:pt x="15500" y="14137"/>
                </a:lnTo>
                <a:lnTo>
                  <a:pt x="14819" y="13432"/>
                </a:lnTo>
                <a:lnTo>
                  <a:pt x="14089" y="12750"/>
                </a:lnTo>
                <a:lnTo>
                  <a:pt x="13772" y="12458"/>
                </a:lnTo>
                <a:lnTo>
                  <a:pt x="13432" y="12166"/>
                </a:lnTo>
                <a:lnTo>
                  <a:pt x="13091" y="11899"/>
                </a:lnTo>
                <a:lnTo>
                  <a:pt x="12775" y="11582"/>
                </a:lnTo>
                <a:lnTo>
                  <a:pt x="12580" y="11363"/>
                </a:lnTo>
                <a:lnTo>
                  <a:pt x="12385" y="11120"/>
                </a:lnTo>
                <a:lnTo>
                  <a:pt x="12166" y="10901"/>
                </a:lnTo>
                <a:lnTo>
                  <a:pt x="12045" y="10804"/>
                </a:lnTo>
                <a:lnTo>
                  <a:pt x="11923" y="10706"/>
                </a:lnTo>
                <a:lnTo>
                  <a:pt x="12191" y="10317"/>
                </a:lnTo>
                <a:lnTo>
                  <a:pt x="12434" y="9928"/>
                </a:lnTo>
                <a:lnTo>
                  <a:pt x="12629" y="9490"/>
                </a:lnTo>
                <a:lnTo>
                  <a:pt x="12823" y="9076"/>
                </a:lnTo>
                <a:lnTo>
                  <a:pt x="12969" y="8614"/>
                </a:lnTo>
                <a:lnTo>
                  <a:pt x="13091" y="8176"/>
                </a:lnTo>
                <a:lnTo>
                  <a:pt x="13188" y="7713"/>
                </a:lnTo>
                <a:lnTo>
                  <a:pt x="13261" y="7251"/>
                </a:lnTo>
                <a:lnTo>
                  <a:pt x="13310" y="6765"/>
                </a:lnTo>
                <a:lnTo>
                  <a:pt x="13310" y="6302"/>
                </a:lnTo>
                <a:lnTo>
                  <a:pt x="13286" y="5840"/>
                </a:lnTo>
                <a:lnTo>
                  <a:pt x="13237" y="5378"/>
                </a:lnTo>
                <a:lnTo>
                  <a:pt x="13164" y="4891"/>
                </a:lnTo>
                <a:lnTo>
                  <a:pt x="13042" y="4453"/>
                </a:lnTo>
                <a:lnTo>
                  <a:pt x="12896" y="3991"/>
                </a:lnTo>
                <a:lnTo>
                  <a:pt x="12702" y="3553"/>
                </a:lnTo>
                <a:lnTo>
                  <a:pt x="12580" y="3285"/>
                </a:lnTo>
                <a:lnTo>
                  <a:pt x="12434" y="3042"/>
                </a:lnTo>
                <a:lnTo>
                  <a:pt x="12288" y="2798"/>
                </a:lnTo>
                <a:lnTo>
                  <a:pt x="12118" y="2579"/>
                </a:lnTo>
                <a:lnTo>
                  <a:pt x="11753" y="2141"/>
                </a:lnTo>
                <a:lnTo>
                  <a:pt x="11339" y="1728"/>
                </a:lnTo>
                <a:lnTo>
                  <a:pt x="10901" y="1363"/>
                </a:lnTo>
                <a:lnTo>
                  <a:pt x="10415" y="1046"/>
                </a:lnTo>
                <a:lnTo>
                  <a:pt x="9904" y="754"/>
                </a:lnTo>
                <a:lnTo>
                  <a:pt x="9368" y="511"/>
                </a:lnTo>
                <a:lnTo>
                  <a:pt x="8784" y="316"/>
                </a:lnTo>
                <a:lnTo>
                  <a:pt x="8225" y="170"/>
                </a:lnTo>
                <a:lnTo>
                  <a:pt x="7616" y="73"/>
                </a:lnTo>
                <a:lnTo>
                  <a:pt x="7008" y="0"/>
                </a:lnTo>
                <a:close/>
              </a:path>
            </a:pathLst>
          </a:custGeom>
          <a:solidFill>
            <a:schemeClr val="dk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38" name="Google Shape;707;p41"/>
          <p:cNvGrpSpPr/>
          <p:nvPr/>
        </p:nvGrpSpPr>
        <p:grpSpPr>
          <a:xfrm>
            <a:off x="8585200" y="3997286"/>
            <a:ext cx="2266355" cy="1661833"/>
            <a:chOff x="2595501" y="3253725"/>
            <a:chExt cx="720141" cy="580739"/>
          </a:xfrm>
        </p:grpSpPr>
        <p:sp>
          <p:nvSpPr>
            <p:cNvPr id="40" name="Google Shape;708;p41"/>
            <p:cNvSpPr/>
            <p:nvPr/>
          </p:nvSpPr>
          <p:spPr>
            <a:xfrm>
              <a:off x="2595501" y="3269807"/>
              <a:ext cx="416349" cy="273171"/>
            </a:xfrm>
            <a:custGeom>
              <a:avLst/>
              <a:gdLst/>
              <a:ahLst/>
              <a:cxnLst/>
              <a:rect l="l" t="t" r="r" b="b"/>
              <a:pathLst>
                <a:path w="722" h="472" extrusionOk="0">
                  <a:moveTo>
                    <a:pt x="250" y="429"/>
                  </a:moveTo>
                  <a:cubicBezTo>
                    <a:pt x="250" y="413"/>
                    <a:pt x="258" y="398"/>
                    <a:pt x="270" y="388"/>
                  </a:cubicBezTo>
                  <a:cubicBezTo>
                    <a:pt x="289" y="372"/>
                    <a:pt x="315" y="364"/>
                    <a:pt x="344" y="365"/>
                  </a:cubicBezTo>
                  <a:cubicBezTo>
                    <a:pt x="373" y="364"/>
                    <a:pt x="399" y="372"/>
                    <a:pt x="418" y="388"/>
                  </a:cubicBezTo>
                  <a:cubicBezTo>
                    <a:pt x="431" y="398"/>
                    <a:pt x="438" y="413"/>
                    <a:pt x="438" y="429"/>
                  </a:cubicBezTo>
                  <a:cubicBezTo>
                    <a:pt x="438" y="446"/>
                    <a:pt x="430" y="461"/>
                    <a:pt x="417" y="472"/>
                  </a:cubicBezTo>
                  <a:cubicBezTo>
                    <a:pt x="598" y="472"/>
                    <a:pt x="598" y="472"/>
                    <a:pt x="598" y="472"/>
                  </a:cubicBezTo>
                  <a:cubicBezTo>
                    <a:pt x="606" y="472"/>
                    <a:pt x="613" y="465"/>
                    <a:pt x="613" y="457"/>
                  </a:cubicBezTo>
                  <a:cubicBezTo>
                    <a:pt x="613" y="457"/>
                    <a:pt x="613" y="457"/>
                    <a:pt x="613" y="457"/>
                  </a:cubicBezTo>
                  <a:cubicBezTo>
                    <a:pt x="613" y="457"/>
                    <a:pt x="613" y="457"/>
                    <a:pt x="613" y="457"/>
                  </a:cubicBezTo>
                  <a:cubicBezTo>
                    <a:pt x="613" y="320"/>
                    <a:pt x="613" y="320"/>
                    <a:pt x="613" y="320"/>
                  </a:cubicBezTo>
                  <a:cubicBezTo>
                    <a:pt x="615" y="315"/>
                    <a:pt x="619" y="310"/>
                    <a:pt x="624" y="310"/>
                  </a:cubicBezTo>
                  <a:cubicBezTo>
                    <a:pt x="635" y="310"/>
                    <a:pt x="645" y="310"/>
                    <a:pt x="651" y="319"/>
                  </a:cubicBezTo>
                  <a:cubicBezTo>
                    <a:pt x="655" y="325"/>
                    <a:pt x="657" y="331"/>
                    <a:pt x="661" y="336"/>
                  </a:cubicBezTo>
                  <a:cubicBezTo>
                    <a:pt x="671" y="353"/>
                    <a:pt x="693" y="355"/>
                    <a:pt x="705" y="340"/>
                  </a:cubicBezTo>
                  <a:cubicBezTo>
                    <a:pt x="718" y="325"/>
                    <a:pt x="722" y="303"/>
                    <a:pt x="722" y="283"/>
                  </a:cubicBezTo>
                  <a:cubicBezTo>
                    <a:pt x="722" y="263"/>
                    <a:pt x="718" y="242"/>
                    <a:pt x="705" y="227"/>
                  </a:cubicBezTo>
                  <a:cubicBezTo>
                    <a:pt x="693" y="211"/>
                    <a:pt x="671" y="213"/>
                    <a:pt x="661" y="230"/>
                  </a:cubicBezTo>
                  <a:cubicBezTo>
                    <a:pt x="657" y="235"/>
                    <a:pt x="655" y="241"/>
                    <a:pt x="651" y="247"/>
                  </a:cubicBezTo>
                  <a:cubicBezTo>
                    <a:pt x="645" y="256"/>
                    <a:pt x="635" y="256"/>
                    <a:pt x="624" y="256"/>
                  </a:cubicBezTo>
                  <a:cubicBezTo>
                    <a:pt x="619" y="256"/>
                    <a:pt x="615" y="251"/>
                    <a:pt x="613" y="247"/>
                  </a:cubicBezTo>
                  <a:cubicBezTo>
                    <a:pt x="613" y="104"/>
                    <a:pt x="613" y="104"/>
                    <a:pt x="613" y="104"/>
                  </a:cubicBezTo>
                  <a:cubicBezTo>
                    <a:pt x="613" y="96"/>
                    <a:pt x="609" y="89"/>
                    <a:pt x="602" y="85"/>
                  </a:cubicBezTo>
                  <a:cubicBezTo>
                    <a:pt x="600" y="84"/>
                    <a:pt x="598" y="82"/>
                    <a:pt x="595" y="81"/>
                  </a:cubicBezTo>
                  <a:cubicBezTo>
                    <a:pt x="520" y="29"/>
                    <a:pt x="437" y="0"/>
                    <a:pt x="345" y="0"/>
                  </a:cubicBezTo>
                  <a:cubicBezTo>
                    <a:pt x="147" y="9"/>
                    <a:pt x="0" y="128"/>
                    <a:pt x="25" y="345"/>
                  </a:cubicBezTo>
                  <a:cubicBezTo>
                    <a:pt x="29" y="385"/>
                    <a:pt x="37" y="424"/>
                    <a:pt x="49" y="461"/>
                  </a:cubicBezTo>
                  <a:cubicBezTo>
                    <a:pt x="52" y="467"/>
                    <a:pt x="57" y="472"/>
                    <a:pt x="64" y="472"/>
                  </a:cubicBezTo>
                  <a:cubicBezTo>
                    <a:pt x="271" y="472"/>
                    <a:pt x="271" y="472"/>
                    <a:pt x="271" y="472"/>
                  </a:cubicBezTo>
                  <a:cubicBezTo>
                    <a:pt x="258" y="461"/>
                    <a:pt x="250" y="446"/>
                    <a:pt x="250" y="429"/>
                  </a:cubicBez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tx1"/>
              </a:solidFill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" name="Google Shape;709;p41"/>
            <p:cNvSpPr/>
            <p:nvPr/>
          </p:nvSpPr>
          <p:spPr>
            <a:xfrm>
              <a:off x="2903528" y="3560177"/>
              <a:ext cx="374670" cy="273617"/>
            </a:xfrm>
            <a:custGeom>
              <a:avLst/>
              <a:gdLst/>
              <a:ahLst/>
              <a:cxnLst/>
              <a:rect l="l" t="t" r="r" b="b"/>
              <a:pathLst>
                <a:path w="650" h="473" extrusionOk="0">
                  <a:moveTo>
                    <a:pt x="455" y="42"/>
                  </a:moveTo>
                  <a:cubicBezTo>
                    <a:pt x="455" y="58"/>
                    <a:pt x="448" y="74"/>
                    <a:pt x="435" y="84"/>
                  </a:cubicBezTo>
                  <a:cubicBezTo>
                    <a:pt x="417" y="100"/>
                    <a:pt x="391" y="108"/>
                    <a:pt x="361" y="107"/>
                  </a:cubicBezTo>
                  <a:cubicBezTo>
                    <a:pt x="332" y="108"/>
                    <a:pt x="306" y="100"/>
                    <a:pt x="288" y="84"/>
                  </a:cubicBezTo>
                  <a:cubicBezTo>
                    <a:pt x="275" y="74"/>
                    <a:pt x="268" y="58"/>
                    <a:pt x="268" y="42"/>
                  </a:cubicBezTo>
                  <a:cubicBezTo>
                    <a:pt x="268" y="26"/>
                    <a:pt x="275" y="11"/>
                    <a:pt x="289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16" y="0"/>
                    <a:pt x="109" y="7"/>
                    <a:pt x="109" y="15"/>
                  </a:cubicBezTo>
                  <a:cubicBezTo>
                    <a:pt x="109" y="181"/>
                    <a:pt x="109" y="181"/>
                    <a:pt x="109" y="181"/>
                  </a:cubicBezTo>
                  <a:cubicBezTo>
                    <a:pt x="107" y="186"/>
                    <a:pt x="104" y="190"/>
                    <a:pt x="98" y="191"/>
                  </a:cubicBezTo>
                  <a:cubicBezTo>
                    <a:pt x="88" y="191"/>
                    <a:pt x="78" y="191"/>
                    <a:pt x="71" y="181"/>
                  </a:cubicBezTo>
                  <a:cubicBezTo>
                    <a:pt x="68" y="176"/>
                    <a:pt x="65" y="170"/>
                    <a:pt x="62" y="164"/>
                  </a:cubicBezTo>
                  <a:cubicBezTo>
                    <a:pt x="51" y="148"/>
                    <a:pt x="30" y="146"/>
                    <a:pt x="17" y="161"/>
                  </a:cubicBezTo>
                  <a:cubicBezTo>
                    <a:pt x="5" y="176"/>
                    <a:pt x="0" y="198"/>
                    <a:pt x="1" y="218"/>
                  </a:cubicBezTo>
                  <a:cubicBezTo>
                    <a:pt x="0" y="238"/>
                    <a:pt x="5" y="259"/>
                    <a:pt x="17" y="274"/>
                  </a:cubicBezTo>
                  <a:cubicBezTo>
                    <a:pt x="30" y="289"/>
                    <a:pt x="51" y="288"/>
                    <a:pt x="62" y="271"/>
                  </a:cubicBezTo>
                  <a:cubicBezTo>
                    <a:pt x="65" y="265"/>
                    <a:pt x="68" y="259"/>
                    <a:pt x="71" y="254"/>
                  </a:cubicBezTo>
                  <a:cubicBezTo>
                    <a:pt x="78" y="244"/>
                    <a:pt x="88" y="244"/>
                    <a:pt x="98" y="245"/>
                  </a:cubicBezTo>
                  <a:cubicBezTo>
                    <a:pt x="104" y="245"/>
                    <a:pt x="107" y="250"/>
                    <a:pt x="109" y="254"/>
                  </a:cubicBezTo>
                  <a:cubicBezTo>
                    <a:pt x="109" y="457"/>
                    <a:pt x="109" y="457"/>
                    <a:pt x="109" y="457"/>
                  </a:cubicBezTo>
                  <a:cubicBezTo>
                    <a:pt x="109" y="466"/>
                    <a:pt x="118" y="473"/>
                    <a:pt x="127" y="470"/>
                  </a:cubicBezTo>
                  <a:cubicBezTo>
                    <a:pt x="132" y="468"/>
                    <a:pt x="138" y="466"/>
                    <a:pt x="143" y="464"/>
                  </a:cubicBezTo>
                  <a:cubicBezTo>
                    <a:pt x="264" y="406"/>
                    <a:pt x="377" y="334"/>
                    <a:pt x="477" y="243"/>
                  </a:cubicBezTo>
                  <a:cubicBezTo>
                    <a:pt x="549" y="178"/>
                    <a:pt x="607" y="105"/>
                    <a:pt x="646" y="21"/>
                  </a:cubicBezTo>
                  <a:cubicBezTo>
                    <a:pt x="650" y="11"/>
                    <a:pt x="643" y="0"/>
                    <a:pt x="632" y="0"/>
                  </a:cubicBezTo>
                  <a:cubicBezTo>
                    <a:pt x="434" y="0"/>
                    <a:pt x="434" y="0"/>
                    <a:pt x="434" y="0"/>
                  </a:cubicBezTo>
                  <a:cubicBezTo>
                    <a:pt x="448" y="11"/>
                    <a:pt x="455" y="26"/>
                    <a:pt x="455" y="42"/>
                  </a:cubicBezTo>
                  <a:close/>
                </a:path>
              </a:pathLst>
            </a:custGeom>
            <a:solidFill>
              <a:schemeClr val="accent3"/>
            </a:solidFill>
            <a:ln>
              <a:solidFill>
                <a:schemeClr val="tx1"/>
              </a:solidFill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" name="Google Shape;710;p41"/>
            <p:cNvSpPr/>
            <p:nvPr/>
          </p:nvSpPr>
          <p:spPr>
            <a:xfrm>
              <a:off x="2635397" y="3497189"/>
              <a:ext cx="313600" cy="337276"/>
            </a:xfrm>
            <a:custGeom>
              <a:avLst/>
              <a:gdLst/>
              <a:ahLst/>
              <a:cxnLst/>
              <a:rect l="l" t="t" r="r" b="b"/>
              <a:pathLst>
                <a:path w="544" h="583" extrusionOk="0">
                  <a:moveTo>
                    <a:pt x="502" y="420"/>
                  </a:moveTo>
                  <a:cubicBezTo>
                    <a:pt x="486" y="420"/>
                    <a:pt x="471" y="413"/>
                    <a:pt x="460" y="400"/>
                  </a:cubicBezTo>
                  <a:cubicBezTo>
                    <a:pt x="445" y="382"/>
                    <a:pt x="436" y="356"/>
                    <a:pt x="437" y="327"/>
                  </a:cubicBezTo>
                  <a:cubicBezTo>
                    <a:pt x="436" y="298"/>
                    <a:pt x="445" y="271"/>
                    <a:pt x="460" y="253"/>
                  </a:cubicBezTo>
                  <a:cubicBezTo>
                    <a:pt x="471" y="240"/>
                    <a:pt x="486" y="233"/>
                    <a:pt x="502" y="233"/>
                  </a:cubicBezTo>
                  <a:cubicBezTo>
                    <a:pt x="518" y="233"/>
                    <a:pt x="534" y="241"/>
                    <a:pt x="544" y="254"/>
                  </a:cubicBezTo>
                  <a:cubicBezTo>
                    <a:pt x="544" y="124"/>
                    <a:pt x="544" y="124"/>
                    <a:pt x="544" y="124"/>
                  </a:cubicBezTo>
                  <a:cubicBezTo>
                    <a:pt x="544" y="116"/>
                    <a:pt x="537" y="109"/>
                    <a:pt x="529" y="109"/>
                  </a:cubicBezTo>
                  <a:cubicBezTo>
                    <a:pt x="312" y="109"/>
                    <a:pt x="312" y="109"/>
                    <a:pt x="312" y="109"/>
                  </a:cubicBezTo>
                  <a:cubicBezTo>
                    <a:pt x="307" y="107"/>
                    <a:pt x="302" y="103"/>
                    <a:pt x="302" y="98"/>
                  </a:cubicBezTo>
                  <a:cubicBezTo>
                    <a:pt x="302" y="87"/>
                    <a:pt x="302" y="78"/>
                    <a:pt x="311" y="71"/>
                  </a:cubicBezTo>
                  <a:cubicBezTo>
                    <a:pt x="317" y="67"/>
                    <a:pt x="323" y="65"/>
                    <a:pt x="328" y="61"/>
                  </a:cubicBezTo>
                  <a:cubicBezTo>
                    <a:pt x="345" y="51"/>
                    <a:pt x="347" y="30"/>
                    <a:pt x="332" y="17"/>
                  </a:cubicBezTo>
                  <a:cubicBezTo>
                    <a:pt x="317" y="5"/>
                    <a:pt x="295" y="0"/>
                    <a:pt x="275" y="0"/>
                  </a:cubicBezTo>
                  <a:cubicBezTo>
                    <a:pt x="255" y="0"/>
                    <a:pt x="234" y="5"/>
                    <a:pt x="219" y="17"/>
                  </a:cubicBezTo>
                  <a:cubicBezTo>
                    <a:pt x="203" y="30"/>
                    <a:pt x="205" y="51"/>
                    <a:pt x="222" y="61"/>
                  </a:cubicBezTo>
                  <a:cubicBezTo>
                    <a:pt x="227" y="65"/>
                    <a:pt x="233" y="67"/>
                    <a:pt x="239" y="71"/>
                  </a:cubicBezTo>
                  <a:cubicBezTo>
                    <a:pt x="248" y="78"/>
                    <a:pt x="248" y="87"/>
                    <a:pt x="248" y="98"/>
                  </a:cubicBezTo>
                  <a:cubicBezTo>
                    <a:pt x="248" y="103"/>
                    <a:pt x="243" y="107"/>
                    <a:pt x="239" y="109"/>
                  </a:cubicBezTo>
                  <a:cubicBezTo>
                    <a:pt x="19" y="109"/>
                    <a:pt x="19" y="109"/>
                    <a:pt x="19" y="109"/>
                  </a:cubicBezTo>
                  <a:cubicBezTo>
                    <a:pt x="8" y="109"/>
                    <a:pt x="0" y="120"/>
                    <a:pt x="5" y="130"/>
                  </a:cubicBezTo>
                  <a:cubicBezTo>
                    <a:pt x="18" y="157"/>
                    <a:pt x="32" y="183"/>
                    <a:pt x="50" y="208"/>
                  </a:cubicBezTo>
                  <a:cubicBezTo>
                    <a:pt x="170" y="381"/>
                    <a:pt x="338" y="493"/>
                    <a:pt x="525" y="579"/>
                  </a:cubicBezTo>
                  <a:cubicBezTo>
                    <a:pt x="525" y="579"/>
                    <a:pt x="525" y="579"/>
                    <a:pt x="525" y="579"/>
                  </a:cubicBezTo>
                  <a:cubicBezTo>
                    <a:pt x="534" y="583"/>
                    <a:pt x="544" y="576"/>
                    <a:pt x="544" y="567"/>
                  </a:cubicBezTo>
                  <a:cubicBezTo>
                    <a:pt x="544" y="399"/>
                    <a:pt x="544" y="399"/>
                    <a:pt x="544" y="399"/>
                  </a:cubicBezTo>
                  <a:cubicBezTo>
                    <a:pt x="534" y="413"/>
                    <a:pt x="518" y="420"/>
                    <a:pt x="502" y="420"/>
                  </a:cubicBezTo>
                  <a:close/>
                </a:path>
              </a:pathLst>
            </a:custGeom>
            <a:solidFill>
              <a:schemeClr val="accent4"/>
            </a:solidFill>
            <a:ln>
              <a:solidFill>
                <a:schemeClr val="tx1"/>
              </a:solidFill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" name="Google Shape;711;p41"/>
            <p:cNvSpPr/>
            <p:nvPr/>
          </p:nvSpPr>
          <p:spPr>
            <a:xfrm>
              <a:off x="2966382" y="3253725"/>
              <a:ext cx="349261" cy="352241"/>
            </a:xfrm>
            <a:custGeom>
              <a:avLst/>
              <a:gdLst/>
              <a:ahLst/>
              <a:cxnLst/>
              <a:rect l="l" t="t" r="r" b="b"/>
              <a:pathLst>
                <a:path w="606" h="609" extrusionOk="0">
                  <a:moveTo>
                    <a:pt x="397" y="49"/>
                  </a:moveTo>
                  <a:cubicBezTo>
                    <a:pt x="262" y="0"/>
                    <a:pt x="137" y="39"/>
                    <a:pt x="19" y="109"/>
                  </a:cubicBezTo>
                  <a:cubicBezTo>
                    <a:pt x="17" y="110"/>
                    <a:pt x="15" y="111"/>
                    <a:pt x="13" y="112"/>
                  </a:cubicBezTo>
                  <a:cubicBezTo>
                    <a:pt x="5" y="116"/>
                    <a:pt x="0" y="124"/>
                    <a:pt x="0" y="132"/>
                  </a:cubicBezTo>
                  <a:cubicBezTo>
                    <a:pt x="0" y="238"/>
                    <a:pt x="0" y="238"/>
                    <a:pt x="0" y="238"/>
                  </a:cubicBezTo>
                  <a:cubicBezTo>
                    <a:pt x="11" y="225"/>
                    <a:pt x="26" y="217"/>
                    <a:pt x="43" y="217"/>
                  </a:cubicBezTo>
                  <a:cubicBezTo>
                    <a:pt x="59" y="217"/>
                    <a:pt x="74" y="225"/>
                    <a:pt x="85" y="237"/>
                  </a:cubicBezTo>
                  <a:cubicBezTo>
                    <a:pt x="100" y="256"/>
                    <a:pt x="108" y="282"/>
                    <a:pt x="108" y="311"/>
                  </a:cubicBezTo>
                  <a:cubicBezTo>
                    <a:pt x="108" y="340"/>
                    <a:pt x="100" y="366"/>
                    <a:pt x="85" y="385"/>
                  </a:cubicBezTo>
                  <a:cubicBezTo>
                    <a:pt x="74" y="398"/>
                    <a:pt x="59" y="405"/>
                    <a:pt x="43" y="405"/>
                  </a:cubicBezTo>
                  <a:cubicBezTo>
                    <a:pt x="26" y="405"/>
                    <a:pt x="11" y="397"/>
                    <a:pt x="0" y="384"/>
                  </a:cubicBezTo>
                  <a:cubicBezTo>
                    <a:pt x="0" y="485"/>
                    <a:pt x="0" y="485"/>
                    <a:pt x="0" y="485"/>
                  </a:cubicBezTo>
                  <a:cubicBezTo>
                    <a:pt x="0" y="493"/>
                    <a:pt x="7" y="500"/>
                    <a:pt x="15" y="500"/>
                  </a:cubicBezTo>
                  <a:cubicBezTo>
                    <a:pt x="216" y="500"/>
                    <a:pt x="216" y="500"/>
                    <a:pt x="216" y="500"/>
                  </a:cubicBezTo>
                  <a:cubicBezTo>
                    <a:pt x="221" y="502"/>
                    <a:pt x="225" y="505"/>
                    <a:pt x="225" y="511"/>
                  </a:cubicBezTo>
                  <a:cubicBezTo>
                    <a:pt x="226" y="521"/>
                    <a:pt x="226" y="531"/>
                    <a:pt x="216" y="538"/>
                  </a:cubicBezTo>
                  <a:cubicBezTo>
                    <a:pt x="211" y="541"/>
                    <a:pt x="205" y="544"/>
                    <a:pt x="199" y="547"/>
                  </a:cubicBezTo>
                  <a:cubicBezTo>
                    <a:pt x="183" y="558"/>
                    <a:pt x="181" y="579"/>
                    <a:pt x="196" y="592"/>
                  </a:cubicBezTo>
                  <a:cubicBezTo>
                    <a:pt x="211" y="604"/>
                    <a:pt x="233" y="609"/>
                    <a:pt x="252" y="609"/>
                  </a:cubicBezTo>
                  <a:cubicBezTo>
                    <a:pt x="272" y="609"/>
                    <a:pt x="294" y="604"/>
                    <a:pt x="309" y="592"/>
                  </a:cubicBezTo>
                  <a:cubicBezTo>
                    <a:pt x="324" y="579"/>
                    <a:pt x="322" y="558"/>
                    <a:pt x="306" y="547"/>
                  </a:cubicBezTo>
                  <a:cubicBezTo>
                    <a:pt x="300" y="544"/>
                    <a:pt x="294" y="541"/>
                    <a:pt x="289" y="538"/>
                  </a:cubicBezTo>
                  <a:cubicBezTo>
                    <a:pt x="279" y="531"/>
                    <a:pt x="279" y="521"/>
                    <a:pt x="279" y="511"/>
                  </a:cubicBezTo>
                  <a:cubicBezTo>
                    <a:pt x="280" y="505"/>
                    <a:pt x="284" y="502"/>
                    <a:pt x="289" y="500"/>
                  </a:cubicBezTo>
                  <a:cubicBezTo>
                    <a:pt x="547" y="500"/>
                    <a:pt x="547" y="500"/>
                    <a:pt x="547" y="500"/>
                  </a:cubicBezTo>
                  <a:cubicBezTo>
                    <a:pt x="554" y="500"/>
                    <a:pt x="559" y="496"/>
                    <a:pt x="561" y="490"/>
                  </a:cubicBezTo>
                  <a:cubicBezTo>
                    <a:pt x="574" y="451"/>
                    <a:pt x="583" y="411"/>
                    <a:pt x="588" y="368"/>
                  </a:cubicBezTo>
                  <a:cubicBezTo>
                    <a:pt x="606" y="217"/>
                    <a:pt x="540" y="101"/>
                    <a:pt x="397" y="49"/>
                  </a:cubicBezTo>
                  <a:close/>
                </a:path>
              </a:pathLst>
            </a:custGeom>
            <a:solidFill>
              <a:schemeClr val="accent2"/>
            </a:solidFill>
            <a:ln>
              <a:solidFill>
                <a:schemeClr val="tx1"/>
              </a:solidFill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50" name="Picture 4" descr="Alumni"/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5746" y="584313"/>
            <a:ext cx="1198663" cy="11986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497230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Прямоугольник 19"/>
          <p:cNvSpPr/>
          <p:nvPr/>
        </p:nvSpPr>
        <p:spPr>
          <a:xfrm>
            <a:off x="2722880" y="147017"/>
            <a:ext cx="2870346" cy="672306"/>
          </a:xfrm>
          <a:prstGeom prst="rect">
            <a:avLst/>
          </a:prstGeom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Информационная  справка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2</a:t>
            </a:fld>
            <a:endParaRPr lang="en-US" dirty="0"/>
          </a:p>
        </p:txBody>
      </p:sp>
      <p:pic>
        <p:nvPicPr>
          <p:cNvPr id="36866" name="Picture 2" descr="C:\Users\Админ\Desktop\1g6y49ek.jpg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872480" y="203200"/>
            <a:ext cx="6161338" cy="4189710"/>
          </a:xfrm>
          <a:prstGeom prst="rect">
            <a:avLst/>
          </a:prstGeom>
          <a:solidFill>
            <a:srgbClr val="99CCFF"/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</p:pic>
      <p:sp>
        <p:nvSpPr>
          <p:cNvPr id="8" name="Google Shape;406;p40"/>
          <p:cNvSpPr/>
          <p:nvPr/>
        </p:nvSpPr>
        <p:spPr>
          <a:xfrm>
            <a:off x="6286656" y="1386516"/>
            <a:ext cx="392472" cy="391401"/>
          </a:xfrm>
          <a:custGeom>
            <a:avLst/>
            <a:gdLst/>
            <a:ahLst/>
            <a:cxnLst/>
            <a:rect l="l" t="t" r="r" b="b"/>
            <a:pathLst>
              <a:path w="17958" h="17909" extrusionOk="0">
                <a:moveTo>
                  <a:pt x="11972" y="390"/>
                </a:moveTo>
                <a:lnTo>
                  <a:pt x="12069" y="414"/>
                </a:lnTo>
                <a:lnTo>
                  <a:pt x="12166" y="463"/>
                </a:lnTo>
                <a:lnTo>
                  <a:pt x="12288" y="511"/>
                </a:lnTo>
                <a:lnTo>
                  <a:pt x="12483" y="682"/>
                </a:lnTo>
                <a:lnTo>
                  <a:pt x="12653" y="852"/>
                </a:lnTo>
                <a:lnTo>
                  <a:pt x="12823" y="1047"/>
                </a:lnTo>
                <a:lnTo>
                  <a:pt x="13091" y="1387"/>
                </a:lnTo>
                <a:lnTo>
                  <a:pt x="13456" y="1801"/>
                </a:lnTo>
                <a:lnTo>
                  <a:pt x="13821" y="2166"/>
                </a:lnTo>
                <a:lnTo>
                  <a:pt x="14235" y="2507"/>
                </a:lnTo>
                <a:lnTo>
                  <a:pt x="14648" y="2847"/>
                </a:lnTo>
                <a:lnTo>
                  <a:pt x="14843" y="3042"/>
                </a:lnTo>
                <a:lnTo>
                  <a:pt x="15038" y="3237"/>
                </a:lnTo>
                <a:lnTo>
                  <a:pt x="15403" y="3626"/>
                </a:lnTo>
                <a:lnTo>
                  <a:pt x="15743" y="4040"/>
                </a:lnTo>
                <a:lnTo>
                  <a:pt x="16108" y="4453"/>
                </a:lnTo>
                <a:lnTo>
                  <a:pt x="16449" y="4818"/>
                </a:lnTo>
                <a:lnTo>
                  <a:pt x="16619" y="4988"/>
                </a:lnTo>
                <a:lnTo>
                  <a:pt x="16814" y="5159"/>
                </a:lnTo>
                <a:lnTo>
                  <a:pt x="17130" y="5426"/>
                </a:lnTo>
                <a:lnTo>
                  <a:pt x="17276" y="5572"/>
                </a:lnTo>
                <a:lnTo>
                  <a:pt x="17398" y="5743"/>
                </a:lnTo>
                <a:lnTo>
                  <a:pt x="17422" y="5791"/>
                </a:lnTo>
                <a:lnTo>
                  <a:pt x="17422" y="5791"/>
                </a:lnTo>
                <a:lnTo>
                  <a:pt x="16887" y="5499"/>
                </a:lnTo>
                <a:lnTo>
                  <a:pt x="16449" y="5280"/>
                </a:lnTo>
                <a:lnTo>
                  <a:pt x="16230" y="5159"/>
                </a:lnTo>
                <a:lnTo>
                  <a:pt x="15987" y="5061"/>
                </a:lnTo>
                <a:lnTo>
                  <a:pt x="15962" y="5086"/>
                </a:lnTo>
                <a:lnTo>
                  <a:pt x="15962" y="5110"/>
                </a:lnTo>
                <a:lnTo>
                  <a:pt x="15987" y="5232"/>
                </a:lnTo>
                <a:lnTo>
                  <a:pt x="16035" y="5329"/>
                </a:lnTo>
                <a:lnTo>
                  <a:pt x="16181" y="5499"/>
                </a:lnTo>
                <a:lnTo>
                  <a:pt x="16352" y="5645"/>
                </a:lnTo>
                <a:lnTo>
                  <a:pt x="16571" y="5791"/>
                </a:lnTo>
                <a:lnTo>
                  <a:pt x="17033" y="6010"/>
                </a:lnTo>
                <a:lnTo>
                  <a:pt x="17252" y="6132"/>
                </a:lnTo>
                <a:lnTo>
                  <a:pt x="17446" y="6229"/>
                </a:lnTo>
                <a:lnTo>
                  <a:pt x="17349" y="6351"/>
                </a:lnTo>
                <a:lnTo>
                  <a:pt x="17227" y="6448"/>
                </a:lnTo>
                <a:lnTo>
                  <a:pt x="17154" y="6375"/>
                </a:lnTo>
                <a:lnTo>
                  <a:pt x="17082" y="6302"/>
                </a:lnTo>
                <a:lnTo>
                  <a:pt x="16887" y="6205"/>
                </a:lnTo>
                <a:lnTo>
                  <a:pt x="16498" y="6010"/>
                </a:lnTo>
                <a:lnTo>
                  <a:pt x="16400" y="5937"/>
                </a:lnTo>
                <a:lnTo>
                  <a:pt x="16303" y="5840"/>
                </a:lnTo>
                <a:lnTo>
                  <a:pt x="16108" y="5645"/>
                </a:lnTo>
                <a:lnTo>
                  <a:pt x="16011" y="5548"/>
                </a:lnTo>
                <a:lnTo>
                  <a:pt x="15914" y="5451"/>
                </a:lnTo>
                <a:lnTo>
                  <a:pt x="15816" y="5402"/>
                </a:lnTo>
                <a:lnTo>
                  <a:pt x="15695" y="5353"/>
                </a:lnTo>
                <a:lnTo>
                  <a:pt x="15670" y="5353"/>
                </a:lnTo>
                <a:lnTo>
                  <a:pt x="15646" y="5378"/>
                </a:lnTo>
                <a:lnTo>
                  <a:pt x="15622" y="5426"/>
                </a:lnTo>
                <a:lnTo>
                  <a:pt x="15622" y="5548"/>
                </a:lnTo>
                <a:lnTo>
                  <a:pt x="15670" y="5645"/>
                </a:lnTo>
                <a:lnTo>
                  <a:pt x="15792" y="5864"/>
                </a:lnTo>
                <a:lnTo>
                  <a:pt x="15962" y="6083"/>
                </a:lnTo>
                <a:lnTo>
                  <a:pt x="16133" y="6229"/>
                </a:lnTo>
                <a:lnTo>
                  <a:pt x="16303" y="6351"/>
                </a:lnTo>
                <a:lnTo>
                  <a:pt x="16473" y="6448"/>
                </a:lnTo>
                <a:lnTo>
                  <a:pt x="16668" y="6521"/>
                </a:lnTo>
                <a:lnTo>
                  <a:pt x="16838" y="6643"/>
                </a:lnTo>
                <a:lnTo>
                  <a:pt x="16619" y="6692"/>
                </a:lnTo>
                <a:lnTo>
                  <a:pt x="16400" y="6716"/>
                </a:lnTo>
                <a:lnTo>
                  <a:pt x="16376" y="6692"/>
                </a:lnTo>
                <a:lnTo>
                  <a:pt x="16327" y="6643"/>
                </a:lnTo>
                <a:lnTo>
                  <a:pt x="16181" y="6570"/>
                </a:lnTo>
                <a:lnTo>
                  <a:pt x="16108" y="6546"/>
                </a:lnTo>
                <a:lnTo>
                  <a:pt x="16035" y="6497"/>
                </a:lnTo>
                <a:lnTo>
                  <a:pt x="15889" y="6375"/>
                </a:lnTo>
                <a:lnTo>
                  <a:pt x="15768" y="6229"/>
                </a:lnTo>
                <a:lnTo>
                  <a:pt x="15670" y="6108"/>
                </a:lnTo>
                <a:lnTo>
                  <a:pt x="15549" y="6010"/>
                </a:lnTo>
                <a:lnTo>
                  <a:pt x="15403" y="5962"/>
                </a:lnTo>
                <a:lnTo>
                  <a:pt x="15330" y="5937"/>
                </a:lnTo>
                <a:lnTo>
                  <a:pt x="15257" y="5962"/>
                </a:lnTo>
                <a:lnTo>
                  <a:pt x="15232" y="5962"/>
                </a:lnTo>
                <a:lnTo>
                  <a:pt x="15232" y="6010"/>
                </a:lnTo>
                <a:lnTo>
                  <a:pt x="15281" y="6181"/>
                </a:lnTo>
                <a:lnTo>
                  <a:pt x="15354" y="6327"/>
                </a:lnTo>
                <a:lnTo>
                  <a:pt x="15573" y="6619"/>
                </a:lnTo>
                <a:lnTo>
                  <a:pt x="15622" y="6692"/>
                </a:lnTo>
                <a:lnTo>
                  <a:pt x="15354" y="6643"/>
                </a:lnTo>
                <a:lnTo>
                  <a:pt x="15086" y="6570"/>
                </a:lnTo>
                <a:lnTo>
                  <a:pt x="15086" y="6546"/>
                </a:lnTo>
                <a:lnTo>
                  <a:pt x="14843" y="6205"/>
                </a:lnTo>
                <a:lnTo>
                  <a:pt x="14575" y="5889"/>
                </a:lnTo>
                <a:lnTo>
                  <a:pt x="14283" y="5572"/>
                </a:lnTo>
                <a:lnTo>
                  <a:pt x="13991" y="5256"/>
                </a:lnTo>
                <a:lnTo>
                  <a:pt x="13359" y="4672"/>
                </a:lnTo>
                <a:lnTo>
                  <a:pt x="12726" y="4137"/>
                </a:lnTo>
                <a:lnTo>
                  <a:pt x="11996" y="3456"/>
                </a:lnTo>
                <a:lnTo>
                  <a:pt x="11607" y="3139"/>
                </a:lnTo>
                <a:lnTo>
                  <a:pt x="11217" y="2823"/>
                </a:lnTo>
                <a:lnTo>
                  <a:pt x="11169" y="2823"/>
                </a:lnTo>
                <a:lnTo>
                  <a:pt x="11144" y="2750"/>
                </a:lnTo>
                <a:lnTo>
                  <a:pt x="11071" y="2628"/>
                </a:lnTo>
                <a:lnTo>
                  <a:pt x="11023" y="2482"/>
                </a:lnTo>
                <a:lnTo>
                  <a:pt x="10974" y="2336"/>
                </a:lnTo>
                <a:lnTo>
                  <a:pt x="10950" y="2166"/>
                </a:lnTo>
                <a:lnTo>
                  <a:pt x="10925" y="1850"/>
                </a:lnTo>
                <a:lnTo>
                  <a:pt x="10974" y="1509"/>
                </a:lnTo>
                <a:lnTo>
                  <a:pt x="11071" y="1193"/>
                </a:lnTo>
                <a:lnTo>
                  <a:pt x="11144" y="1022"/>
                </a:lnTo>
                <a:lnTo>
                  <a:pt x="11217" y="901"/>
                </a:lnTo>
                <a:lnTo>
                  <a:pt x="11315" y="755"/>
                </a:lnTo>
                <a:lnTo>
                  <a:pt x="11412" y="633"/>
                </a:lnTo>
                <a:lnTo>
                  <a:pt x="11534" y="536"/>
                </a:lnTo>
                <a:lnTo>
                  <a:pt x="11655" y="463"/>
                </a:lnTo>
                <a:lnTo>
                  <a:pt x="11753" y="414"/>
                </a:lnTo>
                <a:lnTo>
                  <a:pt x="11850" y="390"/>
                </a:lnTo>
                <a:close/>
                <a:moveTo>
                  <a:pt x="10098" y="4745"/>
                </a:moveTo>
                <a:lnTo>
                  <a:pt x="9976" y="4794"/>
                </a:lnTo>
                <a:lnTo>
                  <a:pt x="9879" y="4867"/>
                </a:lnTo>
                <a:lnTo>
                  <a:pt x="9684" y="5037"/>
                </a:lnTo>
                <a:lnTo>
                  <a:pt x="9149" y="5572"/>
                </a:lnTo>
                <a:lnTo>
                  <a:pt x="8687" y="6035"/>
                </a:lnTo>
                <a:lnTo>
                  <a:pt x="8468" y="6302"/>
                </a:lnTo>
                <a:lnTo>
                  <a:pt x="8273" y="6570"/>
                </a:lnTo>
                <a:lnTo>
                  <a:pt x="8249" y="6643"/>
                </a:lnTo>
                <a:lnTo>
                  <a:pt x="8273" y="6716"/>
                </a:lnTo>
                <a:lnTo>
                  <a:pt x="8346" y="6789"/>
                </a:lnTo>
                <a:lnTo>
                  <a:pt x="8419" y="6789"/>
                </a:lnTo>
                <a:lnTo>
                  <a:pt x="8565" y="6765"/>
                </a:lnTo>
                <a:lnTo>
                  <a:pt x="8687" y="6716"/>
                </a:lnTo>
                <a:lnTo>
                  <a:pt x="8833" y="6619"/>
                </a:lnTo>
                <a:lnTo>
                  <a:pt x="8979" y="6521"/>
                </a:lnTo>
                <a:lnTo>
                  <a:pt x="9222" y="6278"/>
                </a:lnTo>
                <a:lnTo>
                  <a:pt x="9417" y="6059"/>
                </a:lnTo>
                <a:lnTo>
                  <a:pt x="9976" y="5524"/>
                </a:lnTo>
                <a:lnTo>
                  <a:pt x="10171" y="5353"/>
                </a:lnTo>
                <a:lnTo>
                  <a:pt x="10268" y="5280"/>
                </a:lnTo>
                <a:lnTo>
                  <a:pt x="10341" y="5207"/>
                </a:lnTo>
                <a:lnTo>
                  <a:pt x="10414" y="5110"/>
                </a:lnTo>
                <a:lnTo>
                  <a:pt x="10414" y="5037"/>
                </a:lnTo>
                <a:lnTo>
                  <a:pt x="10414" y="4964"/>
                </a:lnTo>
                <a:lnTo>
                  <a:pt x="10390" y="4891"/>
                </a:lnTo>
                <a:lnTo>
                  <a:pt x="10341" y="4818"/>
                </a:lnTo>
                <a:lnTo>
                  <a:pt x="10268" y="4770"/>
                </a:lnTo>
                <a:lnTo>
                  <a:pt x="10195" y="4745"/>
                </a:lnTo>
                <a:close/>
                <a:moveTo>
                  <a:pt x="11047" y="3018"/>
                </a:moveTo>
                <a:lnTo>
                  <a:pt x="11193" y="3188"/>
                </a:lnTo>
                <a:lnTo>
                  <a:pt x="11339" y="3358"/>
                </a:lnTo>
                <a:lnTo>
                  <a:pt x="11680" y="3699"/>
                </a:lnTo>
                <a:lnTo>
                  <a:pt x="12385" y="4307"/>
                </a:lnTo>
                <a:lnTo>
                  <a:pt x="12994" y="4867"/>
                </a:lnTo>
                <a:lnTo>
                  <a:pt x="13602" y="5451"/>
                </a:lnTo>
                <a:lnTo>
                  <a:pt x="14162" y="6059"/>
                </a:lnTo>
                <a:lnTo>
                  <a:pt x="14429" y="6375"/>
                </a:lnTo>
                <a:lnTo>
                  <a:pt x="14697" y="6716"/>
                </a:lnTo>
                <a:lnTo>
                  <a:pt x="14624" y="6789"/>
                </a:lnTo>
                <a:lnTo>
                  <a:pt x="14308" y="6619"/>
                </a:lnTo>
                <a:lnTo>
                  <a:pt x="14137" y="6521"/>
                </a:lnTo>
                <a:lnTo>
                  <a:pt x="13943" y="6424"/>
                </a:lnTo>
                <a:lnTo>
                  <a:pt x="13821" y="6400"/>
                </a:lnTo>
                <a:lnTo>
                  <a:pt x="13748" y="6375"/>
                </a:lnTo>
                <a:lnTo>
                  <a:pt x="13699" y="6327"/>
                </a:lnTo>
                <a:lnTo>
                  <a:pt x="13675" y="6327"/>
                </a:lnTo>
                <a:lnTo>
                  <a:pt x="13651" y="6351"/>
                </a:lnTo>
                <a:lnTo>
                  <a:pt x="13651" y="6375"/>
                </a:lnTo>
                <a:lnTo>
                  <a:pt x="13724" y="6497"/>
                </a:lnTo>
                <a:lnTo>
                  <a:pt x="13772" y="6594"/>
                </a:lnTo>
                <a:lnTo>
                  <a:pt x="13918" y="6765"/>
                </a:lnTo>
                <a:lnTo>
                  <a:pt x="14089" y="6911"/>
                </a:lnTo>
                <a:lnTo>
                  <a:pt x="14405" y="7105"/>
                </a:lnTo>
                <a:lnTo>
                  <a:pt x="14332" y="7203"/>
                </a:lnTo>
                <a:lnTo>
                  <a:pt x="14283" y="7251"/>
                </a:lnTo>
                <a:lnTo>
                  <a:pt x="14235" y="7227"/>
                </a:lnTo>
                <a:lnTo>
                  <a:pt x="13967" y="7105"/>
                </a:lnTo>
                <a:lnTo>
                  <a:pt x="13699" y="6984"/>
                </a:lnTo>
                <a:lnTo>
                  <a:pt x="13602" y="6911"/>
                </a:lnTo>
                <a:lnTo>
                  <a:pt x="13480" y="6862"/>
                </a:lnTo>
                <a:lnTo>
                  <a:pt x="13359" y="6838"/>
                </a:lnTo>
                <a:lnTo>
                  <a:pt x="13237" y="6862"/>
                </a:lnTo>
                <a:lnTo>
                  <a:pt x="13188" y="6886"/>
                </a:lnTo>
                <a:lnTo>
                  <a:pt x="13188" y="6911"/>
                </a:lnTo>
                <a:lnTo>
                  <a:pt x="13164" y="6959"/>
                </a:lnTo>
                <a:lnTo>
                  <a:pt x="13188" y="6984"/>
                </a:lnTo>
                <a:lnTo>
                  <a:pt x="13261" y="7105"/>
                </a:lnTo>
                <a:lnTo>
                  <a:pt x="13383" y="7178"/>
                </a:lnTo>
                <a:lnTo>
                  <a:pt x="13626" y="7349"/>
                </a:lnTo>
                <a:lnTo>
                  <a:pt x="13821" y="7446"/>
                </a:lnTo>
                <a:lnTo>
                  <a:pt x="14016" y="7543"/>
                </a:lnTo>
                <a:lnTo>
                  <a:pt x="13699" y="7835"/>
                </a:lnTo>
                <a:lnTo>
                  <a:pt x="13480" y="7738"/>
                </a:lnTo>
                <a:lnTo>
                  <a:pt x="13237" y="7616"/>
                </a:lnTo>
                <a:lnTo>
                  <a:pt x="13018" y="7568"/>
                </a:lnTo>
                <a:lnTo>
                  <a:pt x="12896" y="7543"/>
                </a:lnTo>
                <a:lnTo>
                  <a:pt x="12775" y="7543"/>
                </a:lnTo>
                <a:lnTo>
                  <a:pt x="12702" y="7568"/>
                </a:lnTo>
                <a:lnTo>
                  <a:pt x="12653" y="7641"/>
                </a:lnTo>
                <a:lnTo>
                  <a:pt x="12653" y="7714"/>
                </a:lnTo>
                <a:lnTo>
                  <a:pt x="12653" y="7762"/>
                </a:lnTo>
                <a:lnTo>
                  <a:pt x="12702" y="7787"/>
                </a:lnTo>
                <a:lnTo>
                  <a:pt x="13042" y="7981"/>
                </a:lnTo>
                <a:lnTo>
                  <a:pt x="13383" y="8176"/>
                </a:lnTo>
                <a:lnTo>
                  <a:pt x="13164" y="8419"/>
                </a:lnTo>
                <a:lnTo>
                  <a:pt x="12969" y="8346"/>
                </a:lnTo>
                <a:lnTo>
                  <a:pt x="12775" y="8273"/>
                </a:lnTo>
                <a:lnTo>
                  <a:pt x="12580" y="8152"/>
                </a:lnTo>
                <a:lnTo>
                  <a:pt x="12483" y="8103"/>
                </a:lnTo>
                <a:lnTo>
                  <a:pt x="12385" y="8054"/>
                </a:lnTo>
                <a:lnTo>
                  <a:pt x="12337" y="8054"/>
                </a:lnTo>
                <a:lnTo>
                  <a:pt x="12288" y="8079"/>
                </a:lnTo>
                <a:lnTo>
                  <a:pt x="12264" y="8127"/>
                </a:lnTo>
                <a:lnTo>
                  <a:pt x="12264" y="8176"/>
                </a:lnTo>
                <a:lnTo>
                  <a:pt x="12312" y="8273"/>
                </a:lnTo>
                <a:lnTo>
                  <a:pt x="12410" y="8371"/>
                </a:lnTo>
                <a:lnTo>
                  <a:pt x="12507" y="8468"/>
                </a:lnTo>
                <a:lnTo>
                  <a:pt x="12604" y="8541"/>
                </a:lnTo>
                <a:lnTo>
                  <a:pt x="12750" y="8614"/>
                </a:lnTo>
                <a:lnTo>
                  <a:pt x="12921" y="8687"/>
                </a:lnTo>
                <a:lnTo>
                  <a:pt x="12726" y="8930"/>
                </a:lnTo>
                <a:lnTo>
                  <a:pt x="12531" y="8833"/>
                </a:lnTo>
                <a:lnTo>
                  <a:pt x="12361" y="8784"/>
                </a:lnTo>
                <a:lnTo>
                  <a:pt x="12142" y="8638"/>
                </a:lnTo>
                <a:lnTo>
                  <a:pt x="11923" y="8517"/>
                </a:lnTo>
                <a:lnTo>
                  <a:pt x="11899" y="8517"/>
                </a:lnTo>
                <a:lnTo>
                  <a:pt x="11850" y="8565"/>
                </a:lnTo>
                <a:lnTo>
                  <a:pt x="11826" y="8590"/>
                </a:lnTo>
                <a:lnTo>
                  <a:pt x="11826" y="8687"/>
                </a:lnTo>
                <a:lnTo>
                  <a:pt x="11850" y="8809"/>
                </a:lnTo>
                <a:lnTo>
                  <a:pt x="11947" y="8906"/>
                </a:lnTo>
                <a:lnTo>
                  <a:pt x="12045" y="9003"/>
                </a:lnTo>
                <a:lnTo>
                  <a:pt x="12166" y="9101"/>
                </a:lnTo>
                <a:lnTo>
                  <a:pt x="12458" y="9247"/>
                </a:lnTo>
                <a:lnTo>
                  <a:pt x="12166" y="9539"/>
                </a:lnTo>
                <a:lnTo>
                  <a:pt x="11947" y="9441"/>
                </a:lnTo>
                <a:lnTo>
                  <a:pt x="11753" y="9320"/>
                </a:lnTo>
                <a:lnTo>
                  <a:pt x="11582" y="9198"/>
                </a:lnTo>
                <a:lnTo>
                  <a:pt x="11461" y="9174"/>
                </a:lnTo>
                <a:lnTo>
                  <a:pt x="11339" y="9174"/>
                </a:lnTo>
                <a:lnTo>
                  <a:pt x="11315" y="9198"/>
                </a:lnTo>
                <a:lnTo>
                  <a:pt x="11315" y="9271"/>
                </a:lnTo>
                <a:lnTo>
                  <a:pt x="11363" y="9368"/>
                </a:lnTo>
                <a:lnTo>
                  <a:pt x="11436" y="9466"/>
                </a:lnTo>
                <a:lnTo>
                  <a:pt x="11582" y="9612"/>
                </a:lnTo>
                <a:lnTo>
                  <a:pt x="11728" y="9709"/>
                </a:lnTo>
                <a:lnTo>
                  <a:pt x="11850" y="9806"/>
                </a:lnTo>
                <a:lnTo>
                  <a:pt x="11777" y="9879"/>
                </a:lnTo>
                <a:lnTo>
                  <a:pt x="11728" y="9928"/>
                </a:lnTo>
                <a:lnTo>
                  <a:pt x="11704" y="9977"/>
                </a:lnTo>
                <a:lnTo>
                  <a:pt x="11680" y="10050"/>
                </a:lnTo>
                <a:lnTo>
                  <a:pt x="11680" y="10098"/>
                </a:lnTo>
                <a:lnTo>
                  <a:pt x="11655" y="10196"/>
                </a:lnTo>
                <a:lnTo>
                  <a:pt x="11680" y="10244"/>
                </a:lnTo>
                <a:lnTo>
                  <a:pt x="11704" y="10317"/>
                </a:lnTo>
                <a:lnTo>
                  <a:pt x="11777" y="10488"/>
                </a:lnTo>
                <a:lnTo>
                  <a:pt x="11874" y="10682"/>
                </a:lnTo>
                <a:lnTo>
                  <a:pt x="11680" y="10561"/>
                </a:lnTo>
                <a:lnTo>
                  <a:pt x="11509" y="10463"/>
                </a:lnTo>
                <a:lnTo>
                  <a:pt x="11412" y="10439"/>
                </a:lnTo>
                <a:lnTo>
                  <a:pt x="11217" y="10439"/>
                </a:lnTo>
                <a:lnTo>
                  <a:pt x="11144" y="10463"/>
                </a:lnTo>
                <a:lnTo>
                  <a:pt x="11096" y="10488"/>
                </a:lnTo>
                <a:lnTo>
                  <a:pt x="11096" y="10512"/>
                </a:lnTo>
                <a:lnTo>
                  <a:pt x="11096" y="10561"/>
                </a:lnTo>
                <a:lnTo>
                  <a:pt x="11096" y="10585"/>
                </a:lnTo>
                <a:lnTo>
                  <a:pt x="11193" y="10658"/>
                </a:lnTo>
                <a:lnTo>
                  <a:pt x="11315" y="10731"/>
                </a:lnTo>
                <a:lnTo>
                  <a:pt x="11509" y="10877"/>
                </a:lnTo>
                <a:lnTo>
                  <a:pt x="11753" y="11072"/>
                </a:lnTo>
                <a:lnTo>
                  <a:pt x="11996" y="11266"/>
                </a:lnTo>
                <a:lnTo>
                  <a:pt x="12020" y="11266"/>
                </a:lnTo>
                <a:lnTo>
                  <a:pt x="12093" y="11631"/>
                </a:lnTo>
                <a:lnTo>
                  <a:pt x="12118" y="11972"/>
                </a:lnTo>
                <a:lnTo>
                  <a:pt x="11777" y="11704"/>
                </a:lnTo>
                <a:lnTo>
                  <a:pt x="11461" y="11437"/>
                </a:lnTo>
                <a:lnTo>
                  <a:pt x="11315" y="11339"/>
                </a:lnTo>
                <a:lnTo>
                  <a:pt x="11144" y="11242"/>
                </a:lnTo>
                <a:lnTo>
                  <a:pt x="10974" y="11193"/>
                </a:lnTo>
                <a:lnTo>
                  <a:pt x="10877" y="11169"/>
                </a:lnTo>
                <a:lnTo>
                  <a:pt x="10779" y="11193"/>
                </a:lnTo>
                <a:lnTo>
                  <a:pt x="10755" y="11218"/>
                </a:lnTo>
                <a:lnTo>
                  <a:pt x="10779" y="11242"/>
                </a:lnTo>
                <a:lnTo>
                  <a:pt x="11363" y="11826"/>
                </a:lnTo>
                <a:lnTo>
                  <a:pt x="11509" y="11972"/>
                </a:lnTo>
                <a:lnTo>
                  <a:pt x="11680" y="12142"/>
                </a:lnTo>
                <a:lnTo>
                  <a:pt x="11850" y="12264"/>
                </a:lnTo>
                <a:lnTo>
                  <a:pt x="12069" y="12361"/>
                </a:lnTo>
                <a:lnTo>
                  <a:pt x="12118" y="12361"/>
                </a:lnTo>
                <a:lnTo>
                  <a:pt x="12118" y="12921"/>
                </a:lnTo>
                <a:lnTo>
                  <a:pt x="12093" y="13091"/>
                </a:lnTo>
                <a:lnTo>
                  <a:pt x="11972" y="12969"/>
                </a:lnTo>
                <a:lnTo>
                  <a:pt x="11850" y="12824"/>
                </a:lnTo>
                <a:lnTo>
                  <a:pt x="11655" y="12653"/>
                </a:lnTo>
                <a:lnTo>
                  <a:pt x="11120" y="12167"/>
                </a:lnTo>
                <a:lnTo>
                  <a:pt x="10877" y="11948"/>
                </a:lnTo>
                <a:lnTo>
                  <a:pt x="10731" y="11875"/>
                </a:lnTo>
                <a:lnTo>
                  <a:pt x="10585" y="11826"/>
                </a:lnTo>
                <a:lnTo>
                  <a:pt x="10536" y="11850"/>
                </a:lnTo>
                <a:lnTo>
                  <a:pt x="10512" y="11875"/>
                </a:lnTo>
                <a:lnTo>
                  <a:pt x="10536" y="12021"/>
                </a:lnTo>
                <a:lnTo>
                  <a:pt x="10609" y="12142"/>
                </a:lnTo>
                <a:lnTo>
                  <a:pt x="10682" y="12264"/>
                </a:lnTo>
                <a:lnTo>
                  <a:pt x="10779" y="12386"/>
                </a:lnTo>
                <a:lnTo>
                  <a:pt x="11023" y="12605"/>
                </a:lnTo>
                <a:lnTo>
                  <a:pt x="11217" y="12799"/>
                </a:lnTo>
                <a:lnTo>
                  <a:pt x="11728" y="13286"/>
                </a:lnTo>
                <a:lnTo>
                  <a:pt x="11801" y="13359"/>
                </a:lnTo>
                <a:lnTo>
                  <a:pt x="11874" y="13407"/>
                </a:lnTo>
                <a:lnTo>
                  <a:pt x="12045" y="13407"/>
                </a:lnTo>
                <a:lnTo>
                  <a:pt x="11947" y="13699"/>
                </a:lnTo>
                <a:lnTo>
                  <a:pt x="11899" y="13845"/>
                </a:lnTo>
                <a:lnTo>
                  <a:pt x="11826" y="13991"/>
                </a:lnTo>
                <a:lnTo>
                  <a:pt x="11631" y="13748"/>
                </a:lnTo>
                <a:lnTo>
                  <a:pt x="11412" y="13529"/>
                </a:lnTo>
                <a:lnTo>
                  <a:pt x="11169" y="13334"/>
                </a:lnTo>
                <a:lnTo>
                  <a:pt x="10950" y="13115"/>
                </a:lnTo>
                <a:lnTo>
                  <a:pt x="10536" y="12702"/>
                </a:lnTo>
                <a:lnTo>
                  <a:pt x="10439" y="12629"/>
                </a:lnTo>
                <a:lnTo>
                  <a:pt x="10293" y="12532"/>
                </a:lnTo>
                <a:lnTo>
                  <a:pt x="10171" y="12459"/>
                </a:lnTo>
                <a:lnTo>
                  <a:pt x="10098" y="12361"/>
                </a:lnTo>
                <a:lnTo>
                  <a:pt x="10074" y="12361"/>
                </a:lnTo>
                <a:lnTo>
                  <a:pt x="10049" y="12386"/>
                </a:lnTo>
                <a:lnTo>
                  <a:pt x="10098" y="12532"/>
                </a:lnTo>
                <a:lnTo>
                  <a:pt x="10147" y="12653"/>
                </a:lnTo>
                <a:lnTo>
                  <a:pt x="10293" y="12921"/>
                </a:lnTo>
                <a:lnTo>
                  <a:pt x="10487" y="13140"/>
                </a:lnTo>
                <a:lnTo>
                  <a:pt x="10706" y="13359"/>
                </a:lnTo>
                <a:lnTo>
                  <a:pt x="11169" y="13797"/>
                </a:lnTo>
                <a:lnTo>
                  <a:pt x="11388" y="14016"/>
                </a:lnTo>
                <a:lnTo>
                  <a:pt x="11558" y="14235"/>
                </a:lnTo>
                <a:lnTo>
                  <a:pt x="11412" y="14283"/>
                </a:lnTo>
                <a:lnTo>
                  <a:pt x="11266" y="14283"/>
                </a:lnTo>
                <a:lnTo>
                  <a:pt x="11096" y="14259"/>
                </a:lnTo>
                <a:lnTo>
                  <a:pt x="10925" y="14210"/>
                </a:lnTo>
                <a:lnTo>
                  <a:pt x="10877" y="14162"/>
                </a:lnTo>
                <a:lnTo>
                  <a:pt x="10414" y="13651"/>
                </a:lnTo>
                <a:lnTo>
                  <a:pt x="9903" y="13164"/>
                </a:lnTo>
                <a:lnTo>
                  <a:pt x="9392" y="12678"/>
                </a:lnTo>
                <a:lnTo>
                  <a:pt x="8857" y="12240"/>
                </a:lnTo>
                <a:lnTo>
                  <a:pt x="7811" y="11315"/>
                </a:lnTo>
                <a:lnTo>
                  <a:pt x="7300" y="10828"/>
                </a:lnTo>
                <a:lnTo>
                  <a:pt x="6813" y="10342"/>
                </a:lnTo>
                <a:lnTo>
                  <a:pt x="5913" y="9344"/>
                </a:lnTo>
                <a:lnTo>
                  <a:pt x="5426" y="8857"/>
                </a:lnTo>
                <a:lnTo>
                  <a:pt x="4940" y="8419"/>
                </a:lnTo>
                <a:lnTo>
                  <a:pt x="4429" y="7981"/>
                </a:lnTo>
                <a:lnTo>
                  <a:pt x="3918" y="7568"/>
                </a:lnTo>
                <a:lnTo>
                  <a:pt x="3747" y="7397"/>
                </a:lnTo>
                <a:lnTo>
                  <a:pt x="3577" y="7203"/>
                </a:lnTo>
                <a:lnTo>
                  <a:pt x="3504" y="7130"/>
                </a:lnTo>
                <a:lnTo>
                  <a:pt x="3407" y="7057"/>
                </a:lnTo>
                <a:lnTo>
                  <a:pt x="3309" y="7008"/>
                </a:lnTo>
                <a:lnTo>
                  <a:pt x="3212" y="6984"/>
                </a:lnTo>
                <a:lnTo>
                  <a:pt x="3163" y="6911"/>
                </a:lnTo>
                <a:lnTo>
                  <a:pt x="3139" y="6838"/>
                </a:lnTo>
                <a:lnTo>
                  <a:pt x="3163" y="6740"/>
                </a:lnTo>
                <a:lnTo>
                  <a:pt x="3163" y="6667"/>
                </a:lnTo>
                <a:lnTo>
                  <a:pt x="3236" y="6521"/>
                </a:lnTo>
                <a:lnTo>
                  <a:pt x="3358" y="6375"/>
                </a:lnTo>
                <a:lnTo>
                  <a:pt x="3504" y="6254"/>
                </a:lnTo>
                <a:lnTo>
                  <a:pt x="3650" y="6156"/>
                </a:lnTo>
                <a:lnTo>
                  <a:pt x="3942" y="6010"/>
                </a:lnTo>
                <a:lnTo>
                  <a:pt x="4234" y="5913"/>
                </a:lnTo>
                <a:lnTo>
                  <a:pt x="4526" y="5840"/>
                </a:lnTo>
                <a:lnTo>
                  <a:pt x="4842" y="5767"/>
                </a:lnTo>
                <a:lnTo>
                  <a:pt x="5134" y="5743"/>
                </a:lnTo>
                <a:lnTo>
                  <a:pt x="5499" y="5743"/>
                </a:lnTo>
                <a:lnTo>
                  <a:pt x="5864" y="5767"/>
                </a:lnTo>
                <a:lnTo>
                  <a:pt x="6229" y="5816"/>
                </a:lnTo>
                <a:lnTo>
                  <a:pt x="6594" y="5913"/>
                </a:lnTo>
                <a:lnTo>
                  <a:pt x="6862" y="6010"/>
                </a:lnTo>
                <a:lnTo>
                  <a:pt x="7154" y="6108"/>
                </a:lnTo>
                <a:lnTo>
                  <a:pt x="7446" y="6205"/>
                </a:lnTo>
                <a:lnTo>
                  <a:pt x="7592" y="6254"/>
                </a:lnTo>
                <a:lnTo>
                  <a:pt x="7738" y="6254"/>
                </a:lnTo>
                <a:lnTo>
                  <a:pt x="7787" y="6229"/>
                </a:lnTo>
                <a:lnTo>
                  <a:pt x="7860" y="6181"/>
                </a:lnTo>
                <a:lnTo>
                  <a:pt x="7884" y="6132"/>
                </a:lnTo>
                <a:lnTo>
                  <a:pt x="7884" y="6083"/>
                </a:lnTo>
                <a:lnTo>
                  <a:pt x="8006" y="5962"/>
                </a:lnTo>
                <a:lnTo>
                  <a:pt x="8079" y="5864"/>
                </a:lnTo>
                <a:lnTo>
                  <a:pt x="8346" y="5621"/>
                </a:lnTo>
                <a:lnTo>
                  <a:pt x="8614" y="5402"/>
                </a:lnTo>
                <a:lnTo>
                  <a:pt x="9198" y="4964"/>
                </a:lnTo>
                <a:lnTo>
                  <a:pt x="9490" y="4721"/>
                </a:lnTo>
                <a:lnTo>
                  <a:pt x="9757" y="4453"/>
                </a:lnTo>
                <a:lnTo>
                  <a:pt x="10293" y="3894"/>
                </a:lnTo>
                <a:lnTo>
                  <a:pt x="10706" y="3480"/>
                </a:lnTo>
                <a:lnTo>
                  <a:pt x="10901" y="3261"/>
                </a:lnTo>
                <a:lnTo>
                  <a:pt x="10974" y="3139"/>
                </a:lnTo>
                <a:lnTo>
                  <a:pt x="11047" y="3018"/>
                </a:lnTo>
                <a:close/>
                <a:moveTo>
                  <a:pt x="6327" y="10463"/>
                </a:moveTo>
                <a:lnTo>
                  <a:pt x="6594" y="10780"/>
                </a:lnTo>
                <a:lnTo>
                  <a:pt x="7057" y="11266"/>
                </a:lnTo>
                <a:lnTo>
                  <a:pt x="7543" y="11729"/>
                </a:lnTo>
                <a:lnTo>
                  <a:pt x="6643" y="12580"/>
                </a:lnTo>
                <a:lnTo>
                  <a:pt x="5718" y="13407"/>
                </a:lnTo>
                <a:lnTo>
                  <a:pt x="4794" y="14210"/>
                </a:lnTo>
                <a:lnTo>
                  <a:pt x="3820" y="14989"/>
                </a:lnTo>
                <a:lnTo>
                  <a:pt x="3042" y="15597"/>
                </a:lnTo>
                <a:lnTo>
                  <a:pt x="2263" y="16157"/>
                </a:lnTo>
                <a:lnTo>
                  <a:pt x="1460" y="16717"/>
                </a:lnTo>
                <a:lnTo>
                  <a:pt x="682" y="17301"/>
                </a:lnTo>
                <a:lnTo>
                  <a:pt x="1120" y="16765"/>
                </a:lnTo>
                <a:lnTo>
                  <a:pt x="1533" y="16230"/>
                </a:lnTo>
                <a:lnTo>
                  <a:pt x="1971" y="15646"/>
                </a:lnTo>
                <a:lnTo>
                  <a:pt x="2458" y="15111"/>
                </a:lnTo>
                <a:lnTo>
                  <a:pt x="3431" y="14064"/>
                </a:lnTo>
                <a:lnTo>
                  <a:pt x="4307" y="13018"/>
                </a:lnTo>
                <a:lnTo>
                  <a:pt x="5159" y="11972"/>
                </a:lnTo>
                <a:lnTo>
                  <a:pt x="5524" y="11485"/>
                </a:lnTo>
                <a:lnTo>
                  <a:pt x="5913" y="11023"/>
                </a:lnTo>
                <a:lnTo>
                  <a:pt x="6132" y="10755"/>
                </a:lnTo>
                <a:lnTo>
                  <a:pt x="6229" y="10609"/>
                </a:lnTo>
                <a:lnTo>
                  <a:pt x="6327" y="10463"/>
                </a:lnTo>
                <a:close/>
                <a:moveTo>
                  <a:pt x="11753" y="0"/>
                </a:moveTo>
                <a:lnTo>
                  <a:pt x="11558" y="49"/>
                </a:lnTo>
                <a:lnTo>
                  <a:pt x="11363" y="122"/>
                </a:lnTo>
                <a:lnTo>
                  <a:pt x="11217" y="219"/>
                </a:lnTo>
                <a:lnTo>
                  <a:pt x="11096" y="341"/>
                </a:lnTo>
                <a:lnTo>
                  <a:pt x="10974" y="463"/>
                </a:lnTo>
                <a:lnTo>
                  <a:pt x="10877" y="609"/>
                </a:lnTo>
                <a:lnTo>
                  <a:pt x="10779" y="779"/>
                </a:lnTo>
                <a:lnTo>
                  <a:pt x="10706" y="949"/>
                </a:lnTo>
                <a:lnTo>
                  <a:pt x="10633" y="1120"/>
                </a:lnTo>
                <a:lnTo>
                  <a:pt x="10585" y="1314"/>
                </a:lnTo>
                <a:lnTo>
                  <a:pt x="10536" y="1509"/>
                </a:lnTo>
                <a:lnTo>
                  <a:pt x="10512" y="1704"/>
                </a:lnTo>
                <a:lnTo>
                  <a:pt x="10512" y="1898"/>
                </a:lnTo>
                <a:lnTo>
                  <a:pt x="10512" y="2093"/>
                </a:lnTo>
                <a:lnTo>
                  <a:pt x="10536" y="2263"/>
                </a:lnTo>
                <a:lnTo>
                  <a:pt x="10585" y="2458"/>
                </a:lnTo>
                <a:lnTo>
                  <a:pt x="10633" y="2604"/>
                </a:lnTo>
                <a:lnTo>
                  <a:pt x="10731" y="2774"/>
                </a:lnTo>
                <a:lnTo>
                  <a:pt x="10609" y="2823"/>
                </a:lnTo>
                <a:lnTo>
                  <a:pt x="10487" y="2920"/>
                </a:lnTo>
                <a:lnTo>
                  <a:pt x="10293" y="3115"/>
                </a:lnTo>
                <a:lnTo>
                  <a:pt x="9928" y="3553"/>
                </a:lnTo>
                <a:lnTo>
                  <a:pt x="9417" y="4113"/>
                </a:lnTo>
                <a:lnTo>
                  <a:pt x="9149" y="4356"/>
                </a:lnTo>
                <a:lnTo>
                  <a:pt x="8857" y="4624"/>
                </a:lnTo>
                <a:lnTo>
                  <a:pt x="8298" y="5061"/>
                </a:lnTo>
                <a:lnTo>
                  <a:pt x="8030" y="5305"/>
                </a:lnTo>
                <a:lnTo>
                  <a:pt x="7787" y="5572"/>
                </a:lnTo>
                <a:lnTo>
                  <a:pt x="7714" y="5670"/>
                </a:lnTo>
                <a:lnTo>
                  <a:pt x="7616" y="5791"/>
                </a:lnTo>
                <a:lnTo>
                  <a:pt x="7470" y="5718"/>
                </a:lnTo>
                <a:lnTo>
                  <a:pt x="7300" y="5645"/>
                </a:lnTo>
                <a:lnTo>
                  <a:pt x="6935" y="5524"/>
                </a:lnTo>
                <a:lnTo>
                  <a:pt x="6570" y="5451"/>
                </a:lnTo>
                <a:lnTo>
                  <a:pt x="6254" y="5402"/>
                </a:lnTo>
                <a:lnTo>
                  <a:pt x="5767" y="5329"/>
                </a:lnTo>
                <a:lnTo>
                  <a:pt x="5280" y="5305"/>
                </a:lnTo>
                <a:lnTo>
                  <a:pt x="4794" y="5353"/>
                </a:lnTo>
                <a:lnTo>
                  <a:pt x="4307" y="5451"/>
                </a:lnTo>
                <a:lnTo>
                  <a:pt x="3942" y="5548"/>
                </a:lnTo>
                <a:lnTo>
                  <a:pt x="3601" y="5718"/>
                </a:lnTo>
                <a:lnTo>
                  <a:pt x="3431" y="5791"/>
                </a:lnTo>
                <a:lnTo>
                  <a:pt x="3261" y="5913"/>
                </a:lnTo>
                <a:lnTo>
                  <a:pt x="3139" y="6035"/>
                </a:lnTo>
                <a:lnTo>
                  <a:pt x="3017" y="6181"/>
                </a:lnTo>
                <a:lnTo>
                  <a:pt x="2871" y="6448"/>
                </a:lnTo>
                <a:lnTo>
                  <a:pt x="2823" y="6570"/>
                </a:lnTo>
                <a:lnTo>
                  <a:pt x="2798" y="6716"/>
                </a:lnTo>
                <a:lnTo>
                  <a:pt x="2798" y="6862"/>
                </a:lnTo>
                <a:lnTo>
                  <a:pt x="2823" y="7008"/>
                </a:lnTo>
                <a:lnTo>
                  <a:pt x="2871" y="7130"/>
                </a:lnTo>
                <a:lnTo>
                  <a:pt x="2969" y="7227"/>
                </a:lnTo>
                <a:lnTo>
                  <a:pt x="3042" y="7251"/>
                </a:lnTo>
                <a:lnTo>
                  <a:pt x="3115" y="7251"/>
                </a:lnTo>
                <a:lnTo>
                  <a:pt x="3285" y="7470"/>
                </a:lnTo>
                <a:lnTo>
                  <a:pt x="3455" y="7689"/>
                </a:lnTo>
                <a:lnTo>
                  <a:pt x="3650" y="7908"/>
                </a:lnTo>
                <a:lnTo>
                  <a:pt x="3869" y="8103"/>
                </a:lnTo>
                <a:lnTo>
                  <a:pt x="4307" y="8468"/>
                </a:lnTo>
                <a:lnTo>
                  <a:pt x="4769" y="8833"/>
                </a:lnTo>
                <a:lnTo>
                  <a:pt x="5086" y="9125"/>
                </a:lnTo>
                <a:lnTo>
                  <a:pt x="5402" y="9466"/>
                </a:lnTo>
                <a:lnTo>
                  <a:pt x="6010" y="10123"/>
                </a:lnTo>
                <a:lnTo>
                  <a:pt x="5962" y="10196"/>
                </a:lnTo>
                <a:lnTo>
                  <a:pt x="5864" y="10342"/>
                </a:lnTo>
                <a:lnTo>
                  <a:pt x="5767" y="10488"/>
                </a:lnTo>
                <a:lnTo>
                  <a:pt x="5499" y="10780"/>
                </a:lnTo>
                <a:lnTo>
                  <a:pt x="5110" y="11291"/>
                </a:lnTo>
                <a:lnTo>
                  <a:pt x="4721" y="11777"/>
                </a:lnTo>
                <a:lnTo>
                  <a:pt x="3820" y="12921"/>
                </a:lnTo>
                <a:lnTo>
                  <a:pt x="2871" y="14016"/>
                </a:lnTo>
                <a:lnTo>
                  <a:pt x="1995" y="14989"/>
                </a:lnTo>
                <a:lnTo>
                  <a:pt x="1582" y="15500"/>
                </a:lnTo>
                <a:lnTo>
                  <a:pt x="1168" y="16011"/>
                </a:lnTo>
                <a:lnTo>
                  <a:pt x="779" y="16571"/>
                </a:lnTo>
                <a:lnTo>
                  <a:pt x="584" y="16838"/>
                </a:lnTo>
                <a:lnTo>
                  <a:pt x="365" y="17106"/>
                </a:lnTo>
                <a:lnTo>
                  <a:pt x="244" y="17276"/>
                </a:lnTo>
                <a:lnTo>
                  <a:pt x="122" y="17422"/>
                </a:lnTo>
                <a:lnTo>
                  <a:pt x="49" y="17593"/>
                </a:lnTo>
                <a:lnTo>
                  <a:pt x="0" y="17787"/>
                </a:lnTo>
                <a:lnTo>
                  <a:pt x="0" y="17860"/>
                </a:lnTo>
                <a:lnTo>
                  <a:pt x="73" y="17909"/>
                </a:lnTo>
                <a:lnTo>
                  <a:pt x="122" y="17909"/>
                </a:lnTo>
                <a:lnTo>
                  <a:pt x="195" y="17885"/>
                </a:lnTo>
                <a:lnTo>
                  <a:pt x="219" y="17836"/>
                </a:lnTo>
                <a:lnTo>
                  <a:pt x="463" y="17763"/>
                </a:lnTo>
                <a:lnTo>
                  <a:pt x="682" y="17666"/>
                </a:lnTo>
                <a:lnTo>
                  <a:pt x="901" y="17544"/>
                </a:lnTo>
                <a:lnTo>
                  <a:pt x="1120" y="17398"/>
                </a:lnTo>
                <a:lnTo>
                  <a:pt x="1533" y="17106"/>
                </a:lnTo>
                <a:lnTo>
                  <a:pt x="1947" y="16838"/>
                </a:lnTo>
                <a:lnTo>
                  <a:pt x="2433" y="16522"/>
                </a:lnTo>
                <a:lnTo>
                  <a:pt x="2896" y="16206"/>
                </a:lnTo>
                <a:lnTo>
                  <a:pt x="3358" y="15865"/>
                </a:lnTo>
                <a:lnTo>
                  <a:pt x="3820" y="15524"/>
                </a:lnTo>
                <a:lnTo>
                  <a:pt x="4867" y="14697"/>
                </a:lnTo>
                <a:lnTo>
                  <a:pt x="5889" y="13845"/>
                </a:lnTo>
                <a:lnTo>
                  <a:pt x="6886" y="12945"/>
                </a:lnTo>
                <a:lnTo>
                  <a:pt x="7860" y="12045"/>
                </a:lnTo>
                <a:lnTo>
                  <a:pt x="7860" y="12021"/>
                </a:lnTo>
                <a:lnTo>
                  <a:pt x="9222" y="13261"/>
                </a:lnTo>
                <a:lnTo>
                  <a:pt x="9879" y="13870"/>
                </a:lnTo>
                <a:lnTo>
                  <a:pt x="10195" y="14210"/>
                </a:lnTo>
                <a:lnTo>
                  <a:pt x="10512" y="14527"/>
                </a:lnTo>
                <a:lnTo>
                  <a:pt x="10585" y="14600"/>
                </a:lnTo>
                <a:lnTo>
                  <a:pt x="10658" y="14624"/>
                </a:lnTo>
                <a:lnTo>
                  <a:pt x="10731" y="14624"/>
                </a:lnTo>
                <a:lnTo>
                  <a:pt x="10804" y="14600"/>
                </a:lnTo>
                <a:lnTo>
                  <a:pt x="10925" y="14648"/>
                </a:lnTo>
                <a:lnTo>
                  <a:pt x="11047" y="14673"/>
                </a:lnTo>
                <a:lnTo>
                  <a:pt x="11290" y="14721"/>
                </a:lnTo>
                <a:lnTo>
                  <a:pt x="11534" y="14697"/>
                </a:lnTo>
                <a:lnTo>
                  <a:pt x="11655" y="14673"/>
                </a:lnTo>
                <a:lnTo>
                  <a:pt x="11777" y="14624"/>
                </a:lnTo>
                <a:lnTo>
                  <a:pt x="11923" y="14527"/>
                </a:lnTo>
                <a:lnTo>
                  <a:pt x="12045" y="14429"/>
                </a:lnTo>
                <a:lnTo>
                  <a:pt x="12142" y="14283"/>
                </a:lnTo>
                <a:lnTo>
                  <a:pt x="12239" y="14137"/>
                </a:lnTo>
                <a:lnTo>
                  <a:pt x="12312" y="13967"/>
                </a:lnTo>
                <a:lnTo>
                  <a:pt x="12385" y="13797"/>
                </a:lnTo>
                <a:lnTo>
                  <a:pt x="12458" y="13480"/>
                </a:lnTo>
                <a:lnTo>
                  <a:pt x="12531" y="13091"/>
                </a:lnTo>
                <a:lnTo>
                  <a:pt x="12580" y="12653"/>
                </a:lnTo>
                <a:lnTo>
                  <a:pt x="12580" y="12240"/>
                </a:lnTo>
                <a:lnTo>
                  <a:pt x="12556" y="11802"/>
                </a:lnTo>
                <a:lnTo>
                  <a:pt x="12483" y="11364"/>
                </a:lnTo>
                <a:lnTo>
                  <a:pt x="12385" y="10950"/>
                </a:lnTo>
                <a:lnTo>
                  <a:pt x="12264" y="10536"/>
                </a:lnTo>
                <a:lnTo>
                  <a:pt x="12093" y="10171"/>
                </a:lnTo>
                <a:lnTo>
                  <a:pt x="12337" y="9977"/>
                </a:lnTo>
                <a:lnTo>
                  <a:pt x="12580" y="9758"/>
                </a:lnTo>
                <a:lnTo>
                  <a:pt x="12994" y="9295"/>
                </a:lnTo>
                <a:lnTo>
                  <a:pt x="13407" y="8833"/>
                </a:lnTo>
                <a:lnTo>
                  <a:pt x="13845" y="8371"/>
                </a:lnTo>
                <a:lnTo>
                  <a:pt x="13918" y="8322"/>
                </a:lnTo>
                <a:lnTo>
                  <a:pt x="13967" y="8273"/>
                </a:lnTo>
                <a:lnTo>
                  <a:pt x="14259" y="8006"/>
                </a:lnTo>
                <a:lnTo>
                  <a:pt x="14575" y="7714"/>
                </a:lnTo>
                <a:lnTo>
                  <a:pt x="14721" y="7543"/>
                </a:lnTo>
                <a:lnTo>
                  <a:pt x="14867" y="7373"/>
                </a:lnTo>
                <a:lnTo>
                  <a:pt x="14965" y="7203"/>
                </a:lnTo>
                <a:lnTo>
                  <a:pt x="15062" y="7057"/>
                </a:lnTo>
                <a:lnTo>
                  <a:pt x="15427" y="7154"/>
                </a:lnTo>
                <a:lnTo>
                  <a:pt x="15865" y="7203"/>
                </a:lnTo>
                <a:lnTo>
                  <a:pt x="16279" y="7227"/>
                </a:lnTo>
                <a:lnTo>
                  <a:pt x="16498" y="7203"/>
                </a:lnTo>
                <a:lnTo>
                  <a:pt x="16717" y="7178"/>
                </a:lnTo>
                <a:lnTo>
                  <a:pt x="16911" y="7130"/>
                </a:lnTo>
                <a:lnTo>
                  <a:pt x="17106" y="7057"/>
                </a:lnTo>
                <a:lnTo>
                  <a:pt x="17300" y="6959"/>
                </a:lnTo>
                <a:lnTo>
                  <a:pt x="17446" y="6862"/>
                </a:lnTo>
                <a:lnTo>
                  <a:pt x="17617" y="6740"/>
                </a:lnTo>
                <a:lnTo>
                  <a:pt x="17738" y="6594"/>
                </a:lnTo>
                <a:lnTo>
                  <a:pt x="17836" y="6424"/>
                </a:lnTo>
                <a:lnTo>
                  <a:pt x="17909" y="6229"/>
                </a:lnTo>
                <a:lnTo>
                  <a:pt x="17957" y="6108"/>
                </a:lnTo>
                <a:lnTo>
                  <a:pt x="17957" y="5986"/>
                </a:lnTo>
                <a:lnTo>
                  <a:pt x="17933" y="5864"/>
                </a:lnTo>
                <a:lnTo>
                  <a:pt x="17909" y="5743"/>
                </a:lnTo>
                <a:lnTo>
                  <a:pt x="17811" y="5548"/>
                </a:lnTo>
                <a:lnTo>
                  <a:pt x="17690" y="5353"/>
                </a:lnTo>
                <a:lnTo>
                  <a:pt x="17495" y="5183"/>
                </a:lnTo>
                <a:lnTo>
                  <a:pt x="17325" y="5013"/>
                </a:lnTo>
                <a:lnTo>
                  <a:pt x="16960" y="4721"/>
                </a:lnTo>
                <a:lnTo>
                  <a:pt x="16692" y="4453"/>
                </a:lnTo>
                <a:lnTo>
                  <a:pt x="16425" y="4161"/>
                </a:lnTo>
                <a:lnTo>
                  <a:pt x="15914" y="3577"/>
                </a:lnTo>
                <a:lnTo>
                  <a:pt x="15403" y="2993"/>
                </a:lnTo>
                <a:lnTo>
                  <a:pt x="15135" y="2701"/>
                </a:lnTo>
                <a:lnTo>
                  <a:pt x="14843" y="2434"/>
                </a:lnTo>
                <a:lnTo>
                  <a:pt x="14283" y="1996"/>
                </a:lnTo>
                <a:lnTo>
                  <a:pt x="14016" y="1777"/>
                </a:lnTo>
                <a:lnTo>
                  <a:pt x="13772" y="1533"/>
                </a:lnTo>
                <a:lnTo>
                  <a:pt x="13529" y="1266"/>
                </a:lnTo>
                <a:lnTo>
                  <a:pt x="13310" y="998"/>
                </a:lnTo>
                <a:lnTo>
                  <a:pt x="13091" y="706"/>
                </a:lnTo>
                <a:lnTo>
                  <a:pt x="12848" y="438"/>
                </a:lnTo>
                <a:lnTo>
                  <a:pt x="12677" y="292"/>
                </a:lnTo>
                <a:lnTo>
                  <a:pt x="12507" y="171"/>
                </a:lnTo>
                <a:lnTo>
                  <a:pt x="12337" y="98"/>
                </a:lnTo>
                <a:lnTo>
                  <a:pt x="12142" y="25"/>
                </a:lnTo>
                <a:lnTo>
                  <a:pt x="11947" y="0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868" name="AutoShape 4" descr="blob:https://web.whatsapp.com/fed633e6-d85c-4e37-9fdd-1c21e07676e0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9" name="Google Shape;406;p40"/>
          <p:cNvSpPr/>
          <p:nvPr/>
        </p:nvSpPr>
        <p:spPr>
          <a:xfrm>
            <a:off x="5158896" y="579120"/>
            <a:ext cx="561184" cy="629920"/>
          </a:xfrm>
          <a:custGeom>
            <a:avLst/>
            <a:gdLst/>
            <a:ahLst/>
            <a:cxnLst/>
            <a:rect l="l" t="t" r="r" b="b"/>
            <a:pathLst>
              <a:path w="17958" h="17909" extrusionOk="0">
                <a:moveTo>
                  <a:pt x="11972" y="390"/>
                </a:moveTo>
                <a:lnTo>
                  <a:pt x="12069" y="414"/>
                </a:lnTo>
                <a:lnTo>
                  <a:pt x="12166" y="463"/>
                </a:lnTo>
                <a:lnTo>
                  <a:pt x="12288" y="511"/>
                </a:lnTo>
                <a:lnTo>
                  <a:pt x="12483" y="682"/>
                </a:lnTo>
                <a:lnTo>
                  <a:pt x="12653" y="852"/>
                </a:lnTo>
                <a:lnTo>
                  <a:pt x="12823" y="1047"/>
                </a:lnTo>
                <a:lnTo>
                  <a:pt x="13091" y="1387"/>
                </a:lnTo>
                <a:lnTo>
                  <a:pt x="13456" y="1801"/>
                </a:lnTo>
                <a:lnTo>
                  <a:pt x="13821" y="2166"/>
                </a:lnTo>
                <a:lnTo>
                  <a:pt x="14235" y="2507"/>
                </a:lnTo>
                <a:lnTo>
                  <a:pt x="14648" y="2847"/>
                </a:lnTo>
                <a:lnTo>
                  <a:pt x="14843" y="3042"/>
                </a:lnTo>
                <a:lnTo>
                  <a:pt x="15038" y="3237"/>
                </a:lnTo>
                <a:lnTo>
                  <a:pt x="15403" y="3626"/>
                </a:lnTo>
                <a:lnTo>
                  <a:pt x="15743" y="4040"/>
                </a:lnTo>
                <a:lnTo>
                  <a:pt x="16108" y="4453"/>
                </a:lnTo>
                <a:lnTo>
                  <a:pt x="16449" y="4818"/>
                </a:lnTo>
                <a:lnTo>
                  <a:pt x="16619" y="4988"/>
                </a:lnTo>
                <a:lnTo>
                  <a:pt x="16814" y="5159"/>
                </a:lnTo>
                <a:lnTo>
                  <a:pt x="17130" y="5426"/>
                </a:lnTo>
                <a:lnTo>
                  <a:pt x="17276" y="5572"/>
                </a:lnTo>
                <a:lnTo>
                  <a:pt x="17398" y="5743"/>
                </a:lnTo>
                <a:lnTo>
                  <a:pt x="17422" y="5791"/>
                </a:lnTo>
                <a:lnTo>
                  <a:pt x="17422" y="5791"/>
                </a:lnTo>
                <a:lnTo>
                  <a:pt x="16887" y="5499"/>
                </a:lnTo>
                <a:lnTo>
                  <a:pt x="16449" y="5280"/>
                </a:lnTo>
                <a:lnTo>
                  <a:pt x="16230" y="5159"/>
                </a:lnTo>
                <a:lnTo>
                  <a:pt x="15987" y="5061"/>
                </a:lnTo>
                <a:lnTo>
                  <a:pt x="15962" y="5086"/>
                </a:lnTo>
                <a:lnTo>
                  <a:pt x="15962" y="5110"/>
                </a:lnTo>
                <a:lnTo>
                  <a:pt x="15987" y="5232"/>
                </a:lnTo>
                <a:lnTo>
                  <a:pt x="16035" y="5329"/>
                </a:lnTo>
                <a:lnTo>
                  <a:pt x="16181" y="5499"/>
                </a:lnTo>
                <a:lnTo>
                  <a:pt x="16352" y="5645"/>
                </a:lnTo>
                <a:lnTo>
                  <a:pt x="16571" y="5791"/>
                </a:lnTo>
                <a:lnTo>
                  <a:pt x="17033" y="6010"/>
                </a:lnTo>
                <a:lnTo>
                  <a:pt x="17252" y="6132"/>
                </a:lnTo>
                <a:lnTo>
                  <a:pt x="17446" y="6229"/>
                </a:lnTo>
                <a:lnTo>
                  <a:pt x="17349" y="6351"/>
                </a:lnTo>
                <a:lnTo>
                  <a:pt x="17227" y="6448"/>
                </a:lnTo>
                <a:lnTo>
                  <a:pt x="17154" y="6375"/>
                </a:lnTo>
                <a:lnTo>
                  <a:pt x="17082" y="6302"/>
                </a:lnTo>
                <a:lnTo>
                  <a:pt x="16887" y="6205"/>
                </a:lnTo>
                <a:lnTo>
                  <a:pt x="16498" y="6010"/>
                </a:lnTo>
                <a:lnTo>
                  <a:pt x="16400" y="5937"/>
                </a:lnTo>
                <a:lnTo>
                  <a:pt x="16303" y="5840"/>
                </a:lnTo>
                <a:lnTo>
                  <a:pt x="16108" y="5645"/>
                </a:lnTo>
                <a:lnTo>
                  <a:pt x="16011" y="5548"/>
                </a:lnTo>
                <a:lnTo>
                  <a:pt x="15914" y="5451"/>
                </a:lnTo>
                <a:lnTo>
                  <a:pt x="15816" y="5402"/>
                </a:lnTo>
                <a:lnTo>
                  <a:pt x="15695" y="5353"/>
                </a:lnTo>
                <a:lnTo>
                  <a:pt x="15670" y="5353"/>
                </a:lnTo>
                <a:lnTo>
                  <a:pt x="15646" y="5378"/>
                </a:lnTo>
                <a:lnTo>
                  <a:pt x="15622" y="5426"/>
                </a:lnTo>
                <a:lnTo>
                  <a:pt x="15622" y="5548"/>
                </a:lnTo>
                <a:lnTo>
                  <a:pt x="15670" y="5645"/>
                </a:lnTo>
                <a:lnTo>
                  <a:pt x="15792" y="5864"/>
                </a:lnTo>
                <a:lnTo>
                  <a:pt x="15962" y="6083"/>
                </a:lnTo>
                <a:lnTo>
                  <a:pt x="16133" y="6229"/>
                </a:lnTo>
                <a:lnTo>
                  <a:pt x="16303" y="6351"/>
                </a:lnTo>
                <a:lnTo>
                  <a:pt x="16473" y="6448"/>
                </a:lnTo>
                <a:lnTo>
                  <a:pt x="16668" y="6521"/>
                </a:lnTo>
                <a:lnTo>
                  <a:pt x="16838" y="6643"/>
                </a:lnTo>
                <a:lnTo>
                  <a:pt x="16619" y="6692"/>
                </a:lnTo>
                <a:lnTo>
                  <a:pt x="16400" y="6716"/>
                </a:lnTo>
                <a:lnTo>
                  <a:pt x="16376" y="6692"/>
                </a:lnTo>
                <a:lnTo>
                  <a:pt x="16327" y="6643"/>
                </a:lnTo>
                <a:lnTo>
                  <a:pt x="16181" y="6570"/>
                </a:lnTo>
                <a:lnTo>
                  <a:pt x="16108" y="6546"/>
                </a:lnTo>
                <a:lnTo>
                  <a:pt x="16035" y="6497"/>
                </a:lnTo>
                <a:lnTo>
                  <a:pt x="15889" y="6375"/>
                </a:lnTo>
                <a:lnTo>
                  <a:pt x="15768" y="6229"/>
                </a:lnTo>
                <a:lnTo>
                  <a:pt x="15670" y="6108"/>
                </a:lnTo>
                <a:lnTo>
                  <a:pt x="15549" y="6010"/>
                </a:lnTo>
                <a:lnTo>
                  <a:pt x="15403" y="5962"/>
                </a:lnTo>
                <a:lnTo>
                  <a:pt x="15330" y="5937"/>
                </a:lnTo>
                <a:lnTo>
                  <a:pt x="15257" y="5962"/>
                </a:lnTo>
                <a:lnTo>
                  <a:pt x="15232" y="5962"/>
                </a:lnTo>
                <a:lnTo>
                  <a:pt x="15232" y="6010"/>
                </a:lnTo>
                <a:lnTo>
                  <a:pt x="15281" y="6181"/>
                </a:lnTo>
                <a:lnTo>
                  <a:pt x="15354" y="6327"/>
                </a:lnTo>
                <a:lnTo>
                  <a:pt x="15573" y="6619"/>
                </a:lnTo>
                <a:lnTo>
                  <a:pt x="15622" y="6692"/>
                </a:lnTo>
                <a:lnTo>
                  <a:pt x="15354" y="6643"/>
                </a:lnTo>
                <a:lnTo>
                  <a:pt x="15086" y="6570"/>
                </a:lnTo>
                <a:lnTo>
                  <a:pt x="15086" y="6546"/>
                </a:lnTo>
                <a:lnTo>
                  <a:pt x="14843" y="6205"/>
                </a:lnTo>
                <a:lnTo>
                  <a:pt x="14575" y="5889"/>
                </a:lnTo>
                <a:lnTo>
                  <a:pt x="14283" y="5572"/>
                </a:lnTo>
                <a:lnTo>
                  <a:pt x="13991" y="5256"/>
                </a:lnTo>
                <a:lnTo>
                  <a:pt x="13359" y="4672"/>
                </a:lnTo>
                <a:lnTo>
                  <a:pt x="12726" y="4137"/>
                </a:lnTo>
                <a:lnTo>
                  <a:pt x="11996" y="3456"/>
                </a:lnTo>
                <a:lnTo>
                  <a:pt x="11607" y="3139"/>
                </a:lnTo>
                <a:lnTo>
                  <a:pt x="11217" y="2823"/>
                </a:lnTo>
                <a:lnTo>
                  <a:pt x="11169" y="2823"/>
                </a:lnTo>
                <a:lnTo>
                  <a:pt x="11144" y="2750"/>
                </a:lnTo>
                <a:lnTo>
                  <a:pt x="11071" y="2628"/>
                </a:lnTo>
                <a:lnTo>
                  <a:pt x="11023" y="2482"/>
                </a:lnTo>
                <a:lnTo>
                  <a:pt x="10974" y="2336"/>
                </a:lnTo>
                <a:lnTo>
                  <a:pt x="10950" y="2166"/>
                </a:lnTo>
                <a:lnTo>
                  <a:pt x="10925" y="1850"/>
                </a:lnTo>
                <a:lnTo>
                  <a:pt x="10974" y="1509"/>
                </a:lnTo>
                <a:lnTo>
                  <a:pt x="11071" y="1193"/>
                </a:lnTo>
                <a:lnTo>
                  <a:pt x="11144" y="1022"/>
                </a:lnTo>
                <a:lnTo>
                  <a:pt x="11217" y="901"/>
                </a:lnTo>
                <a:lnTo>
                  <a:pt x="11315" y="755"/>
                </a:lnTo>
                <a:lnTo>
                  <a:pt x="11412" y="633"/>
                </a:lnTo>
                <a:lnTo>
                  <a:pt x="11534" y="536"/>
                </a:lnTo>
                <a:lnTo>
                  <a:pt x="11655" y="463"/>
                </a:lnTo>
                <a:lnTo>
                  <a:pt x="11753" y="414"/>
                </a:lnTo>
                <a:lnTo>
                  <a:pt x="11850" y="390"/>
                </a:lnTo>
                <a:close/>
                <a:moveTo>
                  <a:pt x="10098" y="4745"/>
                </a:moveTo>
                <a:lnTo>
                  <a:pt x="9976" y="4794"/>
                </a:lnTo>
                <a:lnTo>
                  <a:pt x="9879" y="4867"/>
                </a:lnTo>
                <a:lnTo>
                  <a:pt x="9684" y="5037"/>
                </a:lnTo>
                <a:lnTo>
                  <a:pt x="9149" y="5572"/>
                </a:lnTo>
                <a:lnTo>
                  <a:pt x="8687" y="6035"/>
                </a:lnTo>
                <a:lnTo>
                  <a:pt x="8468" y="6302"/>
                </a:lnTo>
                <a:lnTo>
                  <a:pt x="8273" y="6570"/>
                </a:lnTo>
                <a:lnTo>
                  <a:pt x="8249" y="6643"/>
                </a:lnTo>
                <a:lnTo>
                  <a:pt x="8273" y="6716"/>
                </a:lnTo>
                <a:lnTo>
                  <a:pt x="8346" y="6789"/>
                </a:lnTo>
                <a:lnTo>
                  <a:pt x="8419" y="6789"/>
                </a:lnTo>
                <a:lnTo>
                  <a:pt x="8565" y="6765"/>
                </a:lnTo>
                <a:lnTo>
                  <a:pt x="8687" y="6716"/>
                </a:lnTo>
                <a:lnTo>
                  <a:pt x="8833" y="6619"/>
                </a:lnTo>
                <a:lnTo>
                  <a:pt x="8979" y="6521"/>
                </a:lnTo>
                <a:lnTo>
                  <a:pt x="9222" y="6278"/>
                </a:lnTo>
                <a:lnTo>
                  <a:pt x="9417" y="6059"/>
                </a:lnTo>
                <a:lnTo>
                  <a:pt x="9976" y="5524"/>
                </a:lnTo>
                <a:lnTo>
                  <a:pt x="10171" y="5353"/>
                </a:lnTo>
                <a:lnTo>
                  <a:pt x="10268" y="5280"/>
                </a:lnTo>
                <a:lnTo>
                  <a:pt x="10341" y="5207"/>
                </a:lnTo>
                <a:lnTo>
                  <a:pt x="10414" y="5110"/>
                </a:lnTo>
                <a:lnTo>
                  <a:pt x="10414" y="5037"/>
                </a:lnTo>
                <a:lnTo>
                  <a:pt x="10414" y="4964"/>
                </a:lnTo>
                <a:lnTo>
                  <a:pt x="10390" y="4891"/>
                </a:lnTo>
                <a:lnTo>
                  <a:pt x="10341" y="4818"/>
                </a:lnTo>
                <a:lnTo>
                  <a:pt x="10268" y="4770"/>
                </a:lnTo>
                <a:lnTo>
                  <a:pt x="10195" y="4745"/>
                </a:lnTo>
                <a:close/>
                <a:moveTo>
                  <a:pt x="11047" y="3018"/>
                </a:moveTo>
                <a:lnTo>
                  <a:pt x="11193" y="3188"/>
                </a:lnTo>
                <a:lnTo>
                  <a:pt x="11339" y="3358"/>
                </a:lnTo>
                <a:lnTo>
                  <a:pt x="11680" y="3699"/>
                </a:lnTo>
                <a:lnTo>
                  <a:pt x="12385" y="4307"/>
                </a:lnTo>
                <a:lnTo>
                  <a:pt x="12994" y="4867"/>
                </a:lnTo>
                <a:lnTo>
                  <a:pt x="13602" y="5451"/>
                </a:lnTo>
                <a:lnTo>
                  <a:pt x="14162" y="6059"/>
                </a:lnTo>
                <a:lnTo>
                  <a:pt x="14429" y="6375"/>
                </a:lnTo>
                <a:lnTo>
                  <a:pt x="14697" y="6716"/>
                </a:lnTo>
                <a:lnTo>
                  <a:pt x="14624" y="6789"/>
                </a:lnTo>
                <a:lnTo>
                  <a:pt x="14308" y="6619"/>
                </a:lnTo>
                <a:lnTo>
                  <a:pt x="14137" y="6521"/>
                </a:lnTo>
                <a:lnTo>
                  <a:pt x="13943" y="6424"/>
                </a:lnTo>
                <a:lnTo>
                  <a:pt x="13821" y="6400"/>
                </a:lnTo>
                <a:lnTo>
                  <a:pt x="13748" y="6375"/>
                </a:lnTo>
                <a:lnTo>
                  <a:pt x="13699" y="6327"/>
                </a:lnTo>
                <a:lnTo>
                  <a:pt x="13675" y="6327"/>
                </a:lnTo>
                <a:lnTo>
                  <a:pt x="13651" y="6351"/>
                </a:lnTo>
                <a:lnTo>
                  <a:pt x="13651" y="6375"/>
                </a:lnTo>
                <a:lnTo>
                  <a:pt x="13724" y="6497"/>
                </a:lnTo>
                <a:lnTo>
                  <a:pt x="13772" y="6594"/>
                </a:lnTo>
                <a:lnTo>
                  <a:pt x="13918" y="6765"/>
                </a:lnTo>
                <a:lnTo>
                  <a:pt x="14089" y="6911"/>
                </a:lnTo>
                <a:lnTo>
                  <a:pt x="14405" y="7105"/>
                </a:lnTo>
                <a:lnTo>
                  <a:pt x="14332" y="7203"/>
                </a:lnTo>
                <a:lnTo>
                  <a:pt x="14283" y="7251"/>
                </a:lnTo>
                <a:lnTo>
                  <a:pt x="14235" y="7227"/>
                </a:lnTo>
                <a:lnTo>
                  <a:pt x="13967" y="7105"/>
                </a:lnTo>
                <a:lnTo>
                  <a:pt x="13699" y="6984"/>
                </a:lnTo>
                <a:lnTo>
                  <a:pt x="13602" y="6911"/>
                </a:lnTo>
                <a:lnTo>
                  <a:pt x="13480" y="6862"/>
                </a:lnTo>
                <a:lnTo>
                  <a:pt x="13359" y="6838"/>
                </a:lnTo>
                <a:lnTo>
                  <a:pt x="13237" y="6862"/>
                </a:lnTo>
                <a:lnTo>
                  <a:pt x="13188" y="6886"/>
                </a:lnTo>
                <a:lnTo>
                  <a:pt x="13188" y="6911"/>
                </a:lnTo>
                <a:lnTo>
                  <a:pt x="13164" y="6959"/>
                </a:lnTo>
                <a:lnTo>
                  <a:pt x="13188" y="6984"/>
                </a:lnTo>
                <a:lnTo>
                  <a:pt x="13261" y="7105"/>
                </a:lnTo>
                <a:lnTo>
                  <a:pt x="13383" y="7178"/>
                </a:lnTo>
                <a:lnTo>
                  <a:pt x="13626" y="7349"/>
                </a:lnTo>
                <a:lnTo>
                  <a:pt x="13821" y="7446"/>
                </a:lnTo>
                <a:lnTo>
                  <a:pt x="14016" y="7543"/>
                </a:lnTo>
                <a:lnTo>
                  <a:pt x="13699" y="7835"/>
                </a:lnTo>
                <a:lnTo>
                  <a:pt x="13480" y="7738"/>
                </a:lnTo>
                <a:lnTo>
                  <a:pt x="13237" y="7616"/>
                </a:lnTo>
                <a:lnTo>
                  <a:pt x="13018" y="7568"/>
                </a:lnTo>
                <a:lnTo>
                  <a:pt x="12896" y="7543"/>
                </a:lnTo>
                <a:lnTo>
                  <a:pt x="12775" y="7543"/>
                </a:lnTo>
                <a:lnTo>
                  <a:pt x="12702" y="7568"/>
                </a:lnTo>
                <a:lnTo>
                  <a:pt x="12653" y="7641"/>
                </a:lnTo>
                <a:lnTo>
                  <a:pt x="12653" y="7714"/>
                </a:lnTo>
                <a:lnTo>
                  <a:pt x="12653" y="7762"/>
                </a:lnTo>
                <a:lnTo>
                  <a:pt x="12702" y="7787"/>
                </a:lnTo>
                <a:lnTo>
                  <a:pt x="13042" y="7981"/>
                </a:lnTo>
                <a:lnTo>
                  <a:pt x="13383" y="8176"/>
                </a:lnTo>
                <a:lnTo>
                  <a:pt x="13164" y="8419"/>
                </a:lnTo>
                <a:lnTo>
                  <a:pt x="12969" y="8346"/>
                </a:lnTo>
                <a:lnTo>
                  <a:pt x="12775" y="8273"/>
                </a:lnTo>
                <a:lnTo>
                  <a:pt x="12580" y="8152"/>
                </a:lnTo>
                <a:lnTo>
                  <a:pt x="12483" y="8103"/>
                </a:lnTo>
                <a:lnTo>
                  <a:pt x="12385" y="8054"/>
                </a:lnTo>
                <a:lnTo>
                  <a:pt x="12337" y="8054"/>
                </a:lnTo>
                <a:lnTo>
                  <a:pt x="12288" y="8079"/>
                </a:lnTo>
                <a:lnTo>
                  <a:pt x="12264" y="8127"/>
                </a:lnTo>
                <a:lnTo>
                  <a:pt x="12264" y="8176"/>
                </a:lnTo>
                <a:lnTo>
                  <a:pt x="12312" y="8273"/>
                </a:lnTo>
                <a:lnTo>
                  <a:pt x="12410" y="8371"/>
                </a:lnTo>
                <a:lnTo>
                  <a:pt x="12507" y="8468"/>
                </a:lnTo>
                <a:lnTo>
                  <a:pt x="12604" y="8541"/>
                </a:lnTo>
                <a:lnTo>
                  <a:pt x="12750" y="8614"/>
                </a:lnTo>
                <a:lnTo>
                  <a:pt x="12921" y="8687"/>
                </a:lnTo>
                <a:lnTo>
                  <a:pt x="12726" y="8930"/>
                </a:lnTo>
                <a:lnTo>
                  <a:pt x="12531" y="8833"/>
                </a:lnTo>
                <a:lnTo>
                  <a:pt x="12361" y="8784"/>
                </a:lnTo>
                <a:lnTo>
                  <a:pt x="12142" y="8638"/>
                </a:lnTo>
                <a:lnTo>
                  <a:pt x="11923" y="8517"/>
                </a:lnTo>
                <a:lnTo>
                  <a:pt x="11899" y="8517"/>
                </a:lnTo>
                <a:lnTo>
                  <a:pt x="11850" y="8565"/>
                </a:lnTo>
                <a:lnTo>
                  <a:pt x="11826" y="8590"/>
                </a:lnTo>
                <a:lnTo>
                  <a:pt x="11826" y="8687"/>
                </a:lnTo>
                <a:lnTo>
                  <a:pt x="11850" y="8809"/>
                </a:lnTo>
                <a:lnTo>
                  <a:pt x="11947" y="8906"/>
                </a:lnTo>
                <a:lnTo>
                  <a:pt x="12045" y="9003"/>
                </a:lnTo>
                <a:lnTo>
                  <a:pt x="12166" y="9101"/>
                </a:lnTo>
                <a:lnTo>
                  <a:pt x="12458" y="9247"/>
                </a:lnTo>
                <a:lnTo>
                  <a:pt x="12166" y="9539"/>
                </a:lnTo>
                <a:lnTo>
                  <a:pt x="11947" y="9441"/>
                </a:lnTo>
                <a:lnTo>
                  <a:pt x="11753" y="9320"/>
                </a:lnTo>
                <a:lnTo>
                  <a:pt x="11582" y="9198"/>
                </a:lnTo>
                <a:lnTo>
                  <a:pt x="11461" y="9174"/>
                </a:lnTo>
                <a:lnTo>
                  <a:pt x="11339" y="9174"/>
                </a:lnTo>
                <a:lnTo>
                  <a:pt x="11315" y="9198"/>
                </a:lnTo>
                <a:lnTo>
                  <a:pt x="11315" y="9271"/>
                </a:lnTo>
                <a:lnTo>
                  <a:pt x="11363" y="9368"/>
                </a:lnTo>
                <a:lnTo>
                  <a:pt x="11436" y="9466"/>
                </a:lnTo>
                <a:lnTo>
                  <a:pt x="11582" y="9612"/>
                </a:lnTo>
                <a:lnTo>
                  <a:pt x="11728" y="9709"/>
                </a:lnTo>
                <a:lnTo>
                  <a:pt x="11850" y="9806"/>
                </a:lnTo>
                <a:lnTo>
                  <a:pt x="11777" y="9879"/>
                </a:lnTo>
                <a:lnTo>
                  <a:pt x="11728" y="9928"/>
                </a:lnTo>
                <a:lnTo>
                  <a:pt x="11704" y="9977"/>
                </a:lnTo>
                <a:lnTo>
                  <a:pt x="11680" y="10050"/>
                </a:lnTo>
                <a:lnTo>
                  <a:pt x="11680" y="10098"/>
                </a:lnTo>
                <a:lnTo>
                  <a:pt x="11655" y="10196"/>
                </a:lnTo>
                <a:lnTo>
                  <a:pt x="11680" y="10244"/>
                </a:lnTo>
                <a:lnTo>
                  <a:pt x="11704" y="10317"/>
                </a:lnTo>
                <a:lnTo>
                  <a:pt x="11777" y="10488"/>
                </a:lnTo>
                <a:lnTo>
                  <a:pt x="11874" y="10682"/>
                </a:lnTo>
                <a:lnTo>
                  <a:pt x="11680" y="10561"/>
                </a:lnTo>
                <a:lnTo>
                  <a:pt x="11509" y="10463"/>
                </a:lnTo>
                <a:lnTo>
                  <a:pt x="11412" y="10439"/>
                </a:lnTo>
                <a:lnTo>
                  <a:pt x="11217" y="10439"/>
                </a:lnTo>
                <a:lnTo>
                  <a:pt x="11144" y="10463"/>
                </a:lnTo>
                <a:lnTo>
                  <a:pt x="11096" y="10488"/>
                </a:lnTo>
                <a:lnTo>
                  <a:pt x="11096" y="10512"/>
                </a:lnTo>
                <a:lnTo>
                  <a:pt x="11096" y="10561"/>
                </a:lnTo>
                <a:lnTo>
                  <a:pt x="11096" y="10585"/>
                </a:lnTo>
                <a:lnTo>
                  <a:pt x="11193" y="10658"/>
                </a:lnTo>
                <a:lnTo>
                  <a:pt x="11315" y="10731"/>
                </a:lnTo>
                <a:lnTo>
                  <a:pt x="11509" y="10877"/>
                </a:lnTo>
                <a:lnTo>
                  <a:pt x="11753" y="11072"/>
                </a:lnTo>
                <a:lnTo>
                  <a:pt x="11996" y="11266"/>
                </a:lnTo>
                <a:lnTo>
                  <a:pt x="12020" y="11266"/>
                </a:lnTo>
                <a:lnTo>
                  <a:pt x="12093" y="11631"/>
                </a:lnTo>
                <a:lnTo>
                  <a:pt x="12118" y="11972"/>
                </a:lnTo>
                <a:lnTo>
                  <a:pt x="11777" y="11704"/>
                </a:lnTo>
                <a:lnTo>
                  <a:pt x="11461" y="11437"/>
                </a:lnTo>
                <a:lnTo>
                  <a:pt x="11315" y="11339"/>
                </a:lnTo>
                <a:lnTo>
                  <a:pt x="11144" y="11242"/>
                </a:lnTo>
                <a:lnTo>
                  <a:pt x="10974" y="11193"/>
                </a:lnTo>
                <a:lnTo>
                  <a:pt x="10877" y="11169"/>
                </a:lnTo>
                <a:lnTo>
                  <a:pt x="10779" y="11193"/>
                </a:lnTo>
                <a:lnTo>
                  <a:pt x="10755" y="11218"/>
                </a:lnTo>
                <a:lnTo>
                  <a:pt x="10779" y="11242"/>
                </a:lnTo>
                <a:lnTo>
                  <a:pt x="11363" y="11826"/>
                </a:lnTo>
                <a:lnTo>
                  <a:pt x="11509" y="11972"/>
                </a:lnTo>
                <a:lnTo>
                  <a:pt x="11680" y="12142"/>
                </a:lnTo>
                <a:lnTo>
                  <a:pt x="11850" y="12264"/>
                </a:lnTo>
                <a:lnTo>
                  <a:pt x="12069" y="12361"/>
                </a:lnTo>
                <a:lnTo>
                  <a:pt x="12118" y="12361"/>
                </a:lnTo>
                <a:lnTo>
                  <a:pt x="12118" y="12921"/>
                </a:lnTo>
                <a:lnTo>
                  <a:pt x="12093" y="13091"/>
                </a:lnTo>
                <a:lnTo>
                  <a:pt x="11972" y="12969"/>
                </a:lnTo>
                <a:lnTo>
                  <a:pt x="11850" y="12824"/>
                </a:lnTo>
                <a:lnTo>
                  <a:pt x="11655" y="12653"/>
                </a:lnTo>
                <a:lnTo>
                  <a:pt x="11120" y="12167"/>
                </a:lnTo>
                <a:lnTo>
                  <a:pt x="10877" y="11948"/>
                </a:lnTo>
                <a:lnTo>
                  <a:pt x="10731" y="11875"/>
                </a:lnTo>
                <a:lnTo>
                  <a:pt x="10585" y="11826"/>
                </a:lnTo>
                <a:lnTo>
                  <a:pt x="10536" y="11850"/>
                </a:lnTo>
                <a:lnTo>
                  <a:pt x="10512" y="11875"/>
                </a:lnTo>
                <a:lnTo>
                  <a:pt x="10536" y="12021"/>
                </a:lnTo>
                <a:lnTo>
                  <a:pt x="10609" y="12142"/>
                </a:lnTo>
                <a:lnTo>
                  <a:pt x="10682" y="12264"/>
                </a:lnTo>
                <a:lnTo>
                  <a:pt x="10779" y="12386"/>
                </a:lnTo>
                <a:lnTo>
                  <a:pt x="11023" y="12605"/>
                </a:lnTo>
                <a:lnTo>
                  <a:pt x="11217" y="12799"/>
                </a:lnTo>
                <a:lnTo>
                  <a:pt x="11728" y="13286"/>
                </a:lnTo>
                <a:lnTo>
                  <a:pt x="11801" y="13359"/>
                </a:lnTo>
                <a:lnTo>
                  <a:pt x="11874" y="13407"/>
                </a:lnTo>
                <a:lnTo>
                  <a:pt x="12045" y="13407"/>
                </a:lnTo>
                <a:lnTo>
                  <a:pt x="11947" y="13699"/>
                </a:lnTo>
                <a:lnTo>
                  <a:pt x="11899" y="13845"/>
                </a:lnTo>
                <a:lnTo>
                  <a:pt x="11826" y="13991"/>
                </a:lnTo>
                <a:lnTo>
                  <a:pt x="11631" y="13748"/>
                </a:lnTo>
                <a:lnTo>
                  <a:pt x="11412" y="13529"/>
                </a:lnTo>
                <a:lnTo>
                  <a:pt x="11169" y="13334"/>
                </a:lnTo>
                <a:lnTo>
                  <a:pt x="10950" y="13115"/>
                </a:lnTo>
                <a:lnTo>
                  <a:pt x="10536" y="12702"/>
                </a:lnTo>
                <a:lnTo>
                  <a:pt x="10439" y="12629"/>
                </a:lnTo>
                <a:lnTo>
                  <a:pt x="10293" y="12532"/>
                </a:lnTo>
                <a:lnTo>
                  <a:pt x="10171" y="12459"/>
                </a:lnTo>
                <a:lnTo>
                  <a:pt x="10098" y="12361"/>
                </a:lnTo>
                <a:lnTo>
                  <a:pt x="10074" y="12361"/>
                </a:lnTo>
                <a:lnTo>
                  <a:pt x="10049" y="12386"/>
                </a:lnTo>
                <a:lnTo>
                  <a:pt x="10098" y="12532"/>
                </a:lnTo>
                <a:lnTo>
                  <a:pt x="10147" y="12653"/>
                </a:lnTo>
                <a:lnTo>
                  <a:pt x="10293" y="12921"/>
                </a:lnTo>
                <a:lnTo>
                  <a:pt x="10487" y="13140"/>
                </a:lnTo>
                <a:lnTo>
                  <a:pt x="10706" y="13359"/>
                </a:lnTo>
                <a:lnTo>
                  <a:pt x="11169" y="13797"/>
                </a:lnTo>
                <a:lnTo>
                  <a:pt x="11388" y="14016"/>
                </a:lnTo>
                <a:lnTo>
                  <a:pt x="11558" y="14235"/>
                </a:lnTo>
                <a:lnTo>
                  <a:pt x="11412" y="14283"/>
                </a:lnTo>
                <a:lnTo>
                  <a:pt x="11266" y="14283"/>
                </a:lnTo>
                <a:lnTo>
                  <a:pt x="11096" y="14259"/>
                </a:lnTo>
                <a:lnTo>
                  <a:pt x="10925" y="14210"/>
                </a:lnTo>
                <a:lnTo>
                  <a:pt x="10877" y="14162"/>
                </a:lnTo>
                <a:lnTo>
                  <a:pt x="10414" y="13651"/>
                </a:lnTo>
                <a:lnTo>
                  <a:pt x="9903" y="13164"/>
                </a:lnTo>
                <a:lnTo>
                  <a:pt x="9392" y="12678"/>
                </a:lnTo>
                <a:lnTo>
                  <a:pt x="8857" y="12240"/>
                </a:lnTo>
                <a:lnTo>
                  <a:pt x="7811" y="11315"/>
                </a:lnTo>
                <a:lnTo>
                  <a:pt x="7300" y="10828"/>
                </a:lnTo>
                <a:lnTo>
                  <a:pt x="6813" y="10342"/>
                </a:lnTo>
                <a:lnTo>
                  <a:pt x="5913" y="9344"/>
                </a:lnTo>
                <a:lnTo>
                  <a:pt x="5426" y="8857"/>
                </a:lnTo>
                <a:lnTo>
                  <a:pt x="4940" y="8419"/>
                </a:lnTo>
                <a:lnTo>
                  <a:pt x="4429" y="7981"/>
                </a:lnTo>
                <a:lnTo>
                  <a:pt x="3918" y="7568"/>
                </a:lnTo>
                <a:lnTo>
                  <a:pt x="3747" y="7397"/>
                </a:lnTo>
                <a:lnTo>
                  <a:pt x="3577" y="7203"/>
                </a:lnTo>
                <a:lnTo>
                  <a:pt x="3504" y="7130"/>
                </a:lnTo>
                <a:lnTo>
                  <a:pt x="3407" y="7057"/>
                </a:lnTo>
                <a:lnTo>
                  <a:pt x="3309" y="7008"/>
                </a:lnTo>
                <a:lnTo>
                  <a:pt x="3212" y="6984"/>
                </a:lnTo>
                <a:lnTo>
                  <a:pt x="3163" y="6911"/>
                </a:lnTo>
                <a:lnTo>
                  <a:pt x="3139" y="6838"/>
                </a:lnTo>
                <a:lnTo>
                  <a:pt x="3163" y="6740"/>
                </a:lnTo>
                <a:lnTo>
                  <a:pt x="3163" y="6667"/>
                </a:lnTo>
                <a:lnTo>
                  <a:pt x="3236" y="6521"/>
                </a:lnTo>
                <a:lnTo>
                  <a:pt x="3358" y="6375"/>
                </a:lnTo>
                <a:lnTo>
                  <a:pt x="3504" y="6254"/>
                </a:lnTo>
                <a:lnTo>
                  <a:pt x="3650" y="6156"/>
                </a:lnTo>
                <a:lnTo>
                  <a:pt x="3942" y="6010"/>
                </a:lnTo>
                <a:lnTo>
                  <a:pt x="4234" y="5913"/>
                </a:lnTo>
                <a:lnTo>
                  <a:pt x="4526" y="5840"/>
                </a:lnTo>
                <a:lnTo>
                  <a:pt x="4842" y="5767"/>
                </a:lnTo>
                <a:lnTo>
                  <a:pt x="5134" y="5743"/>
                </a:lnTo>
                <a:lnTo>
                  <a:pt x="5499" y="5743"/>
                </a:lnTo>
                <a:lnTo>
                  <a:pt x="5864" y="5767"/>
                </a:lnTo>
                <a:lnTo>
                  <a:pt x="6229" y="5816"/>
                </a:lnTo>
                <a:lnTo>
                  <a:pt x="6594" y="5913"/>
                </a:lnTo>
                <a:lnTo>
                  <a:pt x="6862" y="6010"/>
                </a:lnTo>
                <a:lnTo>
                  <a:pt x="7154" y="6108"/>
                </a:lnTo>
                <a:lnTo>
                  <a:pt x="7446" y="6205"/>
                </a:lnTo>
                <a:lnTo>
                  <a:pt x="7592" y="6254"/>
                </a:lnTo>
                <a:lnTo>
                  <a:pt x="7738" y="6254"/>
                </a:lnTo>
                <a:lnTo>
                  <a:pt x="7787" y="6229"/>
                </a:lnTo>
                <a:lnTo>
                  <a:pt x="7860" y="6181"/>
                </a:lnTo>
                <a:lnTo>
                  <a:pt x="7884" y="6132"/>
                </a:lnTo>
                <a:lnTo>
                  <a:pt x="7884" y="6083"/>
                </a:lnTo>
                <a:lnTo>
                  <a:pt x="8006" y="5962"/>
                </a:lnTo>
                <a:lnTo>
                  <a:pt x="8079" y="5864"/>
                </a:lnTo>
                <a:lnTo>
                  <a:pt x="8346" y="5621"/>
                </a:lnTo>
                <a:lnTo>
                  <a:pt x="8614" y="5402"/>
                </a:lnTo>
                <a:lnTo>
                  <a:pt x="9198" y="4964"/>
                </a:lnTo>
                <a:lnTo>
                  <a:pt x="9490" y="4721"/>
                </a:lnTo>
                <a:lnTo>
                  <a:pt x="9757" y="4453"/>
                </a:lnTo>
                <a:lnTo>
                  <a:pt x="10293" y="3894"/>
                </a:lnTo>
                <a:lnTo>
                  <a:pt x="10706" y="3480"/>
                </a:lnTo>
                <a:lnTo>
                  <a:pt x="10901" y="3261"/>
                </a:lnTo>
                <a:lnTo>
                  <a:pt x="10974" y="3139"/>
                </a:lnTo>
                <a:lnTo>
                  <a:pt x="11047" y="3018"/>
                </a:lnTo>
                <a:close/>
                <a:moveTo>
                  <a:pt x="6327" y="10463"/>
                </a:moveTo>
                <a:lnTo>
                  <a:pt x="6594" y="10780"/>
                </a:lnTo>
                <a:lnTo>
                  <a:pt x="7057" y="11266"/>
                </a:lnTo>
                <a:lnTo>
                  <a:pt x="7543" y="11729"/>
                </a:lnTo>
                <a:lnTo>
                  <a:pt x="6643" y="12580"/>
                </a:lnTo>
                <a:lnTo>
                  <a:pt x="5718" y="13407"/>
                </a:lnTo>
                <a:lnTo>
                  <a:pt x="4794" y="14210"/>
                </a:lnTo>
                <a:lnTo>
                  <a:pt x="3820" y="14989"/>
                </a:lnTo>
                <a:lnTo>
                  <a:pt x="3042" y="15597"/>
                </a:lnTo>
                <a:lnTo>
                  <a:pt x="2263" y="16157"/>
                </a:lnTo>
                <a:lnTo>
                  <a:pt x="1460" y="16717"/>
                </a:lnTo>
                <a:lnTo>
                  <a:pt x="682" y="17301"/>
                </a:lnTo>
                <a:lnTo>
                  <a:pt x="1120" y="16765"/>
                </a:lnTo>
                <a:lnTo>
                  <a:pt x="1533" y="16230"/>
                </a:lnTo>
                <a:lnTo>
                  <a:pt x="1971" y="15646"/>
                </a:lnTo>
                <a:lnTo>
                  <a:pt x="2458" y="15111"/>
                </a:lnTo>
                <a:lnTo>
                  <a:pt x="3431" y="14064"/>
                </a:lnTo>
                <a:lnTo>
                  <a:pt x="4307" y="13018"/>
                </a:lnTo>
                <a:lnTo>
                  <a:pt x="5159" y="11972"/>
                </a:lnTo>
                <a:lnTo>
                  <a:pt x="5524" y="11485"/>
                </a:lnTo>
                <a:lnTo>
                  <a:pt x="5913" y="11023"/>
                </a:lnTo>
                <a:lnTo>
                  <a:pt x="6132" y="10755"/>
                </a:lnTo>
                <a:lnTo>
                  <a:pt x="6229" y="10609"/>
                </a:lnTo>
                <a:lnTo>
                  <a:pt x="6327" y="10463"/>
                </a:lnTo>
                <a:close/>
                <a:moveTo>
                  <a:pt x="11753" y="0"/>
                </a:moveTo>
                <a:lnTo>
                  <a:pt x="11558" y="49"/>
                </a:lnTo>
                <a:lnTo>
                  <a:pt x="11363" y="122"/>
                </a:lnTo>
                <a:lnTo>
                  <a:pt x="11217" y="219"/>
                </a:lnTo>
                <a:lnTo>
                  <a:pt x="11096" y="341"/>
                </a:lnTo>
                <a:lnTo>
                  <a:pt x="10974" y="463"/>
                </a:lnTo>
                <a:lnTo>
                  <a:pt x="10877" y="609"/>
                </a:lnTo>
                <a:lnTo>
                  <a:pt x="10779" y="779"/>
                </a:lnTo>
                <a:lnTo>
                  <a:pt x="10706" y="949"/>
                </a:lnTo>
                <a:lnTo>
                  <a:pt x="10633" y="1120"/>
                </a:lnTo>
                <a:lnTo>
                  <a:pt x="10585" y="1314"/>
                </a:lnTo>
                <a:lnTo>
                  <a:pt x="10536" y="1509"/>
                </a:lnTo>
                <a:lnTo>
                  <a:pt x="10512" y="1704"/>
                </a:lnTo>
                <a:lnTo>
                  <a:pt x="10512" y="1898"/>
                </a:lnTo>
                <a:lnTo>
                  <a:pt x="10512" y="2093"/>
                </a:lnTo>
                <a:lnTo>
                  <a:pt x="10536" y="2263"/>
                </a:lnTo>
                <a:lnTo>
                  <a:pt x="10585" y="2458"/>
                </a:lnTo>
                <a:lnTo>
                  <a:pt x="10633" y="2604"/>
                </a:lnTo>
                <a:lnTo>
                  <a:pt x="10731" y="2774"/>
                </a:lnTo>
                <a:lnTo>
                  <a:pt x="10609" y="2823"/>
                </a:lnTo>
                <a:lnTo>
                  <a:pt x="10487" y="2920"/>
                </a:lnTo>
                <a:lnTo>
                  <a:pt x="10293" y="3115"/>
                </a:lnTo>
                <a:lnTo>
                  <a:pt x="9928" y="3553"/>
                </a:lnTo>
                <a:lnTo>
                  <a:pt x="9417" y="4113"/>
                </a:lnTo>
                <a:lnTo>
                  <a:pt x="9149" y="4356"/>
                </a:lnTo>
                <a:lnTo>
                  <a:pt x="8857" y="4624"/>
                </a:lnTo>
                <a:lnTo>
                  <a:pt x="8298" y="5061"/>
                </a:lnTo>
                <a:lnTo>
                  <a:pt x="8030" y="5305"/>
                </a:lnTo>
                <a:lnTo>
                  <a:pt x="7787" y="5572"/>
                </a:lnTo>
                <a:lnTo>
                  <a:pt x="7714" y="5670"/>
                </a:lnTo>
                <a:lnTo>
                  <a:pt x="7616" y="5791"/>
                </a:lnTo>
                <a:lnTo>
                  <a:pt x="7470" y="5718"/>
                </a:lnTo>
                <a:lnTo>
                  <a:pt x="7300" y="5645"/>
                </a:lnTo>
                <a:lnTo>
                  <a:pt x="6935" y="5524"/>
                </a:lnTo>
                <a:lnTo>
                  <a:pt x="6570" y="5451"/>
                </a:lnTo>
                <a:lnTo>
                  <a:pt x="6254" y="5402"/>
                </a:lnTo>
                <a:lnTo>
                  <a:pt x="5767" y="5329"/>
                </a:lnTo>
                <a:lnTo>
                  <a:pt x="5280" y="5305"/>
                </a:lnTo>
                <a:lnTo>
                  <a:pt x="4794" y="5353"/>
                </a:lnTo>
                <a:lnTo>
                  <a:pt x="4307" y="5451"/>
                </a:lnTo>
                <a:lnTo>
                  <a:pt x="3942" y="5548"/>
                </a:lnTo>
                <a:lnTo>
                  <a:pt x="3601" y="5718"/>
                </a:lnTo>
                <a:lnTo>
                  <a:pt x="3431" y="5791"/>
                </a:lnTo>
                <a:lnTo>
                  <a:pt x="3261" y="5913"/>
                </a:lnTo>
                <a:lnTo>
                  <a:pt x="3139" y="6035"/>
                </a:lnTo>
                <a:lnTo>
                  <a:pt x="3017" y="6181"/>
                </a:lnTo>
                <a:lnTo>
                  <a:pt x="2871" y="6448"/>
                </a:lnTo>
                <a:lnTo>
                  <a:pt x="2823" y="6570"/>
                </a:lnTo>
                <a:lnTo>
                  <a:pt x="2798" y="6716"/>
                </a:lnTo>
                <a:lnTo>
                  <a:pt x="2798" y="6862"/>
                </a:lnTo>
                <a:lnTo>
                  <a:pt x="2823" y="7008"/>
                </a:lnTo>
                <a:lnTo>
                  <a:pt x="2871" y="7130"/>
                </a:lnTo>
                <a:lnTo>
                  <a:pt x="2969" y="7227"/>
                </a:lnTo>
                <a:lnTo>
                  <a:pt x="3042" y="7251"/>
                </a:lnTo>
                <a:lnTo>
                  <a:pt x="3115" y="7251"/>
                </a:lnTo>
                <a:lnTo>
                  <a:pt x="3285" y="7470"/>
                </a:lnTo>
                <a:lnTo>
                  <a:pt x="3455" y="7689"/>
                </a:lnTo>
                <a:lnTo>
                  <a:pt x="3650" y="7908"/>
                </a:lnTo>
                <a:lnTo>
                  <a:pt x="3869" y="8103"/>
                </a:lnTo>
                <a:lnTo>
                  <a:pt x="4307" y="8468"/>
                </a:lnTo>
                <a:lnTo>
                  <a:pt x="4769" y="8833"/>
                </a:lnTo>
                <a:lnTo>
                  <a:pt x="5086" y="9125"/>
                </a:lnTo>
                <a:lnTo>
                  <a:pt x="5402" y="9466"/>
                </a:lnTo>
                <a:lnTo>
                  <a:pt x="6010" y="10123"/>
                </a:lnTo>
                <a:lnTo>
                  <a:pt x="5962" y="10196"/>
                </a:lnTo>
                <a:lnTo>
                  <a:pt x="5864" y="10342"/>
                </a:lnTo>
                <a:lnTo>
                  <a:pt x="5767" y="10488"/>
                </a:lnTo>
                <a:lnTo>
                  <a:pt x="5499" y="10780"/>
                </a:lnTo>
                <a:lnTo>
                  <a:pt x="5110" y="11291"/>
                </a:lnTo>
                <a:lnTo>
                  <a:pt x="4721" y="11777"/>
                </a:lnTo>
                <a:lnTo>
                  <a:pt x="3820" y="12921"/>
                </a:lnTo>
                <a:lnTo>
                  <a:pt x="2871" y="14016"/>
                </a:lnTo>
                <a:lnTo>
                  <a:pt x="1995" y="14989"/>
                </a:lnTo>
                <a:lnTo>
                  <a:pt x="1582" y="15500"/>
                </a:lnTo>
                <a:lnTo>
                  <a:pt x="1168" y="16011"/>
                </a:lnTo>
                <a:lnTo>
                  <a:pt x="779" y="16571"/>
                </a:lnTo>
                <a:lnTo>
                  <a:pt x="584" y="16838"/>
                </a:lnTo>
                <a:lnTo>
                  <a:pt x="365" y="17106"/>
                </a:lnTo>
                <a:lnTo>
                  <a:pt x="244" y="17276"/>
                </a:lnTo>
                <a:lnTo>
                  <a:pt x="122" y="17422"/>
                </a:lnTo>
                <a:lnTo>
                  <a:pt x="49" y="17593"/>
                </a:lnTo>
                <a:lnTo>
                  <a:pt x="0" y="17787"/>
                </a:lnTo>
                <a:lnTo>
                  <a:pt x="0" y="17860"/>
                </a:lnTo>
                <a:lnTo>
                  <a:pt x="73" y="17909"/>
                </a:lnTo>
                <a:lnTo>
                  <a:pt x="122" y="17909"/>
                </a:lnTo>
                <a:lnTo>
                  <a:pt x="195" y="17885"/>
                </a:lnTo>
                <a:lnTo>
                  <a:pt x="219" y="17836"/>
                </a:lnTo>
                <a:lnTo>
                  <a:pt x="463" y="17763"/>
                </a:lnTo>
                <a:lnTo>
                  <a:pt x="682" y="17666"/>
                </a:lnTo>
                <a:lnTo>
                  <a:pt x="901" y="17544"/>
                </a:lnTo>
                <a:lnTo>
                  <a:pt x="1120" y="17398"/>
                </a:lnTo>
                <a:lnTo>
                  <a:pt x="1533" y="17106"/>
                </a:lnTo>
                <a:lnTo>
                  <a:pt x="1947" y="16838"/>
                </a:lnTo>
                <a:lnTo>
                  <a:pt x="2433" y="16522"/>
                </a:lnTo>
                <a:lnTo>
                  <a:pt x="2896" y="16206"/>
                </a:lnTo>
                <a:lnTo>
                  <a:pt x="3358" y="15865"/>
                </a:lnTo>
                <a:lnTo>
                  <a:pt x="3820" y="15524"/>
                </a:lnTo>
                <a:lnTo>
                  <a:pt x="4867" y="14697"/>
                </a:lnTo>
                <a:lnTo>
                  <a:pt x="5889" y="13845"/>
                </a:lnTo>
                <a:lnTo>
                  <a:pt x="6886" y="12945"/>
                </a:lnTo>
                <a:lnTo>
                  <a:pt x="7860" y="12045"/>
                </a:lnTo>
                <a:lnTo>
                  <a:pt x="7860" y="12021"/>
                </a:lnTo>
                <a:lnTo>
                  <a:pt x="9222" y="13261"/>
                </a:lnTo>
                <a:lnTo>
                  <a:pt x="9879" y="13870"/>
                </a:lnTo>
                <a:lnTo>
                  <a:pt x="10195" y="14210"/>
                </a:lnTo>
                <a:lnTo>
                  <a:pt x="10512" y="14527"/>
                </a:lnTo>
                <a:lnTo>
                  <a:pt x="10585" y="14600"/>
                </a:lnTo>
                <a:lnTo>
                  <a:pt x="10658" y="14624"/>
                </a:lnTo>
                <a:lnTo>
                  <a:pt x="10731" y="14624"/>
                </a:lnTo>
                <a:lnTo>
                  <a:pt x="10804" y="14600"/>
                </a:lnTo>
                <a:lnTo>
                  <a:pt x="10925" y="14648"/>
                </a:lnTo>
                <a:lnTo>
                  <a:pt x="11047" y="14673"/>
                </a:lnTo>
                <a:lnTo>
                  <a:pt x="11290" y="14721"/>
                </a:lnTo>
                <a:lnTo>
                  <a:pt x="11534" y="14697"/>
                </a:lnTo>
                <a:lnTo>
                  <a:pt x="11655" y="14673"/>
                </a:lnTo>
                <a:lnTo>
                  <a:pt x="11777" y="14624"/>
                </a:lnTo>
                <a:lnTo>
                  <a:pt x="11923" y="14527"/>
                </a:lnTo>
                <a:lnTo>
                  <a:pt x="12045" y="14429"/>
                </a:lnTo>
                <a:lnTo>
                  <a:pt x="12142" y="14283"/>
                </a:lnTo>
                <a:lnTo>
                  <a:pt x="12239" y="14137"/>
                </a:lnTo>
                <a:lnTo>
                  <a:pt x="12312" y="13967"/>
                </a:lnTo>
                <a:lnTo>
                  <a:pt x="12385" y="13797"/>
                </a:lnTo>
                <a:lnTo>
                  <a:pt x="12458" y="13480"/>
                </a:lnTo>
                <a:lnTo>
                  <a:pt x="12531" y="13091"/>
                </a:lnTo>
                <a:lnTo>
                  <a:pt x="12580" y="12653"/>
                </a:lnTo>
                <a:lnTo>
                  <a:pt x="12580" y="12240"/>
                </a:lnTo>
                <a:lnTo>
                  <a:pt x="12556" y="11802"/>
                </a:lnTo>
                <a:lnTo>
                  <a:pt x="12483" y="11364"/>
                </a:lnTo>
                <a:lnTo>
                  <a:pt x="12385" y="10950"/>
                </a:lnTo>
                <a:lnTo>
                  <a:pt x="12264" y="10536"/>
                </a:lnTo>
                <a:lnTo>
                  <a:pt x="12093" y="10171"/>
                </a:lnTo>
                <a:lnTo>
                  <a:pt x="12337" y="9977"/>
                </a:lnTo>
                <a:lnTo>
                  <a:pt x="12580" y="9758"/>
                </a:lnTo>
                <a:lnTo>
                  <a:pt x="12994" y="9295"/>
                </a:lnTo>
                <a:lnTo>
                  <a:pt x="13407" y="8833"/>
                </a:lnTo>
                <a:lnTo>
                  <a:pt x="13845" y="8371"/>
                </a:lnTo>
                <a:lnTo>
                  <a:pt x="13918" y="8322"/>
                </a:lnTo>
                <a:lnTo>
                  <a:pt x="13967" y="8273"/>
                </a:lnTo>
                <a:lnTo>
                  <a:pt x="14259" y="8006"/>
                </a:lnTo>
                <a:lnTo>
                  <a:pt x="14575" y="7714"/>
                </a:lnTo>
                <a:lnTo>
                  <a:pt x="14721" y="7543"/>
                </a:lnTo>
                <a:lnTo>
                  <a:pt x="14867" y="7373"/>
                </a:lnTo>
                <a:lnTo>
                  <a:pt x="14965" y="7203"/>
                </a:lnTo>
                <a:lnTo>
                  <a:pt x="15062" y="7057"/>
                </a:lnTo>
                <a:lnTo>
                  <a:pt x="15427" y="7154"/>
                </a:lnTo>
                <a:lnTo>
                  <a:pt x="15865" y="7203"/>
                </a:lnTo>
                <a:lnTo>
                  <a:pt x="16279" y="7227"/>
                </a:lnTo>
                <a:lnTo>
                  <a:pt x="16498" y="7203"/>
                </a:lnTo>
                <a:lnTo>
                  <a:pt x="16717" y="7178"/>
                </a:lnTo>
                <a:lnTo>
                  <a:pt x="16911" y="7130"/>
                </a:lnTo>
                <a:lnTo>
                  <a:pt x="17106" y="7057"/>
                </a:lnTo>
                <a:lnTo>
                  <a:pt x="17300" y="6959"/>
                </a:lnTo>
                <a:lnTo>
                  <a:pt x="17446" y="6862"/>
                </a:lnTo>
                <a:lnTo>
                  <a:pt x="17617" y="6740"/>
                </a:lnTo>
                <a:lnTo>
                  <a:pt x="17738" y="6594"/>
                </a:lnTo>
                <a:lnTo>
                  <a:pt x="17836" y="6424"/>
                </a:lnTo>
                <a:lnTo>
                  <a:pt x="17909" y="6229"/>
                </a:lnTo>
                <a:lnTo>
                  <a:pt x="17957" y="6108"/>
                </a:lnTo>
                <a:lnTo>
                  <a:pt x="17957" y="5986"/>
                </a:lnTo>
                <a:lnTo>
                  <a:pt x="17933" y="5864"/>
                </a:lnTo>
                <a:lnTo>
                  <a:pt x="17909" y="5743"/>
                </a:lnTo>
                <a:lnTo>
                  <a:pt x="17811" y="5548"/>
                </a:lnTo>
                <a:lnTo>
                  <a:pt x="17690" y="5353"/>
                </a:lnTo>
                <a:lnTo>
                  <a:pt x="17495" y="5183"/>
                </a:lnTo>
                <a:lnTo>
                  <a:pt x="17325" y="5013"/>
                </a:lnTo>
                <a:lnTo>
                  <a:pt x="16960" y="4721"/>
                </a:lnTo>
                <a:lnTo>
                  <a:pt x="16692" y="4453"/>
                </a:lnTo>
                <a:lnTo>
                  <a:pt x="16425" y="4161"/>
                </a:lnTo>
                <a:lnTo>
                  <a:pt x="15914" y="3577"/>
                </a:lnTo>
                <a:lnTo>
                  <a:pt x="15403" y="2993"/>
                </a:lnTo>
                <a:lnTo>
                  <a:pt x="15135" y="2701"/>
                </a:lnTo>
                <a:lnTo>
                  <a:pt x="14843" y="2434"/>
                </a:lnTo>
                <a:lnTo>
                  <a:pt x="14283" y="1996"/>
                </a:lnTo>
                <a:lnTo>
                  <a:pt x="14016" y="1777"/>
                </a:lnTo>
                <a:lnTo>
                  <a:pt x="13772" y="1533"/>
                </a:lnTo>
                <a:lnTo>
                  <a:pt x="13529" y="1266"/>
                </a:lnTo>
                <a:lnTo>
                  <a:pt x="13310" y="998"/>
                </a:lnTo>
                <a:lnTo>
                  <a:pt x="13091" y="706"/>
                </a:lnTo>
                <a:lnTo>
                  <a:pt x="12848" y="438"/>
                </a:lnTo>
                <a:lnTo>
                  <a:pt x="12677" y="292"/>
                </a:lnTo>
                <a:lnTo>
                  <a:pt x="12507" y="171"/>
                </a:lnTo>
                <a:lnTo>
                  <a:pt x="12337" y="98"/>
                </a:lnTo>
                <a:lnTo>
                  <a:pt x="12142" y="25"/>
                </a:lnTo>
                <a:lnTo>
                  <a:pt x="11947" y="0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870" name="AutoShape 6" descr="blob:https://web.whatsapp.com/fed633e6-d85c-4e37-9fdd-1c21e07676e0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2" name="Заголовок 11"/>
          <p:cNvSpPr>
            <a:spLocks noGrp="1"/>
          </p:cNvSpPr>
          <p:nvPr>
            <p:ph type="title"/>
          </p:nvPr>
        </p:nvSpPr>
        <p:spPr>
          <a:xfrm>
            <a:off x="314960" y="1330960"/>
            <a:ext cx="4815840" cy="5049520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>
            <a:normAutofit fontScale="90000"/>
          </a:bodyPr>
          <a:lstStyle/>
          <a:p>
            <a:pPr fontAlgn="base"/>
            <a:r>
              <a:rPr lang="ru-RU" sz="1300" dirty="0" smtClean="0"/>
              <a:t/>
            </a:r>
            <a:br>
              <a:rPr lang="ru-RU" sz="1300" dirty="0" smtClean="0"/>
            </a:br>
            <a:r>
              <a:rPr lang="ru-RU" sz="1300" dirty="0" smtClean="0"/>
              <a:t/>
            </a:r>
            <a:br>
              <a:rPr lang="ru-RU" sz="1300" dirty="0" smtClean="0"/>
            </a:br>
            <a:r>
              <a:rPr lang="ru-RU" sz="1300" dirty="0" smtClean="0"/>
              <a:t/>
            </a:r>
            <a:br>
              <a:rPr lang="ru-RU" sz="1300" dirty="0" smtClean="0"/>
            </a:br>
            <a:r>
              <a:rPr lang="ru-RU" sz="1300" dirty="0" smtClean="0"/>
              <a:t/>
            </a:r>
            <a:br>
              <a:rPr lang="ru-RU" sz="1300" dirty="0" smtClean="0"/>
            </a:br>
            <a:r>
              <a:rPr lang="ru-RU" sz="1300" dirty="0" smtClean="0"/>
              <a:t/>
            </a:r>
            <a:br>
              <a:rPr lang="ru-RU" sz="1300" dirty="0" smtClean="0"/>
            </a:br>
            <a:r>
              <a:rPr lang="ru-RU" sz="1300" dirty="0" smtClean="0"/>
              <a:t/>
            </a:r>
            <a:br>
              <a:rPr lang="ru-RU" sz="1300" dirty="0" smtClean="0"/>
            </a:br>
            <a:r>
              <a:rPr lang="ru-RU" sz="1300" dirty="0" smtClean="0"/>
              <a:t/>
            </a:r>
            <a:br>
              <a:rPr lang="ru-RU" sz="1300" dirty="0" smtClean="0"/>
            </a:br>
            <a:r>
              <a:rPr lang="ru-RU" sz="1300" dirty="0" smtClean="0"/>
              <a:t/>
            </a:r>
            <a:br>
              <a:rPr lang="ru-RU" sz="1300" dirty="0" smtClean="0"/>
            </a:br>
            <a:r>
              <a:rPr lang="ru-RU" sz="1300" dirty="0" smtClean="0"/>
              <a:t/>
            </a:r>
            <a:br>
              <a:rPr lang="ru-RU" sz="1300" dirty="0" smtClean="0"/>
            </a:br>
            <a:r>
              <a:rPr lang="ru-RU" sz="1300" dirty="0" smtClean="0"/>
              <a:t/>
            </a:r>
            <a:br>
              <a:rPr lang="ru-RU" sz="1300" dirty="0" smtClean="0"/>
            </a:br>
            <a:r>
              <a:rPr lang="ru-RU" sz="1300" dirty="0" smtClean="0"/>
              <a:t/>
            </a:r>
            <a:br>
              <a:rPr lang="ru-RU" sz="1300" dirty="0" smtClean="0"/>
            </a:br>
            <a:r>
              <a:rPr lang="ru-RU" sz="1300" dirty="0" smtClean="0"/>
              <a:t/>
            </a:r>
            <a:br>
              <a:rPr lang="ru-RU" sz="1300" dirty="0" smtClean="0"/>
            </a:br>
            <a:r>
              <a:rPr lang="ru-RU" sz="1300" dirty="0" smtClean="0"/>
              <a:t/>
            </a:r>
            <a:br>
              <a:rPr lang="ru-RU" sz="1300" dirty="0" smtClean="0"/>
            </a:br>
            <a:r>
              <a:rPr lang="ru-RU" sz="1300" dirty="0" smtClean="0"/>
              <a:t/>
            </a:r>
            <a:br>
              <a:rPr lang="ru-RU" sz="1300" dirty="0" smtClean="0"/>
            </a:br>
            <a:r>
              <a:rPr lang="ru-RU" sz="1300" dirty="0" smtClean="0"/>
              <a:t/>
            </a:r>
            <a:br>
              <a:rPr lang="ru-RU" sz="1300" dirty="0" smtClean="0"/>
            </a:br>
            <a:r>
              <a:rPr lang="ru-RU" sz="1300" dirty="0" smtClean="0"/>
              <a:t>Режим и график работы ДОО: </a:t>
            </a:r>
            <a:r>
              <a:rPr lang="ru-RU" sz="1300" b="0" dirty="0" smtClean="0"/>
              <a:t>ежедневно с 7:30 до 18:00, выходные – суббота, воскресенье, праздничные дни.</a:t>
            </a:r>
            <a:br>
              <a:rPr lang="ru-RU" sz="1300" b="0" dirty="0" smtClean="0"/>
            </a:br>
            <a:r>
              <a:rPr lang="ru-RU" sz="1300" b="0" dirty="0" smtClean="0"/>
              <a:t>Режим работы филиалов:</a:t>
            </a:r>
            <a:br>
              <a:rPr lang="ru-RU" sz="1300" b="0" dirty="0" smtClean="0"/>
            </a:br>
            <a:r>
              <a:rPr lang="ru-RU" sz="1300" b="0" dirty="0" smtClean="0"/>
              <a:t>-длительность работы- 10,5 часов</a:t>
            </a:r>
            <a:br>
              <a:rPr lang="ru-RU" sz="1300" b="0" dirty="0" smtClean="0"/>
            </a:br>
            <a:r>
              <a:rPr lang="ru-RU" sz="1300" b="0" dirty="0" smtClean="0"/>
              <a:t>-ежедневный график работы – с 7.30 до 18.00,  исключая  выходные и праздничные дни.</a:t>
            </a:r>
            <a:br>
              <a:rPr lang="ru-RU" sz="1300" b="0" dirty="0" smtClean="0"/>
            </a:br>
            <a:r>
              <a:rPr lang="ru-RU" sz="1300" dirty="0" smtClean="0"/>
              <a:t>Телефон:</a:t>
            </a:r>
            <a:r>
              <a:rPr lang="ru-RU" sz="1300" b="0" dirty="0" smtClean="0"/>
              <a:t> 8(38568) 5- 60- 94</a:t>
            </a:r>
            <a:br>
              <a:rPr lang="ru-RU" sz="1300" b="0" dirty="0" smtClean="0"/>
            </a:br>
            <a:r>
              <a:rPr lang="ru-RU" sz="1300" dirty="0" smtClean="0"/>
              <a:t>Адрес электронной почты: </a:t>
            </a:r>
            <a:r>
              <a:rPr lang="ru-RU" sz="1300" b="0" dirty="0" smtClean="0"/>
              <a:t> </a:t>
            </a:r>
            <a:r>
              <a:rPr lang="ru-RU" sz="1300" b="0" dirty="0" smtClean="0">
                <a:hlinkClick r:id="rId3"/>
              </a:rPr>
              <a:t>slav-dou43@22edu.ru</a:t>
            </a:r>
            <a:r>
              <a:rPr lang="ru-RU" sz="1300" b="0" dirty="0" smtClean="0"/>
              <a:t/>
            </a:r>
            <a:br>
              <a:rPr lang="ru-RU" sz="1300" b="0" dirty="0" smtClean="0"/>
            </a:br>
            <a:r>
              <a:rPr lang="ru-RU" sz="1300" dirty="0" smtClean="0"/>
              <a:t>Учредитель:</a:t>
            </a:r>
            <a:r>
              <a:rPr lang="ru-RU" sz="1300" b="0" dirty="0" smtClean="0"/>
              <a:t> к</a:t>
            </a:r>
            <a:r>
              <a:rPr lang="ru-RU" sz="1300" b="0" dirty="0" smtClean="0">
                <a:hlinkClick r:id="rId4"/>
              </a:rPr>
              <a:t>омитет администрации г.Славгорода Алтайского края по образованию,</a:t>
            </a:r>
            <a:r>
              <a:rPr lang="ru-RU" sz="1300" b="0" dirty="0" smtClean="0"/>
              <a:t/>
            </a:r>
            <a:br>
              <a:rPr lang="ru-RU" sz="1300" b="0" dirty="0" smtClean="0"/>
            </a:br>
            <a:r>
              <a:rPr lang="ru-RU" sz="1300" dirty="0" smtClean="0"/>
              <a:t>Юридический адрес Учредителя:</a:t>
            </a:r>
            <a:r>
              <a:rPr lang="ru-RU" sz="1300" b="0" dirty="0" smtClean="0"/>
              <a:t> 658820, Сибирский федеральный округ, Алтайский край, г. Славгород, ул. К. Либкнехта, 136.</a:t>
            </a:r>
            <a:br>
              <a:rPr lang="ru-RU" sz="1300" b="0" dirty="0" smtClean="0"/>
            </a:br>
            <a:r>
              <a:rPr lang="ru-RU" sz="1300" dirty="0" smtClean="0"/>
              <a:t>Фактический адрес Учредителя:</a:t>
            </a:r>
            <a:r>
              <a:rPr lang="ru-RU" sz="1300" b="0" dirty="0" smtClean="0"/>
              <a:t> 658820, Сибирский федеральный округ, Алтайский край, г. Славгород, ул. К. Либкнехта, 136.</a:t>
            </a:r>
            <a:br>
              <a:rPr lang="ru-RU" sz="1300" b="0" dirty="0" smtClean="0"/>
            </a:br>
            <a:r>
              <a:rPr lang="ru-RU" sz="1300" dirty="0" smtClean="0"/>
              <a:t>Наш сайт: ds43slavgorod.edu22</a:t>
            </a:r>
            <a:r>
              <a:rPr lang="ru-RU" b="0" dirty="0" smtClean="0"/>
              <a:t/>
            </a:r>
            <a:br>
              <a:rPr lang="ru-RU" b="0" dirty="0" smtClean="0"/>
            </a:br>
            <a:endParaRPr lang="ru-RU" dirty="0"/>
          </a:p>
        </p:txBody>
      </p:sp>
      <p:sp>
        <p:nvSpPr>
          <p:cNvPr id="13" name="Прямоугольник 12"/>
          <p:cNvSpPr/>
          <p:nvPr/>
        </p:nvSpPr>
        <p:spPr>
          <a:xfrm>
            <a:off x="0" y="0"/>
            <a:ext cx="2621280" cy="1198880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xmlns="" id="{F5A915BA-698F-4574-83F2-CC987DC1D5F2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33137" y="267852"/>
            <a:ext cx="1888568" cy="509614"/>
          </a:xfrm>
          <a:prstGeom prst="rect">
            <a:avLst/>
          </a:prstGeom>
        </p:spPr>
      </p:pic>
      <p:sp>
        <p:nvSpPr>
          <p:cNvPr id="36872" name="AutoShape 8" descr="blob:https://web.whatsapp.com/d6bad500-d39e-426c-93c0-72aacdeaa2f8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36875" name="Picture 11" descr="http://ds43slavgorod.edu22.info/wp-content/uploads/2023/06/qr_code.pn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512560" y="5669281"/>
            <a:ext cx="1049656" cy="1049656"/>
          </a:xfrm>
          <a:prstGeom prst="rect">
            <a:avLst/>
          </a:prstGeom>
          <a:noFill/>
        </p:spPr>
      </p:pic>
      <p:pic>
        <p:nvPicPr>
          <p:cNvPr id="36877" name="Picture 13" descr="http://ds43slavgorod.edu22.info/wp-content/uploads/2020/02/%D0%B1%D0%B0%D0%BD%D0%BD%D0%B5%D1%80-%D0%A0%D0%B0%D0%B7%D0%B2%D0%B8%D1%82%D0%B8%D0%B5-%D0%B4%D0%B5%D1%82%D1%81%D1%82%D0%B2%D0%B0.pn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9177655" y="4651057"/>
            <a:ext cx="2533650" cy="942976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</p:pic>
      <p:pic>
        <p:nvPicPr>
          <p:cNvPr id="36879" name="Picture 15" descr="http://ds43slavgorod.edu22.info/wp-content/uploads/2023/01/%D0%9B%D0%BE%D0%B3%D0%BE%D1%82%D0%B8%D0%BF-1-300x108.jpe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9174479" y="5693245"/>
            <a:ext cx="2566035" cy="923773"/>
          </a:xfrm>
          <a:prstGeom prst="rect">
            <a:avLst/>
          </a:prstGeom>
          <a:noFill/>
        </p:spPr>
      </p:pic>
      <p:pic>
        <p:nvPicPr>
          <p:cNvPr id="36881" name="Picture 17" descr="http://ds43slavgorod.edu22.info/wp-content/uploads/2016/09/%D0%9A%D0%BE%D0%BC%D0%B8%D1%82%D0%B5%D1%82.jp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312535" y="4592321"/>
            <a:ext cx="2689177" cy="964248"/>
          </a:xfrm>
          <a:prstGeom prst="rect">
            <a:avLst/>
          </a:prstGeom>
          <a:noFill/>
        </p:spPr>
      </p:pic>
      <p:pic>
        <p:nvPicPr>
          <p:cNvPr id="36883" name="Picture 19" descr="8-800-2000-122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7772400" y="5647605"/>
            <a:ext cx="1119732" cy="99404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</p:pic>
      <p:pic>
        <p:nvPicPr>
          <p:cNvPr id="24" name="object 23">
            <a:extLst>
              <a:ext uri="{FF2B5EF4-FFF2-40B4-BE49-F238E27FC236}">
                <a16:creationId xmlns:a16="http://schemas.microsoft.com/office/drawing/2014/main" xmlns="" id="{3E3DB225-E508-4F54-97E0-EEEFBF64222B}"/>
              </a:ext>
            </a:extLst>
          </p:cNvPr>
          <p:cNvPicPr/>
          <p:nvPr/>
        </p:nvPicPr>
        <p:blipFill>
          <a:blip r:embed="rId12" cstate="print"/>
          <a:stretch>
            <a:fillRect/>
          </a:stretch>
        </p:blipFill>
        <p:spPr>
          <a:xfrm>
            <a:off x="5232589" y="5433495"/>
            <a:ext cx="1193153" cy="386215"/>
          </a:xfrm>
          <a:prstGeom prst="rect">
            <a:avLst/>
          </a:prstGeom>
        </p:spPr>
      </p:pic>
      <p:pic>
        <p:nvPicPr>
          <p:cNvPr id="25" name="Picture 9" descr="C:\Users\Админ\Desktop\d6bad500-d39e-426c-93c0-72aacdeaa2f8.jfif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1198880" y="930910"/>
            <a:ext cx="3830320" cy="254656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8434" name="Picture 2" descr="http://ds43slavgorod.edu22.info/wp-content/uploads/2019/10/airo_toporov-300x76.jpg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3355975" y="5915660"/>
            <a:ext cx="2857500" cy="7239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B210F6F7-62F4-4E9E-9E2E-B49C62584D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-18903"/>
            <a:ext cx="11186160" cy="1478684"/>
          </a:xfrm>
          <a:custGeom>
            <a:avLst/>
            <a:gdLst>
              <a:gd name="connsiteX0" fmla="*/ 0 w 5880100"/>
              <a:gd name="connsiteY0" fmla="*/ 0 h 5880100"/>
              <a:gd name="connsiteX1" fmla="*/ 5880100 w 5880100"/>
              <a:gd name="connsiteY1" fmla="*/ 0 h 5880100"/>
              <a:gd name="connsiteX2" fmla="*/ 5880100 w 5880100"/>
              <a:gd name="connsiteY2" fmla="*/ 5880100 h 5880100"/>
              <a:gd name="connsiteX3" fmla="*/ 0 w 5880100"/>
              <a:gd name="connsiteY3" fmla="*/ 5880100 h 5880100"/>
              <a:gd name="connsiteX4" fmla="*/ 0 w 5880100"/>
              <a:gd name="connsiteY4" fmla="*/ 0 h 5880100"/>
              <a:gd name="connsiteX0" fmla="*/ 0 w 6615112"/>
              <a:gd name="connsiteY0" fmla="*/ 0 h 6615112"/>
              <a:gd name="connsiteX1" fmla="*/ 5880100 w 6615112"/>
              <a:gd name="connsiteY1" fmla="*/ 0 h 6615112"/>
              <a:gd name="connsiteX2" fmla="*/ 5880100 w 6615112"/>
              <a:gd name="connsiteY2" fmla="*/ 5880100 h 6615112"/>
              <a:gd name="connsiteX3" fmla="*/ 0 w 6615112"/>
              <a:gd name="connsiteY3" fmla="*/ 5880100 h 6615112"/>
              <a:gd name="connsiteX4" fmla="*/ 0 w 6615112"/>
              <a:gd name="connsiteY4" fmla="*/ 0 h 6615112"/>
              <a:gd name="connsiteX0" fmla="*/ 0 w 6145189"/>
              <a:gd name="connsiteY0" fmla="*/ 0 h 6082525"/>
              <a:gd name="connsiteX1" fmla="*/ 5880100 w 6145189"/>
              <a:gd name="connsiteY1" fmla="*/ 0 h 6082525"/>
              <a:gd name="connsiteX2" fmla="*/ 3898900 w 6145189"/>
              <a:gd name="connsiteY2" fmla="*/ 3035300 h 6082525"/>
              <a:gd name="connsiteX3" fmla="*/ 0 w 6145189"/>
              <a:gd name="connsiteY3" fmla="*/ 5880100 h 6082525"/>
              <a:gd name="connsiteX4" fmla="*/ 0 w 6145189"/>
              <a:gd name="connsiteY4" fmla="*/ 0 h 6082525"/>
              <a:gd name="connsiteX0" fmla="*/ 0 w 6085854"/>
              <a:gd name="connsiteY0" fmla="*/ 0 h 6135502"/>
              <a:gd name="connsiteX1" fmla="*/ 5880100 w 6085854"/>
              <a:gd name="connsiteY1" fmla="*/ 0 h 6135502"/>
              <a:gd name="connsiteX2" fmla="*/ 3898900 w 6085854"/>
              <a:gd name="connsiteY2" fmla="*/ 3035300 h 6135502"/>
              <a:gd name="connsiteX3" fmla="*/ 0 w 6085854"/>
              <a:gd name="connsiteY3" fmla="*/ 5880100 h 6135502"/>
              <a:gd name="connsiteX4" fmla="*/ 0 w 6085854"/>
              <a:gd name="connsiteY4" fmla="*/ 0 h 6135502"/>
              <a:gd name="connsiteX0" fmla="*/ 0 w 6113652"/>
              <a:gd name="connsiteY0" fmla="*/ 0 h 6259192"/>
              <a:gd name="connsiteX1" fmla="*/ 5880100 w 6113652"/>
              <a:gd name="connsiteY1" fmla="*/ 0 h 6259192"/>
              <a:gd name="connsiteX2" fmla="*/ 4318000 w 6113652"/>
              <a:gd name="connsiteY2" fmla="*/ 4038600 h 6259192"/>
              <a:gd name="connsiteX3" fmla="*/ 0 w 6113652"/>
              <a:gd name="connsiteY3" fmla="*/ 5880100 h 6259192"/>
              <a:gd name="connsiteX4" fmla="*/ 0 w 6113652"/>
              <a:gd name="connsiteY4" fmla="*/ 0 h 6259192"/>
              <a:gd name="connsiteX0" fmla="*/ 0 w 6124861"/>
              <a:gd name="connsiteY0" fmla="*/ 0 h 6340446"/>
              <a:gd name="connsiteX1" fmla="*/ 5880100 w 6124861"/>
              <a:gd name="connsiteY1" fmla="*/ 0 h 6340446"/>
              <a:gd name="connsiteX2" fmla="*/ 4318000 w 6124861"/>
              <a:gd name="connsiteY2" fmla="*/ 4038600 h 6340446"/>
              <a:gd name="connsiteX3" fmla="*/ 0 w 6124861"/>
              <a:gd name="connsiteY3" fmla="*/ 5880100 h 6340446"/>
              <a:gd name="connsiteX4" fmla="*/ 0 w 6124861"/>
              <a:gd name="connsiteY4" fmla="*/ 0 h 6340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24861" h="6340446">
                <a:moveTo>
                  <a:pt x="0" y="0"/>
                </a:moveTo>
                <a:lnTo>
                  <a:pt x="5880100" y="0"/>
                </a:lnTo>
                <a:cubicBezTo>
                  <a:pt x="6860117" y="980017"/>
                  <a:pt x="4599517" y="1788583"/>
                  <a:pt x="4318000" y="4038600"/>
                </a:cubicBezTo>
                <a:cubicBezTo>
                  <a:pt x="4036483" y="6288617"/>
                  <a:pt x="980017" y="6860117"/>
                  <a:pt x="0" y="5880100"/>
                </a:cubicBezTo>
                <a:lnTo>
                  <a:pt x="0" y="0"/>
                </a:lnTo>
                <a:close/>
              </a:path>
            </a:pathLst>
          </a:cu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800" b="1" dirty="0" smtClean="0"/>
              <a:t>                 Реализация образовательных инициатив в пространстве МБДОУ «Детский сад №43» </a:t>
            </a:r>
            <a:br>
              <a:rPr lang="ru-RU" sz="1800" b="1" dirty="0" smtClean="0"/>
            </a:br>
            <a:r>
              <a:rPr lang="ru-RU" sz="1800" b="1" dirty="0" smtClean="0"/>
              <a:t>г.Славгород, Алтайский край</a:t>
            </a:r>
          </a:p>
        </p:txBody>
      </p:sp>
      <p:grpSp>
        <p:nvGrpSpPr>
          <p:cNvPr id="19" name="Google Shape;773;p41"/>
          <p:cNvGrpSpPr/>
          <p:nvPr/>
        </p:nvGrpSpPr>
        <p:grpSpPr>
          <a:xfrm>
            <a:off x="528320" y="1554478"/>
            <a:ext cx="6847840" cy="5090161"/>
            <a:chOff x="1570037" y="1395599"/>
            <a:chExt cx="4943475" cy="4522600"/>
          </a:xfrm>
        </p:grpSpPr>
        <p:sp>
          <p:nvSpPr>
            <p:cNvPr id="20" name="Google Shape;774;p41"/>
            <p:cNvSpPr/>
            <p:nvPr/>
          </p:nvSpPr>
          <p:spPr>
            <a:xfrm>
              <a:off x="4814887" y="3284537"/>
              <a:ext cx="1673225" cy="1187450"/>
            </a:xfrm>
            <a:custGeom>
              <a:avLst/>
              <a:gdLst/>
              <a:ahLst/>
              <a:cxnLst/>
              <a:rect l="l" t="t" r="r" b="b"/>
              <a:pathLst>
                <a:path w="381" h="270" extrusionOk="0">
                  <a:moveTo>
                    <a:pt x="295" y="270"/>
                  </a:moveTo>
                  <a:cubicBezTo>
                    <a:pt x="336" y="270"/>
                    <a:pt x="381" y="237"/>
                    <a:pt x="360" y="184"/>
                  </a:cubicBezTo>
                  <a:cubicBezTo>
                    <a:pt x="360" y="184"/>
                    <a:pt x="360" y="184"/>
                    <a:pt x="360" y="184"/>
                  </a:cubicBezTo>
                  <a:cubicBezTo>
                    <a:pt x="254" y="0"/>
                    <a:pt x="254" y="0"/>
                    <a:pt x="254" y="0"/>
                  </a:cubicBezTo>
                  <a:cubicBezTo>
                    <a:pt x="6" y="142"/>
                    <a:pt x="6" y="142"/>
                    <a:pt x="6" y="142"/>
                  </a:cubicBezTo>
                  <a:cubicBezTo>
                    <a:pt x="80" y="270"/>
                    <a:pt x="80" y="270"/>
                    <a:pt x="80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270"/>
                    <a:pt x="0" y="270"/>
                    <a:pt x="0" y="270"/>
                  </a:cubicBezTo>
                  <a:lnTo>
                    <a:pt x="295" y="270"/>
                  </a:lnTo>
                  <a:close/>
                </a:path>
              </a:pathLst>
            </a:custGeom>
            <a:solidFill>
              <a:srgbClr val="6AA84F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400" b="0" i="0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" name="Google Shape;775;p41"/>
            <p:cNvSpPr/>
            <p:nvPr/>
          </p:nvSpPr>
          <p:spPr>
            <a:xfrm>
              <a:off x="2355850" y="4164012"/>
              <a:ext cx="1208087" cy="1560512"/>
            </a:xfrm>
            <a:custGeom>
              <a:avLst/>
              <a:gdLst/>
              <a:ahLst/>
              <a:cxnLst/>
              <a:rect l="l" t="t" r="r" b="b"/>
              <a:pathLst>
                <a:path w="275" h="355" extrusionOk="0">
                  <a:moveTo>
                    <a:pt x="275" y="70"/>
                  </a:moveTo>
                  <a:cubicBezTo>
                    <a:pt x="128" y="70"/>
                    <a:pt x="128" y="70"/>
                    <a:pt x="128" y="7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20" y="256"/>
                    <a:pt x="20" y="256"/>
                    <a:pt x="20" y="256"/>
                  </a:cubicBezTo>
                  <a:cubicBezTo>
                    <a:pt x="0" y="291"/>
                    <a:pt x="5" y="346"/>
                    <a:pt x="62" y="354"/>
                  </a:cubicBezTo>
                  <a:cubicBezTo>
                    <a:pt x="62" y="355"/>
                    <a:pt x="62" y="355"/>
                    <a:pt x="62" y="355"/>
                  </a:cubicBezTo>
                  <a:cubicBezTo>
                    <a:pt x="275" y="355"/>
                    <a:pt x="275" y="355"/>
                    <a:pt x="275" y="355"/>
                  </a:cubicBezTo>
                  <a:lnTo>
                    <a:pt x="275" y="70"/>
                  </a:lnTo>
                  <a:close/>
                </a:path>
              </a:pathLst>
            </a:custGeom>
            <a:solidFill>
              <a:srgbClr val="45818E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400" b="0" i="0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" name="Google Shape;776;p41"/>
            <p:cNvSpPr/>
            <p:nvPr/>
          </p:nvSpPr>
          <p:spPr>
            <a:xfrm>
              <a:off x="2636837" y="1443037"/>
              <a:ext cx="1581150" cy="1635125"/>
            </a:xfrm>
            <a:custGeom>
              <a:avLst/>
              <a:gdLst/>
              <a:ahLst/>
              <a:cxnLst/>
              <a:rect l="l" t="t" r="r" b="b"/>
              <a:pathLst>
                <a:path w="360" h="372" extrusionOk="0">
                  <a:moveTo>
                    <a:pt x="213" y="58"/>
                  </a:moveTo>
                  <a:cubicBezTo>
                    <a:pt x="192" y="23"/>
                    <a:pt x="142" y="0"/>
                    <a:pt x="106" y="45"/>
                  </a:cubicBezTo>
                  <a:cubicBezTo>
                    <a:pt x="106" y="45"/>
                    <a:pt x="106" y="45"/>
                    <a:pt x="106" y="45"/>
                  </a:cubicBezTo>
                  <a:cubicBezTo>
                    <a:pt x="0" y="229"/>
                    <a:pt x="0" y="229"/>
                    <a:pt x="0" y="229"/>
                  </a:cubicBezTo>
                  <a:cubicBezTo>
                    <a:pt x="247" y="372"/>
                    <a:pt x="247" y="372"/>
                    <a:pt x="247" y="372"/>
                  </a:cubicBezTo>
                  <a:cubicBezTo>
                    <a:pt x="320" y="246"/>
                    <a:pt x="320" y="246"/>
                    <a:pt x="320" y="246"/>
                  </a:cubicBezTo>
                  <a:cubicBezTo>
                    <a:pt x="360" y="314"/>
                    <a:pt x="360" y="314"/>
                    <a:pt x="360" y="314"/>
                  </a:cubicBezTo>
                  <a:cubicBezTo>
                    <a:pt x="360" y="314"/>
                    <a:pt x="360" y="314"/>
                    <a:pt x="360" y="314"/>
                  </a:cubicBezTo>
                  <a:lnTo>
                    <a:pt x="213" y="58"/>
                  </a:lnTo>
                  <a:close/>
                </a:path>
              </a:pathLst>
            </a:custGeom>
            <a:solidFill>
              <a:srgbClr val="3C78D8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400" b="0" i="0" u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" name="Google Shape;777;p41"/>
            <p:cNvSpPr/>
            <p:nvPr/>
          </p:nvSpPr>
          <p:spPr>
            <a:xfrm>
              <a:off x="1570037" y="3162300"/>
              <a:ext cx="1800225" cy="2562225"/>
            </a:xfrm>
            <a:custGeom>
              <a:avLst/>
              <a:gdLst/>
              <a:ahLst/>
              <a:cxnLst/>
              <a:rect l="l" t="t" r="r" b="b"/>
              <a:pathLst>
                <a:path w="410" h="583" extrusionOk="0">
                  <a:moveTo>
                    <a:pt x="410" y="206"/>
                  </a:moveTo>
                  <a:cubicBezTo>
                    <a:pt x="314" y="0"/>
                    <a:pt x="314" y="0"/>
                    <a:pt x="314" y="0"/>
                  </a:cubicBezTo>
                  <a:cubicBezTo>
                    <a:pt x="86" y="20"/>
                    <a:pt x="86" y="20"/>
                    <a:pt x="86" y="20"/>
                  </a:cubicBezTo>
                  <a:cubicBezTo>
                    <a:pt x="125" y="42"/>
                    <a:pt x="125" y="42"/>
                    <a:pt x="125" y="42"/>
                  </a:cubicBezTo>
                  <a:cubicBezTo>
                    <a:pt x="20" y="223"/>
                    <a:pt x="20" y="223"/>
                    <a:pt x="20" y="223"/>
                  </a:cubicBezTo>
                  <a:cubicBezTo>
                    <a:pt x="0" y="258"/>
                    <a:pt x="0" y="302"/>
                    <a:pt x="20" y="337"/>
                  </a:cubicBezTo>
                  <a:cubicBezTo>
                    <a:pt x="129" y="526"/>
                    <a:pt x="129" y="526"/>
                    <a:pt x="129" y="526"/>
                  </a:cubicBezTo>
                  <a:cubicBezTo>
                    <a:pt x="150" y="561"/>
                    <a:pt x="188" y="583"/>
                    <a:pt x="228" y="583"/>
                  </a:cubicBezTo>
                  <a:cubicBezTo>
                    <a:pt x="241" y="583"/>
                    <a:pt x="241" y="583"/>
                    <a:pt x="241" y="583"/>
                  </a:cubicBezTo>
                  <a:cubicBezTo>
                    <a:pt x="241" y="582"/>
                    <a:pt x="241" y="582"/>
                    <a:pt x="241" y="582"/>
                  </a:cubicBezTo>
                  <a:cubicBezTo>
                    <a:pt x="184" y="574"/>
                    <a:pt x="179" y="519"/>
                    <a:pt x="199" y="484"/>
                  </a:cubicBezTo>
                  <a:cubicBezTo>
                    <a:pt x="347" y="228"/>
                    <a:pt x="347" y="228"/>
                    <a:pt x="347" y="228"/>
                  </a:cubicBezTo>
                  <a:cubicBezTo>
                    <a:pt x="347" y="228"/>
                    <a:pt x="347" y="228"/>
                    <a:pt x="347" y="228"/>
                  </a:cubicBezTo>
                  <a:cubicBezTo>
                    <a:pt x="372" y="185"/>
                    <a:pt x="372" y="185"/>
                    <a:pt x="372" y="185"/>
                  </a:cubicBezTo>
                  <a:lnTo>
                    <a:pt x="410" y="206"/>
                  </a:lnTo>
                  <a:close/>
                </a:path>
              </a:pathLst>
            </a:custGeom>
            <a:solidFill>
              <a:srgbClr val="76A5AF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400" b="0" i="0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" name="Google Shape;778;p41"/>
            <p:cNvSpPr/>
            <p:nvPr/>
          </p:nvSpPr>
          <p:spPr>
            <a:xfrm>
              <a:off x="3132292" y="1395599"/>
              <a:ext cx="2384477" cy="1859592"/>
            </a:xfrm>
            <a:custGeom>
              <a:avLst/>
              <a:gdLst/>
              <a:ahLst/>
              <a:cxnLst/>
              <a:rect l="l" t="t" r="r" b="b"/>
              <a:pathLst>
                <a:path w="565" h="422" extrusionOk="0">
                  <a:moveTo>
                    <a:pt x="526" y="238"/>
                  </a:moveTo>
                  <a:cubicBezTo>
                    <a:pt x="421" y="57"/>
                    <a:pt x="421" y="57"/>
                    <a:pt x="421" y="57"/>
                  </a:cubicBezTo>
                  <a:cubicBezTo>
                    <a:pt x="401" y="21"/>
                    <a:pt x="363" y="0"/>
                    <a:pt x="322" y="0"/>
                  </a:cubicBezTo>
                  <a:cubicBezTo>
                    <a:pt x="105" y="0"/>
                    <a:pt x="105" y="0"/>
                    <a:pt x="105" y="0"/>
                  </a:cubicBezTo>
                  <a:cubicBezTo>
                    <a:pt x="65" y="0"/>
                    <a:pt x="27" y="21"/>
                    <a:pt x="7" y="57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36" y="23"/>
                    <a:pt x="86" y="46"/>
                    <a:pt x="107" y="81"/>
                  </a:cubicBezTo>
                  <a:cubicBezTo>
                    <a:pt x="254" y="337"/>
                    <a:pt x="254" y="337"/>
                    <a:pt x="254" y="337"/>
                  </a:cubicBezTo>
                  <a:cubicBezTo>
                    <a:pt x="254" y="337"/>
                    <a:pt x="254" y="337"/>
                    <a:pt x="254" y="337"/>
                  </a:cubicBezTo>
                  <a:cubicBezTo>
                    <a:pt x="279" y="381"/>
                    <a:pt x="279" y="381"/>
                    <a:pt x="279" y="381"/>
                  </a:cubicBezTo>
                  <a:cubicBezTo>
                    <a:pt x="241" y="402"/>
                    <a:pt x="241" y="402"/>
                    <a:pt x="241" y="402"/>
                  </a:cubicBezTo>
                  <a:cubicBezTo>
                    <a:pt x="468" y="422"/>
                    <a:pt x="468" y="422"/>
                    <a:pt x="468" y="422"/>
                  </a:cubicBezTo>
                  <a:cubicBezTo>
                    <a:pt x="565" y="216"/>
                    <a:pt x="565" y="216"/>
                    <a:pt x="565" y="216"/>
                  </a:cubicBezTo>
                  <a:lnTo>
                    <a:pt x="526" y="238"/>
                  </a:lnTo>
                  <a:close/>
                </a:path>
              </a:pathLst>
            </a:custGeom>
            <a:solidFill>
              <a:srgbClr val="6D9EEB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lang="ru-RU" dirty="0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r>
                <a:rPr lang="ru-RU" b="1" i="0" u="none" dirty="0" smtClean="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124</a:t>
              </a:r>
              <a:r>
                <a:rPr lang="ru-RU" b="0" i="0" u="none" dirty="0" smtClean="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 развивающихся педагогов</a:t>
              </a:r>
            </a:p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r>
                <a:rPr lang="ru-RU" b="1" dirty="0" smtClean="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5</a:t>
              </a:r>
              <a:r>
                <a:rPr lang="ru-RU" dirty="0" smtClean="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 Методических служб</a:t>
              </a:r>
              <a:endParaRPr b="0" i="0" u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" name="Google Shape;779;p41"/>
            <p:cNvSpPr/>
            <p:nvPr/>
          </p:nvSpPr>
          <p:spPr>
            <a:xfrm>
              <a:off x="4019550" y="4094162"/>
              <a:ext cx="2493962" cy="1824037"/>
            </a:xfrm>
            <a:custGeom>
              <a:avLst/>
              <a:gdLst/>
              <a:ahLst/>
              <a:cxnLst/>
              <a:rect l="l" t="t" r="r" b="b"/>
              <a:pathLst>
                <a:path w="568" h="415" extrusionOk="0">
                  <a:moveTo>
                    <a:pt x="547" y="11"/>
                  </a:moveTo>
                  <a:cubicBezTo>
                    <a:pt x="541" y="0"/>
                    <a:pt x="541" y="0"/>
                    <a:pt x="541" y="0"/>
                  </a:cubicBezTo>
                  <a:cubicBezTo>
                    <a:pt x="541" y="0"/>
                    <a:pt x="541" y="0"/>
                    <a:pt x="541" y="0"/>
                  </a:cubicBezTo>
                  <a:cubicBezTo>
                    <a:pt x="562" y="53"/>
                    <a:pt x="517" y="86"/>
                    <a:pt x="476" y="86"/>
                  </a:cubicBezTo>
                  <a:cubicBezTo>
                    <a:pt x="181" y="86"/>
                    <a:pt x="181" y="86"/>
                    <a:pt x="181" y="86"/>
                  </a:cubicBezTo>
                  <a:cubicBezTo>
                    <a:pt x="181" y="86"/>
                    <a:pt x="181" y="86"/>
                    <a:pt x="181" y="86"/>
                  </a:cubicBezTo>
                  <a:cubicBezTo>
                    <a:pt x="131" y="86"/>
                    <a:pt x="131" y="86"/>
                    <a:pt x="131" y="86"/>
                  </a:cubicBezTo>
                  <a:cubicBezTo>
                    <a:pt x="131" y="41"/>
                    <a:pt x="131" y="41"/>
                    <a:pt x="131" y="41"/>
                  </a:cubicBezTo>
                  <a:cubicBezTo>
                    <a:pt x="0" y="228"/>
                    <a:pt x="0" y="228"/>
                    <a:pt x="0" y="228"/>
                  </a:cubicBezTo>
                  <a:cubicBezTo>
                    <a:pt x="131" y="415"/>
                    <a:pt x="131" y="415"/>
                    <a:pt x="131" y="415"/>
                  </a:cubicBezTo>
                  <a:cubicBezTo>
                    <a:pt x="131" y="371"/>
                    <a:pt x="131" y="371"/>
                    <a:pt x="131" y="371"/>
                  </a:cubicBezTo>
                  <a:cubicBezTo>
                    <a:pt x="340" y="371"/>
                    <a:pt x="340" y="371"/>
                    <a:pt x="340" y="371"/>
                  </a:cubicBezTo>
                  <a:cubicBezTo>
                    <a:pt x="380" y="371"/>
                    <a:pt x="418" y="349"/>
                    <a:pt x="438" y="314"/>
                  </a:cubicBezTo>
                  <a:cubicBezTo>
                    <a:pt x="547" y="125"/>
                    <a:pt x="547" y="125"/>
                    <a:pt x="547" y="125"/>
                  </a:cubicBezTo>
                  <a:cubicBezTo>
                    <a:pt x="568" y="90"/>
                    <a:pt x="568" y="46"/>
                    <a:pt x="547" y="11"/>
                  </a:cubicBezTo>
                  <a:close/>
                </a:path>
              </a:pathLst>
            </a:custGeom>
            <a:solidFill>
              <a:srgbClr val="93C47D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400" b="0" i="0" u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26" name="Рисунок 25">
            <a:extLst>
              <a:ext uri="{FF2B5EF4-FFF2-40B4-BE49-F238E27FC236}">
                <a16:creationId xmlns:a16="http://schemas.microsoft.com/office/drawing/2014/main" xmlns="" id="{F5A915BA-698F-4574-83F2-CC987DC1D5F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25120" y="233680"/>
            <a:ext cx="1291730" cy="348562"/>
          </a:xfrm>
          <a:prstGeom prst="rect">
            <a:avLst/>
          </a:prstGeom>
        </p:spPr>
      </p:pic>
      <p:sp>
        <p:nvSpPr>
          <p:cNvPr id="28" name="Прямоугольник 27"/>
          <p:cNvSpPr/>
          <p:nvPr/>
        </p:nvSpPr>
        <p:spPr>
          <a:xfrm>
            <a:off x="4292483" y="5377934"/>
            <a:ext cx="153439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/>
              <a:t>1151 </a:t>
            </a:r>
            <a:r>
              <a:rPr lang="ru-RU" dirty="0" smtClean="0"/>
              <a:t>ребенок</a:t>
            </a:r>
            <a:endParaRPr lang="ru-RU" dirty="0"/>
          </a:p>
        </p:txBody>
      </p:sp>
      <p:sp>
        <p:nvSpPr>
          <p:cNvPr id="29" name="Прямоугольник 28"/>
          <p:cNvSpPr/>
          <p:nvPr/>
        </p:nvSpPr>
        <p:spPr>
          <a:xfrm>
            <a:off x="820639" y="4311134"/>
            <a:ext cx="1810801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/>
              <a:t>59 </a:t>
            </a:r>
            <a:r>
              <a:rPr lang="ru-RU" dirty="0" smtClean="0"/>
              <a:t>групп для детей</a:t>
            </a:r>
          </a:p>
          <a:p>
            <a:pPr algn="ctr"/>
            <a:r>
              <a:rPr lang="ru-RU" dirty="0" smtClean="0"/>
              <a:t> дошкольного возраста </a:t>
            </a:r>
            <a:endParaRPr lang="ru-RU" dirty="0"/>
          </a:p>
        </p:txBody>
      </p:sp>
      <p:pic>
        <p:nvPicPr>
          <p:cNvPr id="36866" name="Picture 2" descr="Самарский медико-технический лицей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39735" y="4226668"/>
            <a:ext cx="3329305" cy="2399875"/>
          </a:xfrm>
          <a:prstGeom prst="rect">
            <a:avLst/>
          </a:prstGeom>
          <a:noFill/>
        </p:spPr>
      </p:pic>
      <p:pic>
        <p:nvPicPr>
          <p:cNvPr id="36868" name="Picture 4" descr="Современный педагог: требования к профессиональной деятельности учителя |  Академия МАПС: профессиональная переподготовка, повышение квалификации,  аккредитация медперсонала. | Дзен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181975" y="1079500"/>
            <a:ext cx="3268345" cy="2865398"/>
          </a:xfrm>
          <a:prstGeom prst="rect">
            <a:avLst/>
          </a:prstGeom>
          <a:noFill/>
        </p:spPr>
      </p:pic>
      <p:sp>
        <p:nvSpPr>
          <p:cNvPr id="16" name="Прямоугольник 15"/>
          <p:cNvSpPr/>
          <p:nvPr/>
        </p:nvSpPr>
        <p:spPr>
          <a:xfrm>
            <a:off x="2910355" y="4072023"/>
            <a:ext cx="2022198" cy="553355"/>
          </a:xfrm>
          <a:prstGeom prst="rect">
            <a:avLst/>
          </a:prstGeom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Информационная  справка</a:t>
            </a:r>
            <a:endParaRPr lang="ru-RU" dirty="0"/>
          </a:p>
        </p:txBody>
      </p:sp>
      <p:pic>
        <p:nvPicPr>
          <p:cNvPr id="23554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19606" y="3366142"/>
            <a:ext cx="560387" cy="628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Rectangle 88">
            <a:extLst>
              <a:ext uri="{FF2B5EF4-FFF2-40B4-BE49-F238E27FC236}">
                <a16:creationId xmlns:a16="http://schemas.microsoft.com/office/drawing/2014/main" xmlns="" id="{203B2AA9-5954-4AEB-8D3A-8E4CAFCC7784}"/>
              </a:ext>
            </a:extLst>
          </p:cNvPr>
          <p:cNvSpPr/>
          <p:nvPr/>
        </p:nvSpPr>
        <p:spPr>
          <a:xfrm>
            <a:off x="0" y="6596"/>
            <a:ext cx="10464849" cy="1684420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1230" y="507900"/>
            <a:ext cx="10967692" cy="775612"/>
          </a:xfrm>
        </p:spPr>
        <p:txBody>
          <a:bodyPr>
            <a:normAutofit fontScale="90000"/>
          </a:bodyPr>
          <a:lstStyle/>
          <a:p>
            <a:r>
              <a:rPr lang="ru-RU" dirty="0" smtClean="0">
                <a:solidFill>
                  <a:schemeClr val="bg1"/>
                </a:solidFill>
              </a:rPr>
              <a:t/>
            </a:r>
            <a:br>
              <a:rPr lang="ru-RU" dirty="0" smtClean="0">
                <a:solidFill>
                  <a:schemeClr val="bg1"/>
                </a:solidFill>
              </a:rPr>
            </a:br>
            <a:r>
              <a:rPr lang="ru-RU" dirty="0" smtClean="0">
                <a:solidFill>
                  <a:schemeClr val="bg1"/>
                </a:solidFill>
              </a:rPr>
              <a:t>Цель </a:t>
            </a:r>
            <a:r>
              <a:rPr lang="ru-RU" dirty="0" smtClean="0">
                <a:solidFill>
                  <a:schemeClr val="bg1"/>
                </a:solidFill>
              </a:rPr>
              <a:t>и задачи: поддержка и реализация пространства родительских инициатив</a:t>
            </a: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82" name="Рисунок 81">
            <a:extLst>
              <a:ext uri="{FF2B5EF4-FFF2-40B4-BE49-F238E27FC236}">
                <a16:creationId xmlns:a16="http://schemas.microsoft.com/office/drawing/2014/main" xmlns="" id="{F5A915BA-698F-4574-83F2-CC987DC1D5F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08586" y="171033"/>
            <a:ext cx="1567965" cy="423102"/>
          </a:xfrm>
          <a:prstGeom prst="rect">
            <a:avLst/>
          </a:prstGeom>
        </p:spPr>
      </p:pic>
      <p:sp>
        <p:nvSpPr>
          <p:cNvPr id="83" name="Стрелка: шеврон 14">
            <a:extLst>
              <a:ext uri="{FF2B5EF4-FFF2-40B4-BE49-F238E27FC236}">
                <a16:creationId xmlns:a16="http://schemas.microsoft.com/office/drawing/2014/main" xmlns="" id="{EEE07FF5-FDDC-47FD-AD56-4550D5A61AB2}"/>
              </a:ext>
            </a:extLst>
          </p:cNvPr>
          <p:cNvSpPr/>
          <p:nvPr/>
        </p:nvSpPr>
        <p:spPr>
          <a:xfrm>
            <a:off x="654518" y="2054069"/>
            <a:ext cx="1058419" cy="1058419"/>
          </a:xfrm>
          <a:prstGeom prst="chevron">
            <a:avLst>
              <a:gd name="adj" fmla="val 41371"/>
            </a:avLst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57345" name="Rectangle 1"/>
          <p:cNvSpPr>
            <a:spLocks noChangeArrowheads="1"/>
          </p:cNvSpPr>
          <p:nvPr/>
        </p:nvSpPr>
        <p:spPr bwMode="auto">
          <a:xfrm>
            <a:off x="1954764" y="1879349"/>
            <a:ext cx="7707396" cy="13234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45085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cs typeface="Times New Roman" pitchFamily="18" charset="0"/>
              </a:rPr>
              <a:t>Одной из основных целей и требований Федерального государственного образовательного стандарта дошкольного образования – установление доверительных отношений между детьми, родителями и педагогами, объединение в единую команду, развитие потребности совместно решать</a:t>
            </a:r>
            <a:r>
              <a:rPr kumimoji="0" lang="ru-RU" sz="1600" b="1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cs typeface="Times New Roman" pitchFamily="18" charset="0"/>
              </a:rPr>
              <a:t> задачи воспитания, обучения и развития </a:t>
            </a:r>
            <a:r>
              <a:rPr kumimoji="0" lang="ru-RU" sz="16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cs typeface="Times New Roman" pitchFamily="18" charset="0"/>
              </a:rPr>
              <a:t>детей дошкольного </a:t>
            </a:r>
            <a:r>
              <a:rPr kumimoji="0" lang="ru-RU" sz="16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cs typeface="Times New Roman" pitchFamily="18" charset="0"/>
              </a:rPr>
              <a:t>возраста.</a:t>
            </a:r>
            <a:endParaRPr kumimoji="0" lang="ru-RU" sz="16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62" name="Isosceles Triangle 22">
            <a:extLst>
              <a:ext uri="{FF2B5EF4-FFF2-40B4-BE49-F238E27FC236}">
                <a16:creationId xmlns:a16="http://schemas.microsoft.com/office/drawing/2014/main" xmlns="" id="{10AE614F-FA75-4779-8DE4-E62ECDBDA351}"/>
              </a:ext>
            </a:extLst>
          </p:cNvPr>
          <p:cNvSpPr/>
          <p:nvPr/>
        </p:nvSpPr>
        <p:spPr>
          <a:xfrm rot="5400000" flipV="1">
            <a:off x="779647" y="4793380"/>
            <a:ext cx="798896" cy="779647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3" name="Freeform 65">
            <a:extLst>
              <a:ext uri="{FF2B5EF4-FFF2-40B4-BE49-F238E27FC236}">
                <a16:creationId xmlns:a16="http://schemas.microsoft.com/office/drawing/2014/main" xmlns="" id="{B8139E16-D857-4A41-AAB5-B9BAC40B318D}"/>
              </a:ext>
            </a:extLst>
          </p:cNvPr>
          <p:cNvSpPr>
            <a:spLocks/>
          </p:cNvSpPr>
          <p:nvPr/>
        </p:nvSpPr>
        <p:spPr bwMode="auto">
          <a:xfrm flipH="1">
            <a:off x="2088682" y="3346195"/>
            <a:ext cx="9458514" cy="295400"/>
          </a:xfrm>
          <a:custGeom>
            <a:avLst/>
            <a:gdLst>
              <a:gd name="T0" fmla="*/ 12 w 12"/>
              <a:gd name="T1" fmla="*/ 2 h 58"/>
              <a:gd name="T2" fmla="*/ 10 w 12"/>
              <a:gd name="T3" fmla="*/ 0 h 58"/>
              <a:gd name="T4" fmla="*/ 0 w 12"/>
              <a:gd name="T5" fmla="*/ 0 h 58"/>
              <a:gd name="T6" fmla="*/ 0 w 12"/>
              <a:gd name="T7" fmla="*/ 12 h 58"/>
              <a:gd name="T8" fmla="*/ 0 w 12"/>
              <a:gd name="T9" fmla="*/ 18 h 58"/>
              <a:gd name="T10" fmla="*/ 0 w 12"/>
              <a:gd name="T11" fmla="*/ 58 h 58"/>
              <a:gd name="T12" fmla="*/ 12 w 12"/>
              <a:gd name="T13" fmla="*/ 46 h 58"/>
              <a:gd name="T14" fmla="*/ 12 w 12"/>
              <a:gd name="T15" fmla="*/ 2 h 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2" h="58">
                <a:moveTo>
                  <a:pt x="12" y="2"/>
                </a:moveTo>
                <a:cubicBezTo>
                  <a:pt x="12" y="1"/>
                  <a:pt x="11" y="0"/>
                  <a:pt x="10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2"/>
                  <a:pt x="0" y="12"/>
                  <a:pt x="0" y="12"/>
                </a:cubicBezTo>
                <a:cubicBezTo>
                  <a:pt x="0" y="18"/>
                  <a:pt x="0" y="18"/>
                  <a:pt x="0" y="18"/>
                </a:cubicBezTo>
                <a:cubicBezTo>
                  <a:pt x="0" y="58"/>
                  <a:pt x="0" y="58"/>
                  <a:pt x="0" y="58"/>
                </a:cubicBezTo>
                <a:cubicBezTo>
                  <a:pt x="12" y="46"/>
                  <a:pt x="12" y="46"/>
                  <a:pt x="12" y="46"/>
                </a:cubicBezTo>
                <a:lnTo>
                  <a:pt x="12" y="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ru-RU" dirty="0" smtClean="0"/>
              <a:t>Повышение мотивации и активное вовлечение родителей(законных представителей)</a:t>
            </a:r>
          </a:p>
          <a:p>
            <a:r>
              <a:rPr lang="ru-RU" dirty="0" smtClean="0"/>
              <a:t>в процесс продуктивного взаимодействия с педагогическим коллективом ДОО через использование интерактивных форм и методов сотрудничества, содействия и партнерства.</a:t>
            </a:r>
          </a:p>
          <a:p>
            <a:endParaRPr lang="ru-RU" dirty="0" smtClean="0"/>
          </a:p>
          <a:p>
            <a:endParaRPr lang="ru-RU" dirty="0" smtClean="0"/>
          </a:p>
          <a:p>
            <a:endParaRPr lang="id-ID" dirty="0"/>
          </a:p>
        </p:txBody>
      </p:sp>
      <p:grpSp>
        <p:nvGrpSpPr>
          <p:cNvPr id="164" name="Google Shape;716;p41"/>
          <p:cNvGrpSpPr/>
          <p:nvPr/>
        </p:nvGrpSpPr>
        <p:grpSpPr>
          <a:xfrm>
            <a:off x="538480" y="3431906"/>
            <a:ext cx="1395180" cy="1048654"/>
            <a:chOff x="3680173" y="3231000"/>
            <a:chExt cx="720106" cy="626190"/>
          </a:xfrm>
        </p:grpSpPr>
        <p:sp>
          <p:nvSpPr>
            <p:cNvPr id="165" name="Google Shape;717;p41"/>
            <p:cNvSpPr/>
            <p:nvPr/>
          </p:nvSpPr>
          <p:spPr>
            <a:xfrm>
              <a:off x="3680173" y="3232386"/>
              <a:ext cx="468746" cy="451568"/>
            </a:xfrm>
            <a:custGeom>
              <a:avLst/>
              <a:gdLst/>
              <a:ahLst/>
              <a:cxnLst/>
              <a:rect l="l" t="t" r="r" b="b"/>
              <a:pathLst>
                <a:path w="341" h="326" extrusionOk="0">
                  <a:moveTo>
                    <a:pt x="337" y="79"/>
                  </a:moveTo>
                  <a:cubicBezTo>
                    <a:pt x="332" y="73"/>
                    <a:pt x="325" y="65"/>
                    <a:pt x="312" y="52"/>
                  </a:cubicBezTo>
                  <a:cubicBezTo>
                    <a:pt x="290" y="31"/>
                    <a:pt x="264" y="16"/>
                    <a:pt x="261" y="15"/>
                  </a:cubicBezTo>
                  <a:cubicBezTo>
                    <a:pt x="237" y="5"/>
                    <a:pt x="211" y="0"/>
                    <a:pt x="184" y="0"/>
                  </a:cubicBezTo>
                  <a:cubicBezTo>
                    <a:pt x="180" y="0"/>
                    <a:pt x="180" y="0"/>
                    <a:pt x="180" y="0"/>
                  </a:cubicBezTo>
                  <a:cubicBezTo>
                    <a:pt x="124" y="2"/>
                    <a:pt x="76" y="24"/>
                    <a:pt x="44" y="61"/>
                  </a:cubicBezTo>
                  <a:cubicBezTo>
                    <a:pt x="13" y="97"/>
                    <a:pt x="0" y="144"/>
                    <a:pt x="5" y="195"/>
                  </a:cubicBezTo>
                  <a:cubicBezTo>
                    <a:pt x="10" y="237"/>
                    <a:pt x="24" y="275"/>
                    <a:pt x="47" y="308"/>
                  </a:cubicBezTo>
                  <a:cubicBezTo>
                    <a:pt x="51" y="314"/>
                    <a:pt x="56" y="320"/>
                    <a:pt x="61" y="326"/>
                  </a:cubicBezTo>
                  <a:cubicBezTo>
                    <a:pt x="50" y="296"/>
                    <a:pt x="39" y="251"/>
                    <a:pt x="47" y="200"/>
                  </a:cubicBezTo>
                  <a:cubicBezTo>
                    <a:pt x="62" y="106"/>
                    <a:pt x="151" y="88"/>
                    <a:pt x="162" y="86"/>
                  </a:cubicBezTo>
                  <a:cubicBezTo>
                    <a:pt x="162" y="86"/>
                    <a:pt x="162" y="86"/>
                    <a:pt x="162" y="86"/>
                  </a:cubicBezTo>
                  <a:cubicBezTo>
                    <a:pt x="169" y="85"/>
                    <a:pt x="176" y="84"/>
                    <a:pt x="183" y="83"/>
                  </a:cubicBezTo>
                  <a:cubicBezTo>
                    <a:pt x="184" y="83"/>
                    <a:pt x="184" y="83"/>
                    <a:pt x="184" y="83"/>
                  </a:cubicBezTo>
                  <a:cubicBezTo>
                    <a:pt x="210" y="83"/>
                    <a:pt x="234" y="91"/>
                    <a:pt x="257" y="107"/>
                  </a:cubicBezTo>
                  <a:cubicBezTo>
                    <a:pt x="259" y="109"/>
                    <a:pt x="261" y="109"/>
                    <a:pt x="262" y="109"/>
                  </a:cubicBezTo>
                  <a:cubicBezTo>
                    <a:pt x="264" y="109"/>
                    <a:pt x="266" y="108"/>
                    <a:pt x="269" y="107"/>
                  </a:cubicBezTo>
                  <a:cubicBezTo>
                    <a:pt x="295" y="91"/>
                    <a:pt x="318" y="84"/>
                    <a:pt x="341" y="83"/>
                  </a:cubicBezTo>
                  <a:cubicBezTo>
                    <a:pt x="339" y="82"/>
                    <a:pt x="338" y="80"/>
                    <a:pt x="337" y="7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6" name="Google Shape;718;p41"/>
            <p:cNvSpPr/>
            <p:nvPr/>
          </p:nvSpPr>
          <p:spPr>
            <a:xfrm>
              <a:off x="3743529" y="3408162"/>
              <a:ext cx="548171" cy="449028"/>
            </a:xfrm>
            <a:custGeom>
              <a:avLst/>
              <a:gdLst/>
              <a:ahLst/>
              <a:cxnLst/>
              <a:rect l="l" t="t" r="r" b="b"/>
              <a:pathLst>
                <a:path w="399" h="324" extrusionOk="0">
                  <a:moveTo>
                    <a:pt x="399" y="221"/>
                  </a:moveTo>
                  <a:cubicBezTo>
                    <a:pt x="381" y="231"/>
                    <a:pt x="357" y="241"/>
                    <a:pt x="329" y="246"/>
                  </a:cubicBezTo>
                  <a:cubicBezTo>
                    <a:pt x="315" y="249"/>
                    <a:pt x="299" y="250"/>
                    <a:pt x="284" y="250"/>
                  </a:cubicBezTo>
                  <a:cubicBezTo>
                    <a:pt x="244" y="250"/>
                    <a:pt x="214" y="241"/>
                    <a:pt x="209" y="239"/>
                  </a:cubicBezTo>
                  <a:cubicBezTo>
                    <a:pt x="208" y="239"/>
                    <a:pt x="206" y="239"/>
                    <a:pt x="204" y="238"/>
                  </a:cubicBezTo>
                  <a:cubicBezTo>
                    <a:pt x="143" y="209"/>
                    <a:pt x="100" y="176"/>
                    <a:pt x="70" y="133"/>
                  </a:cubicBezTo>
                  <a:cubicBezTo>
                    <a:pt x="55" y="111"/>
                    <a:pt x="46" y="86"/>
                    <a:pt x="43" y="59"/>
                  </a:cubicBezTo>
                  <a:cubicBezTo>
                    <a:pt x="40" y="36"/>
                    <a:pt x="44" y="16"/>
                    <a:pt x="53" y="0"/>
                  </a:cubicBezTo>
                  <a:cubicBezTo>
                    <a:pt x="35" y="16"/>
                    <a:pt x="18" y="39"/>
                    <a:pt x="12" y="75"/>
                  </a:cubicBezTo>
                  <a:cubicBezTo>
                    <a:pt x="0" y="154"/>
                    <a:pt x="37" y="221"/>
                    <a:pt x="41" y="228"/>
                  </a:cubicBezTo>
                  <a:cubicBezTo>
                    <a:pt x="74" y="261"/>
                    <a:pt x="116" y="289"/>
                    <a:pt x="169" y="314"/>
                  </a:cubicBezTo>
                  <a:cubicBezTo>
                    <a:pt x="183" y="320"/>
                    <a:pt x="199" y="324"/>
                    <a:pt x="215" y="324"/>
                  </a:cubicBezTo>
                  <a:cubicBezTo>
                    <a:pt x="233" y="324"/>
                    <a:pt x="252" y="319"/>
                    <a:pt x="268" y="312"/>
                  </a:cubicBezTo>
                  <a:cubicBezTo>
                    <a:pt x="312" y="291"/>
                    <a:pt x="350" y="266"/>
                    <a:pt x="383" y="236"/>
                  </a:cubicBezTo>
                  <a:cubicBezTo>
                    <a:pt x="389" y="231"/>
                    <a:pt x="394" y="226"/>
                    <a:pt x="399" y="22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7" name="Google Shape;719;p41"/>
            <p:cNvSpPr/>
            <p:nvPr/>
          </p:nvSpPr>
          <p:spPr>
            <a:xfrm>
              <a:off x="4061000" y="3231000"/>
              <a:ext cx="339279" cy="508390"/>
            </a:xfrm>
            <a:custGeom>
              <a:avLst/>
              <a:gdLst/>
              <a:ahLst/>
              <a:cxnLst/>
              <a:rect l="l" t="t" r="r" b="b"/>
              <a:pathLst>
                <a:path w="247" h="367" extrusionOk="0">
                  <a:moveTo>
                    <a:pt x="53" y="367"/>
                  </a:moveTo>
                  <a:cubicBezTo>
                    <a:pt x="68" y="367"/>
                    <a:pt x="82" y="365"/>
                    <a:pt x="96" y="363"/>
                  </a:cubicBezTo>
                  <a:cubicBezTo>
                    <a:pt x="150" y="353"/>
                    <a:pt x="191" y="320"/>
                    <a:pt x="195" y="316"/>
                  </a:cubicBezTo>
                  <a:cubicBezTo>
                    <a:pt x="221" y="279"/>
                    <a:pt x="237" y="239"/>
                    <a:pt x="242" y="195"/>
                  </a:cubicBezTo>
                  <a:cubicBezTo>
                    <a:pt x="247" y="155"/>
                    <a:pt x="239" y="116"/>
                    <a:pt x="221" y="85"/>
                  </a:cubicBezTo>
                  <a:cubicBezTo>
                    <a:pt x="201" y="51"/>
                    <a:pt x="170" y="26"/>
                    <a:pt x="130" y="12"/>
                  </a:cubicBezTo>
                  <a:cubicBezTo>
                    <a:pt x="110" y="4"/>
                    <a:pt x="88" y="0"/>
                    <a:pt x="66" y="0"/>
                  </a:cubicBezTo>
                  <a:cubicBezTo>
                    <a:pt x="44" y="0"/>
                    <a:pt x="22" y="4"/>
                    <a:pt x="0" y="11"/>
                  </a:cubicBezTo>
                  <a:cubicBezTo>
                    <a:pt x="11" y="18"/>
                    <a:pt x="28" y="30"/>
                    <a:pt x="43" y="44"/>
                  </a:cubicBezTo>
                  <a:cubicBezTo>
                    <a:pt x="57" y="58"/>
                    <a:pt x="64" y="66"/>
                    <a:pt x="69" y="72"/>
                  </a:cubicBezTo>
                  <a:cubicBezTo>
                    <a:pt x="71" y="74"/>
                    <a:pt x="72" y="76"/>
                    <a:pt x="74" y="78"/>
                  </a:cubicBezTo>
                  <a:cubicBezTo>
                    <a:pt x="80" y="85"/>
                    <a:pt x="89" y="87"/>
                    <a:pt x="89" y="87"/>
                  </a:cubicBezTo>
                  <a:cubicBezTo>
                    <a:pt x="102" y="91"/>
                    <a:pt x="102" y="91"/>
                    <a:pt x="102" y="91"/>
                  </a:cubicBezTo>
                  <a:cubicBezTo>
                    <a:pt x="102" y="91"/>
                    <a:pt x="102" y="91"/>
                    <a:pt x="102" y="91"/>
                  </a:cubicBezTo>
                  <a:cubicBezTo>
                    <a:pt x="143" y="106"/>
                    <a:pt x="164" y="140"/>
                    <a:pt x="159" y="185"/>
                  </a:cubicBezTo>
                  <a:cubicBezTo>
                    <a:pt x="154" y="230"/>
                    <a:pt x="133" y="268"/>
                    <a:pt x="96" y="302"/>
                  </a:cubicBezTo>
                  <a:cubicBezTo>
                    <a:pt x="70" y="326"/>
                    <a:pt x="40" y="345"/>
                    <a:pt x="5" y="362"/>
                  </a:cubicBezTo>
                  <a:cubicBezTo>
                    <a:pt x="18" y="365"/>
                    <a:pt x="34" y="367"/>
                    <a:pt x="53" y="367"/>
                  </a:cubicBezTo>
                  <a:cubicBezTo>
                    <a:pt x="53" y="367"/>
                    <a:pt x="53" y="367"/>
                    <a:pt x="53" y="36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172" name="Google Shape;716;p41"/>
          <p:cNvGrpSpPr/>
          <p:nvPr/>
        </p:nvGrpSpPr>
        <p:grpSpPr>
          <a:xfrm>
            <a:off x="1300481" y="4388551"/>
            <a:ext cx="1320799" cy="1189289"/>
            <a:chOff x="3680173" y="3231000"/>
            <a:chExt cx="720106" cy="626190"/>
          </a:xfrm>
        </p:grpSpPr>
        <p:sp>
          <p:nvSpPr>
            <p:cNvPr id="173" name="Google Shape;717;p41"/>
            <p:cNvSpPr/>
            <p:nvPr/>
          </p:nvSpPr>
          <p:spPr>
            <a:xfrm>
              <a:off x="3680173" y="3232386"/>
              <a:ext cx="468746" cy="451568"/>
            </a:xfrm>
            <a:custGeom>
              <a:avLst/>
              <a:gdLst/>
              <a:ahLst/>
              <a:cxnLst/>
              <a:rect l="l" t="t" r="r" b="b"/>
              <a:pathLst>
                <a:path w="341" h="326" extrusionOk="0">
                  <a:moveTo>
                    <a:pt x="337" y="79"/>
                  </a:moveTo>
                  <a:cubicBezTo>
                    <a:pt x="332" y="73"/>
                    <a:pt x="325" y="65"/>
                    <a:pt x="312" y="52"/>
                  </a:cubicBezTo>
                  <a:cubicBezTo>
                    <a:pt x="290" y="31"/>
                    <a:pt x="264" y="16"/>
                    <a:pt x="261" y="15"/>
                  </a:cubicBezTo>
                  <a:cubicBezTo>
                    <a:pt x="237" y="5"/>
                    <a:pt x="211" y="0"/>
                    <a:pt x="184" y="0"/>
                  </a:cubicBezTo>
                  <a:cubicBezTo>
                    <a:pt x="180" y="0"/>
                    <a:pt x="180" y="0"/>
                    <a:pt x="180" y="0"/>
                  </a:cubicBezTo>
                  <a:cubicBezTo>
                    <a:pt x="124" y="2"/>
                    <a:pt x="76" y="24"/>
                    <a:pt x="44" y="61"/>
                  </a:cubicBezTo>
                  <a:cubicBezTo>
                    <a:pt x="13" y="97"/>
                    <a:pt x="0" y="144"/>
                    <a:pt x="5" y="195"/>
                  </a:cubicBezTo>
                  <a:cubicBezTo>
                    <a:pt x="10" y="237"/>
                    <a:pt x="24" y="275"/>
                    <a:pt x="47" y="308"/>
                  </a:cubicBezTo>
                  <a:cubicBezTo>
                    <a:pt x="51" y="314"/>
                    <a:pt x="56" y="320"/>
                    <a:pt x="61" y="326"/>
                  </a:cubicBezTo>
                  <a:cubicBezTo>
                    <a:pt x="50" y="296"/>
                    <a:pt x="39" y="251"/>
                    <a:pt x="47" y="200"/>
                  </a:cubicBezTo>
                  <a:cubicBezTo>
                    <a:pt x="62" y="106"/>
                    <a:pt x="151" y="88"/>
                    <a:pt x="162" y="86"/>
                  </a:cubicBezTo>
                  <a:cubicBezTo>
                    <a:pt x="162" y="86"/>
                    <a:pt x="162" y="86"/>
                    <a:pt x="162" y="86"/>
                  </a:cubicBezTo>
                  <a:cubicBezTo>
                    <a:pt x="169" y="85"/>
                    <a:pt x="176" y="84"/>
                    <a:pt x="183" y="83"/>
                  </a:cubicBezTo>
                  <a:cubicBezTo>
                    <a:pt x="184" y="83"/>
                    <a:pt x="184" y="83"/>
                    <a:pt x="184" y="83"/>
                  </a:cubicBezTo>
                  <a:cubicBezTo>
                    <a:pt x="210" y="83"/>
                    <a:pt x="234" y="91"/>
                    <a:pt x="257" y="107"/>
                  </a:cubicBezTo>
                  <a:cubicBezTo>
                    <a:pt x="259" y="109"/>
                    <a:pt x="261" y="109"/>
                    <a:pt x="262" y="109"/>
                  </a:cubicBezTo>
                  <a:cubicBezTo>
                    <a:pt x="264" y="109"/>
                    <a:pt x="266" y="108"/>
                    <a:pt x="269" y="107"/>
                  </a:cubicBezTo>
                  <a:cubicBezTo>
                    <a:pt x="295" y="91"/>
                    <a:pt x="318" y="84"/>
                    <a:pt x="341" y="83"/>
                  </a:cubicBezTo>
                  <a:cubicBezTo>
                    <a:pt x="339" y="82"/>
                    <a:pt x="338" y="80"/>
                    <a:pt x="337" y="7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4" name="Google Shape;718;p41"/>
            <p:cNvSpPr/>
            <p:nvPr/>
          </p:nvSpPr>
          <p:spPr>
            <a:xfrm>
              <a:off x="3743529" y="3408162"/>
              <a:ext cx="548171" cy="449028"/>
            </a:xfrm>
            <a:custGeom>
              <a:avLst/>
              <a:gdLst/>
              <a:ahLst/>
              <a:cxnLst/>
              <a:rect l="l" t="t" r="r" b="b"/>
              <a:pathLst>
                <a:path w="399" h="324" extrusionOk="0">
                  <a:moveTo>
                    <a:pt x="399" y="221"/>
                  </a:moveTo>
                  <a:cubicBezTo>
                    <a:pt x="381" y="231"/>
                    <a:pt x="357" y="241"/>
                    <a:pt x="329" y="246"/>
                  </a:cubicBezTo>
                  <a:cubicBezTo>
                    <a:pt x="315" y="249"/>
                    <a:pt x="299" y="250"/>
                    <a:pt x="284" y="250"/>
                  </a:cubicBezTo>
                  <a:cubicBezTo>
                    <a:pt x="244" y="250"/>
                    <a:pt x="214" y="241"/>
                    <a:pt x="209" y="239"/>
                  </a:cubicBezTo>
                  <a:cubicBezTo>
                    <a:pt x="208" y="239"/>
                    <a:pt x="206" y="239"/>
                    <a:pt x="204" y="238"/>
                  </a:cubicBezTo>
                  <a:cubicBezTo>
                    <a:pt x="143" y="209"/>
                    <a:pt x="100" y="176"/>
                    <a:pt x="70" y="133"/>
                  </a:cubicBezTo>
                  <a:cubicBezTo>
                    <a:pt x="55" y="111"/>
                    <a:pt x="46" y="86"/>
                    <a:pt x="43" y="59"/>
                  </a:cubicBezTo>
                  <a:cubicBezTo>
                    <a:pt x="40" y="36"/>
                    <a:pt x="44" y="16"/>
                    <a:pt x="53" y="0"/>
                  </a:cubicBezTo>
                  <a:cubicBezTo>
                    <a:pt x="35" y="16"/>
                    <a:pt x="18" y="39"/>
                    <a:pt x="12" y="75"/>
                  </a:cubicBezTo>
                  <a:cubicBezTo>
                    <a:pt x="0" y="154"/>
                    <a:pt x="37" y="221"/>
                    <a:pt x="41" y="228"/>
                  </a:cubicBezTo>
                  <a:cubicBezTo>
                    <a:pt x="74" y="261"/>
                    <a:pt x="116" y="289"/>
                    <a:pt x="169" y="314"/>
                  </a:cubicBezTo>
                  <a:cubicBezTo>
                    <a:pt x="183" y="320"/>
                    <a:pt x="199" y="324"/>
                    <a:pt x="215" y="324"/>
                  </a:cubicBezTo>
                  <a:cubicBezTo>
                    <a:pt x="233" y="324"/>
                    <a:pt x="252" y="319"/>
                    <a:pt x="268" y="312"/>
                  </a:cubicBezTo>
                  <a:cubicBezTo>
                    <a:pt x="312" y="291"/>
                    <a:pt x="350" y="266"/>
                    <a:pt x="383" y="236"/>
                  </a:cubicBezTo>
                  <a:cubicBezTo>
                    <a:pt x="389" y="231"/>
                    <a:pt x="394" y="226"/>
                    <a:pt x="399" y="22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5" name="Google Shape;719;p41"/>
            <p:cNvSpPr/>
            <p:nvPr/>
          </p:nvSpPr>
          <p:spPr>
            <a:xfrm>
              <a:off x="4061000" y="3231000"/>
              <a:ext cx="339279" cy="508390"/>
            </a:xfrm>
            <a:custGeom>
              <a:avLst/>
              <a:gdLst/>
              <a:ahLst/>
              <a:cxnLst/>
              <a:rect l="l" t="t" r="r" b="b"/>
              <a:pathLst>
                <a:path w="247" h="367" extrusionOk="0">
                  <a:moveTo>
                    <a:pt x="53" y="367"/>
                  </a:moveTo>
                  <a:cubicBezTo>
                    <a:pt x="68" y="367"/>
                    <a:pt x="82" y="365"/>
                    <a:pt x="96" y="363"/>
                  </a:cubicBezTo>
                  <a:cubicBezTo>
                    <a:pt x="150" y="353"/>
                    <a:pt x="191" y="320"/>
                    <a:pt x="195" y="316"/>
                  </a:cubicBezTo>
                  <a:cubicBezTo>
                    <a:pt x="221" y="279"/>
                    <a:pt x="237" y="239"/>
                    <a:pt x="242" y="195"/>
                  </a:cubicBezTo>
                  <a:cubicBezTo>
                    <a:pt x="247" y="155"/>
                    <a:pt x="239" y="116"/>
                    <a:pt x="221" y="85"/>
                  </a:cubicBezTo>
                  <a:cubicBezTo>
                    <a:pt x="201" y="51"/>
                    <a:pt x="170" y="26"/>
                    <a:pt x="130" y="12"/>
                  </a:cubicBezTo>
                  <a:cubicBezTo>
                    <a:pt x="110" y="4"/>
                    <a:pt x="88" y="0"/>
                    <a:pt x="66" y="0"/>
                  </a:cubicBezTo>
                  <a:cubicBezTo>
                    <a:pt x="44" y="0"/>
                    <a:pt x="22" y="4"/>
                    <a:pt x="0" y="11"/>
                  </a:cubicBezTo>
                  <a:cubicBezTo>
                    <a:pt x="11" y="18"/>
                    <a:pt x="28" y="30"/>
                    <a:pt x="43" y="44"/>
                  </a:cubicBezTo>
                  <a:cubicBezTo>
                    <a:pt x="57" y="58"/>
                    <a:pt x="64" y="66"/>
                    <a:pt x="69" y="72"/>
                  </a:cubicBezTo>
                  <a:cubicBezTo>
                    <a:pt x="71" y="74"/>
                    <a:pt x="72" y="76"/>
                    <a:pt x="74" y="78"/>
                  </a:cubicBezTo>
                  <a:cubicBezTo>
                    <a:pt x="80" y="85"/>
                    <a:pt x="89" y="87"/>
                    <a:pt x="89" y="87"/>
                  </a:cubicBezTo>
                  <a:cubicBezTo>
                    <a:pt x="102" y="91"/>
                    <a:pt x="102" y="91"/>
                    <a:pt x="102" y="91"/>
                  </a:cubicBezTo>
                  <a:cubicBezTo>
                    <a:pt x="102" y="91"/>
                    <a:pt x="102" y="91"/>
                    <a:pt x="102" y="91"/>
                  </a:cubicBezTo>
                  <a:cubicBezTo>
                    <a:pt x="143" y="106"/>
                    <a:pt x="164" y="140"/>
                    <a:pt x="159" y="185"/>
                  </a:cubicBezTo>
                  <a:cubicBezTo>
                    <a:pt x="154" y="230"/>
                    <a:pt x="133" y="268"/>
                    <a:pt x="96" y="302"/>
                  </a:cubicBezTo>
                  <a:cubicBezTo>
                    <a:pt x="70" y="326"/>
                    <a:pt x="40" y="345"/>
                    <a:pt x="5" y="362"/>
                  </a:cubicBezTo>
                  <a:cubicBezTo>
                    <a:pt x="18" y="365"/>
                    <a:pt x="34" y="367"/>
                    <a:pt x="53" y="367"/>
                  </a:cubicBezTo>
                  <a:cubicBezTo>
                    <a:pt x="53" y="367"/>
                    <a:pt x="53" y="367"/>
                    <a:pt x="53" y="36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78" name="Прямоугольник 177"/>
          <p:cNvSpPr/>
          <p:nvPr/>
        </p:nvSpPr>
        <p:spPr>
          <a:xfrm>
            <a:off x="2653365" y="4391874"/>
            <a:ext cx="6096000" cy="92333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 smtClean="0"/>
              <a:t>Создание оптимальных условий для обеспечения семейного благополучия, ответственного родительства, повышение авторитета родителей в семье и </a:t>
            </a:r>
            <a:r>
              <a:rPr lang="ru-RU" dirty="0" smtClean="0"/>
              <a:t>обществе.</a:t>
            </a:r>
            <a:endParaRPr lang="ru-RU" dirty="0"/>
          </a:p>
        </p:txBody>
      </p:sp>
      <p:grpSp>
        <p:nvGrpSpPr>
          <p:cNvPr id="179" name="Google Shape;716;p41"/>
          <p:cNvGrpSpPr/>
          <p:nvPr/>
        </p:nvGrpSpPr>
        <p:grpSpPr>
          <a:xfrm>
            <a:off x="2088682" y="5438257"/>
            <a:ext cx="1291742" cy="1178559"/>
            <a:chOff x="3680173" y="3231000"/>
            <a:chExt cx="720106" cy="626190"/>
          </a:xfrm>
        </p:grpSpPr>
        <p:sp>
          <p:nvSpPr>
            <p:cNvPr id="180" name="Google Shape;717;p41"/>
            <p:cNvSpPr/>
            <p:nvPr/>
          </p:nvSpPr>
          <p:spPr>
            <a:xfrm>
              <a:off x="3680173" y="3232386"/>
              <a:ext cx="468746" cy="451568"/>
            </a:xfrm>
            <a:custGeom>
              <a:avLst/>
              <a:gdLst/>
              <a:ahLst/>
              <a:cxnLst/>
              <a:rect l="l" t="t" r="r" b="b"/>
              <a:pathLst>
                <a:path w="341" h="326" extrusionOk="0">
                  <a:moveTo>
                    <a:pt x="337" y="79"/>
                  </a:moveTo>
                  <a:cubicBezTo>
                    <a:pt x="332" y="73"/>
                    <a:pt x="325" y="65"/>
                    <a:pt x="312" y="52"/>
                  </a:cubicBezTo>
                  <a:cubicBezTo>
                    <a:pt x="290" y="31"/>
                    <a:pt x="264" y="16"/>
                    <a:pt x="261" y="15"/>
                  </a:cubicBezTo>
                  <a:cubicBezTo>
                    <a:pt x="237" y="5"/>
                    <a:pt x="211" y="0"/>
                    <a:pt x="184" y="0"/>
                  </a:cubicBezTo>
                  <a:cubicBezTo>
                    <a:pt x="180" y="0"/>
                    <a:pt x="180" y="0"/>
                    <a:pt x="180" y="0"/>
                  </a:cubicBezTo>
                  <a:cubicBezTo>
                    <a:pt x="124" y="2"/>
                    <a:pt x="76" y="24"/>
                    <a:pt x="44" y="61"/>
                  </a:cubicBezTo>
                  <a:cubicBezTo>
                    <a:pt x="13" y="97"/>
                    <a:pt x="0" y="144"/>
                    <a:pt x="5" y="195"/>
                  </a:cubicBezTo>
                  <a:cubicBezTo>
                    <a:pt x="10" y="237"/>
                    <a:pt x="24" y="275"/>
                    <a:pt x="47" y="308"/>
                  </a:cubicBezTo>
                  <a:cubicBezTo>
                    <a:pt x="51" y="314"/>
                    <a:pt x="56" y="320"/>
                    <a:pt x="61" y="326"/>
                  </a:cubicBezTo>
                  <a:cubicBezTo>
                    <a:pt x="50" y="296"/>
                    <a:pt x="39" y="251"/>
                    <a:pt x="47" y="200"/>
                  </a:cubicBezTo>
                  <a:cubicBezTo>
                    <a:pt x="62" y="106"/>
                    <a:pt x="151" y="88"/>
                    <a:pt x="162" y="86"/>
                  </a:cubicBezTo>
                  <a:cubicBezTo>
                    <a:pt x="162" y="86"/>
                    <a:pt x="162" y="86"/>
                    <a:pt x="162" y="86"/>
                  </a:cubicBezTo>
                  <a:cubicBezTo>
                    <a:pt x="169" y="85"/>
                    <a:pt x="176" y="84"/>
                    <a:pt x="183" y="83"/>
                  </a:cubicBezTo>
                  <a:cubicBezTo>
                    <a:pt x="184" y="83"/>
                    <a:pt x="184" y="83"/>
                    <a:pt x="184" y="83"/>
                  </a:cubicBezTo>
                  <a:cubicBezTo>
                    <a:pt x="210" y="83"/>
                    <a:pt x="234" y="91"/>
                    <a:pt x="257" y="107"/>
                  </a:cubicBezTo>
                  <a:cubicBezTo>
                    <a:pt x="259" y="109"/>
                    <a:pt x="261" y="109"/>
                    <a:pt x="262" y="109"/>
                  </a:cubicBezTo>
                  <a:cubicBezTo>
                    <a:pt x="264" y="109"/>
                    <a:pt x="266" y="108"/>
                    <a:pt x="269" y="107"/>
                  </a:cubicBezTo>
                  <a:cubicBezTo>
                    <a:pt x="295" y="91"/>
                    <a:pt x="318" y="84"/>
                    <a:pt x="341" y="83"/>
                  </a:cubicBezTo>
                  <a:cubicBezTo>
                    <a:pt x="339" y="82"/>
                    <a:pt x="338" y="80"/>
                    <a:pt x="337" y="7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1" name="Google Shape;718;p41"/>
            <p:cNvSpPr/>
            <p:nvPr/>
          </p:nvSpPr>
          <p:spPr>
            <a:xfrm>
              <a:off x="3743529" y="3408162"/>
              <a:ext cx="548171" cy="449028"/>
            </a:xfrm>
            <a:custGeom>
              <a:avLst/>
              <a:gdLst/>
              <a:ahLst/>
              <a:cxnLst/>
              <a:rect l="l" t="t" r="r" b="b"/>
              <a:pathLst>
                <a:path w="399" h="324" extrusionOk="0">
                  <a:moveTo>
                    <a:pt x="399" y="221"/>
                  </a:moveTo>
                  <a:cubicBezTo>
                    <a:pt x="381" y="231"/>
                    <a:pt x="357" y="241"/>
                    <a:pt x="329" y="246"/>
                  </a:cubicBezTo>
                  <a:cubicBezTo>
                    <a:pt x="315" y="249"/>
                    <a:pt x="299" y="250"/>
                    <a:pt x="284" y="250"/>
                  </a:cubicBezTo>
                  <a:cubicBezTo>
                    <a:pt x="244" y="250"/>
                    <a:pt x="214" y="241"/>
                    <a:pt x="209" y="239"/>
                  </a:cubicBezTo>
                  <a:cubicBezTo>
                    <a:pt x="208" y="239"/>
                    <a:pt x="206" y="239"/>
                    <a:pt x="204" y="238"/>
                  </a:cubicBezTo>
                  <a:cubicBezTo>
                    <a:pt x="143" y="209"/>
                    <a:pt x="100" y="176"/>
                    <a:pt x="70" y="133"/>
                  </a:cubicBezTo>
                  <a:cubicBezTo>
                    <a:pt x="55" y="111"/>
                    <a:pt x="46" y="86"/>
                    <a:pt x="43" y="59"/>
                  </a:cubicBezTo>
                  <a:cubicBezTo>
                    <a:pt x="40" y="36"/>
                    <a:pt x="44" y="16"/>
                    <a:pt x="53" y="0"/>
                  </a:cubicBezTo>
                  <a:cubicBezTo>
                    <a:pt x="35" y="16"/>
                    <a:pt x="18" y="39"/>
                    <a:pt x="12" y="75"/>
                  </a:cubicBezTo>
                  <a:cubicBezTo>
                    <a:pt x="0" y="154"/>
                    <a:pt x="37" y="221"/>
                    <a:pt x="41" y="228"/>
                  </a:cubicBezTo>
                  <a:cubicBezTo>
                    <a:pt x="74" y="261"/>
                    <a:pt x="116" y="289"/>
                    <a:pt x="169" y="314"/>
                  </a:cubicBezTo>
                  <a:cubicBezTo>
                    <a:pt x="183" y="320"/>
                    <a:pt x="199" y="324"/>
                    <a:pt x="215" y="324"/>
                  </a:cubicBezTo>
                  <a:cubicBezTo>
                    <a:pt x="233" y="324"/>
                    <a:pt x="252" y="319"/>
                    <a:pt x="268" y="312"/>
                  </a:cubicBezTo>
                  <a:cubicBezTo>
                    <a:pt x="312" y="291"/>
                    <a:pt x="350" y="266"/>
                    <a:pt x="383" y="236"/>
                  </a:cubicBezTo>
                  <a:cubicBezTo>
                    <a:pt x="389" y="231"/>
                    <a:pt x="394" y="226"/>
                    <a:pt x="399" y="22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2" name="Google Shape;719;p41"/>
            <p:cNvSpPr/>
            <p:nvPr/>
          </p:nvSpPr>
          <p:spPr>
            <a:xfrm>
              <a:off x="4061000" y="3231000"/>
              <a:ext cx="339279" cy="508390"/>
            </a:xfrm>
            <a:custGeom>
              <a:avLst/>
              <a:gdLst/>
              <a:ahLst/>
              <a:cxnLst/>
              <a:rect l="l" t="t" r="r" b="b"/>
              <a:pathLst>
                <a:path w="247" h="367" extrusionOk="0">
                  <a:moveTo>
                    <a:pt x="53" y="367"/>
                  </a:moveTo>
                  <a:cubicBezTo>
                    <a:pt x="68" y="367"/>
                    <a:pt x="82" y="365"/>
                    <a:pt x="96" y="363"/>
                  </a:cubicBezTo>
                  <a:cubicBezTo>
                    <a:pt x="150" y="353"/>
                    <a:pt x="191" y="320"/>
                    <a:pt x="195" y="316"/>
                  </a:cubicBezTo>
                  <a:cubicBezTo>
                    <a:pt x="221" y="279"/>
                    <a:pt x="237" y="239"/>
                    <a:pt x="242" y="195"/>
                  </a:cubicBezTo>
                  <a:cubicBezTo>
                    <a:pt x="247" y="155"/>
                    <a:pt x="239" y="116"/>
                    <a:pt x="221" y="85"/>
                  </a:cubicBezTo>
                  <a:cubicBezTo>
                    <a:pt x="201" y="51"/>
                    <a:pt x="170" y="26"/>
                    <a:pt x="130" y="12"/>
                  </a:cubicBezTo>
                  <a:cubicBezTo>
                    <a:pt x="110" y="4"/>
                    <a:pt x="88" y="0"/>
                    <a:pt x="66" y="0"/>
                  </a:cubicBezTo>
                  <a:cubicBezTo>
                    <a:pt x="44" y="0"/>
                    <a:pt x="22" y="4"/>
                    <a:pt x="0" y="11"/>
                  </a:cubicBezTo>
                  <a:cubicBezTo>
                    <a:pt x="11" y="18"/>
                    <a:pt x="28" y="30"/>
                    <a:pt x="43" y="44"/>
                  </a:cubicBezTo>
                  <a:cubicBezTo>
                    <a:pt x="57" y="58"/>
                    <a:pt x="64" y="66"/>
                    <a:pt x="69" y="72"/>
                  </a:cubicBezTo>
                  <a:cubicBezTo>
                    <a:pt x="71" y="74"/>
                    <a:pt x="72" y="76"/>
                    <a:pt x="74" y="78"/>
                  </a:cubicBezTo>
                  <a:cubicBezTo>
                    <a:pt x="80" y="85"/>
                    <a:pt x="89" y="87"/>
                    <a:pt x="89" y="87"/>
                  </a:cubicBezTo>
                  <a:cubicBezTo>
                    <a:pt x="102" y="91"/>
                    <a:pt x="102" y="91"/>
                    <a:pt x="102" y="91"/>
                  </a:cubicBezTo>
                  <a:cubicBezTo>
                    <a:pt x="102" y="91"/>
                    <a:pt x="102" y="91"/>
                    <a:pt x="102" y="91"/>
                  </a:cubicBezTo>
                  <a:cubicBezTo>
                    <a:pt x="143" y="106"/>
                    <a:pt x="164" y="140"/>
                    <a:pt x="159" y="185"/>
                  </a:cubicBezTo>
                  <a:cubicBezTo>
                    <a:pt x="154" y="230"/>
                    <a:pt x="133" y="268"/>
                    <a:pt x="96" y="302"/>
                  </a:cubicBezTo>
                  <a:cubicBezTo>
                    <a:pt x="70" y="326"/>
                    <a:pt x="40" y="345"/>
                    <a:pt x="5" y="362"/>
                  </a:cubicBezTo>
                  <a:cubicBezTo>
                    <a:pt x="18" y="365"/>
                    <a:pt x="34" y="367"/>
                    <a:pt x="53" y="367"/>
                  </a:cubicBezTo>
                  <a:cubicBezTo>
                    <a:pt x="53" y="367"/>
                    <a:pt x="53" y="367"/>
                    <a:pt x="53" y="36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84" name="Прямоугольник 183"/>
          <p:cNvSpPr/>
          <p:nvPr/>
        </p:nvSpPr>
        <p:spPr>
          <a:xfrm>
            <a:off x="3375259" y="5380672"/>
            <a:ext cx="682752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/>
              <a:t>Актуализация </a:t>
            </a:r>
            <a:r>
              <a:rPr lang="ru-RU" dirty="0" smtClean="0"/>
              <a:t>знаний родителей </a:t>
            </a:r>
            <a:r>
              <a:rPr lang="ru-RU" dirty="0" smtClean="0"/>
              <a:t>о важности и особенностях воспитательно-образовательной работы с детьми младенческого, раннего и дошкольного возраста, понимание их участия в общем деле воспитания, обучения</a:t>
            </a:r>
            <a:r>
              <a:rPr lang="ru-RU" dirty="0"/>
              <a:t> </a:t>
            </a:r>
            <a:r>
              <a:rPr lang="ru-RU" dirty="0" smtClean="0"/>
              <a:t>и </a:t>
            </a:r>
            <a:r>
              <a:rPr lang="ru-RU" dirty="0" smtClean="0"/>
              <a:t>развития детей.</a:t>
            </a:r>
            <a:endParaRPr lang="ru-RU" dirty="0"/>
          </a:p>
        </p:txBody>
      </p:sp>
      <p:sp>
        <p:nvSpPr>
          <p:cNvPr id="24" name="Google Shape;464;p40"/>
          <p:cNvSpPr/>
          <p:nvPr/>
        </p:nvSpPr>
        <p:spPr>
          <a:xfrm>
            <a:off x="9553156" y="1017811"/>
            <a:ext cx="1104911" cy="1088368"/>
          </a:xfrm>
          <a:custGeom>
            <a:avLst/>
            <a:gdLst/>
            <a:ahLst/>
            <a:cxnLst/>
            <a:rect l="l" t="t" r="r" b="b"/>
            <a:pathLst>
              <a:path w="20975" h="20659" extrusionOk="0">
                <a:moveTo>
                  <a:pt x="10317" y="1704"/>
                </a:moveTo>
                <a:lnTo>
                  <a:pt x="10269" y="1728"/>
                </a:lnTo>
                <a:lnTo>
                  <a:pt x="10171" y="1825"/>
                </a:lnTo>
                <a:lnTo>
                  <a:pt x="10123" y="1947"/>
                </a:lnTo>
                <a:lnTo>
                  <a:pt x="10098" y="2069"/>
                </a:lnTo>
                <a:lnTo>
                  <a:pt x="10074" y="2190"/>
                </a:lnTo>
                <a:lnTo>
                  <a:pt x="10050" y="2336"/>
                </a:lnTo>
                <a:lnTo>
                  <a:pt x="10050" y="2482"/>
                </a:lnTo>
                <a:lnTo>
                  <a:pt x="10098" y="2653"/>
                </a:lnTo>
                <a:lnTo>
                  <a:pt x="10123" y="2701"/>
                </a:lnTo>
                <a:lnTo>
                  <a:pt x="10147" y="2774"/>
                </a:lnTo>
                <a:lnTo>
                  <a:pt x="10196" y="2799"/>
                </a:lnTo>
                <a:lnTo>
                  <a:pt x="10244" y="2823"/>
                </a:lnTo>
                <a:lnTo>
                  <a:pt x="10342" y="2823"/>
                </a:lnTo>
                <a:lnTo>
                  <a:pt x="10439" y="2774"/>
                </a:lnTo>
                <a:lnTo>
                  <a:pt x="10463" y="2726"/>
                </a:lnTo>
                <a:lnTo>
                  <a:pt x="10488" y="2677"/>
                </a:lnTo>
                <a:lnTo>
                  <a:pt x="10488" y="2580"/>
                </a:lnTo>
                <a:lnTo>
                  <a:pt x="10488" y="2482"/>
                </a:lnTo>
                <a:lnTo>
                  <a:pt x="10463" y="2263"/>
                </a:lnTo>
                <a:lnTo>
                  <a:pt x="10463" y="1850"/>
                </a:lnTo>
                <a:lnTo>
                  <a:pt x="10439" y="1777"/>
                </a:lnTo>
                <a:lnTo>
                  <a:pt x="10390" y="1728"/>
                </a:lnTo>
                <a:lnTo>
                  <a:pt x="10317" y="1704"/>
                </a:lnTo>
                <a:close/>
                <a:moveTo>
                  <a:pt x="8054" y="1"/>
                </a:moveTo>
                <a:lnTo>
                  <a:pt x="7981" y="25"/>
                </a:lnTo>
                <a:lnTo>
                  <a:pt x="7933" y="122"/>
                </a:lnTo>
                <a:lnTo>
                  <a:pt x="7908" y="220"/>
                </a:lnTo>
                <a:lnTo>
                  <a:pt x="7884" y="439"/>
                </a:lnTo>
                <a:lnTo>
                  <a:pt x="7908" y="852"/>
                </a:lnTo>
                <a:lnTo>
                  <a:pt x="7933" y="1071"/>
                </a:lnTo>
                <a:lnTo>
                  <a:pt x="7957" y="1290"/>
                </a:lnTo>
                <a:lnTo>
                  <a:pt x="8054" y="1704"/>
                </a:lnTo>
                <a:lnTo>
                  <a:pt x="8103" y="2044"/>
                </a:lnTo>
                <a:lnTo>
                  <a:pt x="8200" y="2458"/>
                </a:lnTo>
                <a:lnTo>
                  <a:pt x="8273" y="2653"/>
                </a:lnTo>
                <a:lnTo>
                  <a:pt x="8371" y="2823"/>
                </a:lnTo>
                <a:lnTo>
                  <a:pt x="8468" y="2969"/>
                </a:lnTo>
                <a:lnTo>
                  <a:pt x="8541" y="2993"/>
                </a:lnTo>
                <a:lnTo>
                  <a:pt x="8614" y="3042"/>
                </a:lnTo>
                <a:lnTo>
                  <a:pt x="8711" y="3042"/>
                </a:lnTo>
                <a:lnTo>
                  <a:pt x="8784" y="2993"/>
                </a:lnTo>
                <a:lnTo>
                  <a:pt x="8857" y="2920"/>
                </a:lnTo>
                <a:lnTo>
                  <a:pt x="8857" y="2847"/>
                </a:lnTo>
                <a:lnTo>
                  <a:pt x="8857" y="2726"/>
                </a:lnTo>
                <a:lnTo>
                  <a:pt x="8809" y="2604"/>
                </a:lnTo>
                <a:lnTo>
                  <a:pt x="8711" y="2385"/>
                </a:lnTo>
                <a:lnTo>
                  <a:pt x="8614" y="2044"/>
                </a:lnTo>
                <a:lnTo>
                  <a:pt x="8517" y="1704"/>
                </a:lnTo>
                <a:lnTo>
                  <a:pt x="8444" y="1290"/>
                </a:lnTo>
                <a:lnTo>
                  <a:pt x="8395" y="876"/>
                </a:lnTo>
                <a:lnTo>
                  <a:pt x="8322" y="487"/>
                </a:lnTo>
                <a:lnTo>
                  <a:pt x="8273" y="293"/>
                </a:lnTo>
                <a:lnTo>
                  <a:pt x="8225" y="98"/>
                </a:lnTo>
                <a:lnTo>
                  <a:pt x="8176" y="25"/>
                </a:lnTo>
                <a:lnTo>
                  <a:pt x="8103" y="1"/>
                </a:lnTo>
                <a:close/>
                <a:moveTo>
                  <a:pt x="12483" y="1"/>
                </a:moveTo>
                <a:lnTo>
                  <a:pt x="12337" y="122"/>
                </a:lnTo>
                <a:lnTo>
                  <a:pt x="12239" y="244"/>
                </a:lnTo>
                <a:lnTo>
                  <a:pt x="12142" y="414"/>
                </a:lnTo>
                <a:lnTo>
                  <a:pt x="12093" y="585"/>
                </a:lnTo>
                <a:lnTo>
                  <a:pt x="11996" y="949"/>
                </a:lnTo>
                <a:lnTo>
                  <a:pt x="11923" y="1290"/>
                </a:lnTo>
                <a:lnTo>
                  <a:pt x="11753" y="2166"/>
                </a:lnTo>
                <a:lnTo>
                  <a:pt x="11631" y="2531"/>
                </a:lnTo>
                <a:lnTo>
                  <a:pt x="11607" y="2701"/>
                </a:lnTo>
                <a:lnTo>
                  <a:pt x="11607" y="2799"/>
                </a:lnTo>
                <a:lnTo>
                  <a:pt x="11607" y="2872"/>
                </a:lnTo>
                <a:lnTo>
                  <a:pt x="11655" y="2969"/>
                </a:lnTo>
                <a:lnTo>
                  <a:pt x="11753" y="3018"/>
                </a:lnTo>
                <a:lnTo>
                  <a:pt x="11850" y="3042"/>
                </a:lnTo>
                <a:lnTo>
                  <a:pt x="11947" y="3018"/>
                </a:lnTo>
                <a:lnTo>
                  <a:pt x="12069" y="2920"/>
                </a:lnTo>
                <a:lnTo>
                  <a:pt x="12142" y="2774"/>
                </a:lnTo>
                <a:lnTo>
                  <a:pt x="12191" y="2604"/>
                </a:lnTo>
                <a:lnTo>
                  <a:pt x="12239" y="2434"/>
                </a:lnTo>
                <a:lnTo>
                  <a:pt x="12288" y="2069"/>
                </a:lnTo>
                <a:lnTo>
                  <a:pt x="12337" y="1752"/>
                </a:lnTo>
                <a:lnTo>
                  <a:pt x="12458" y="974"/>
                </a:lnTo>
                <a:lnTo>
                  <a:pt x="12556" y="585"/>
                </a:lnTo>
                <a:lnTo>
                  <a:pt x="12604" y="390"/>
                </a:lnTo>
                <a:lnTo>
                  <a:pt x="12677" y="220"/>
                </a:lnTo>
                <a:lnTo>
                  <a:pt x="12702" y="171"/>
                </a:lnTo>
                <a:lnTo>
                  <a:pt x="12702" y="122"/>
                </a:lnTo>
                <a:lnTo>
                  <a:pt x="12653" y="25"/>
                </a:lnTo>
                <a:lnTo>
                  <a:pt x="12629" y="1"/>
                </a:lnTo>
                <a:close/>
                <a:moveTo>
                  <a:pt x="14089" y="2507"/>
                </a:moveTo>
                <a:lnTo>
                  <a:pt x="13991" y="2555"/>
                </a:lnTo>
                <a:lnTo>
                  <a:pt x="13918" y="2628"/>
                </a:lnTo>
                <a:lnTo>
                  <a:pt x="13845" y="2726"/>
                </a:lnTo>
                <a:lnTo>
                  <a:pt x="13797" y="2847"/>
                </a:lnTo>
                <a:lnTo>
                  <a:pt x="13699" y="3066"/>
                </a:lnTo>
                <a:lnTo>
                  <a:pt x="13651" y="3212"/>
                </a:lnTo>
                <a:lnTo>
                  <a:pt x="13651" y="3334"/>
                </a:lnTo>
                <a:lnTo>
                  <a:pt x="13651" y="3383"/>
                </a:lnTo>
                <a:lnTo>
                  <a:pt x="13675" y="3431"/>
                </a:lnTo>
                <a:lnTo>
                  <a:pt x="13724" y="3456"/>
                </a:lnTo>
                <a:lnTo>
                  <a:pt x="13772" y="3480"/>
                </a:lnTo>
                <a:lnTo>
                  <a:pt x="13821" y="3504"/>
                </a:lnTo>
                <a:lnTo>
                  <a:pt x="13894" y="3480"/>
                </a:lnTo>
                <a:lnTo>
                  <a:pt x="13918" y="3456"/>
                </a:lnTo>
                <a:lnTo>
                  <a:pt x="13967" y="3407"/>
                </a:lnTo>
                <a:lnTo>
                  <a:pt x="14040" y="3212"/>
                </a:lnTo>
                <a:lnTo>
                  <a:pt x="14089" y="3018"/>
                </a:lnTo>
                <a:lnTo>
                  <a:pt x="14162" y="2799"/>
                </a:lnTo>
                <a:lnTo>
                  <a:pt x="14210" y="2701"/>
                </a:lnTo>
                <a:lnTo>
                  <a:pt x="14235" y="2604"/>
                </a:lnTo>
                <a:lnTo>
                  <a:pt x="14210" y="2555"/>
                </a:lnTo>
                <a:lnTo>
                  <a:pt x="14186" y="2531"/>
                </a:lnTo>
                <a:lnTo>
                  <a:pt x="14137" y="2507"/>
                </a:lnTo>
                <a:close/>
                <a:moveTo>
                  <a:pt x="6692" y="2385"/>
                </a:moveTo>
                <a:lnTo>
                  <a:pt x="6667" y="2409"/>
                </a:lnTo>
                <a:lnTo>
                  <a:pt x="6594" y="2507"/>
                </a:lnTo>
                <a:lnTo>
                  <a:pt x="6570" y="2628"/>
                </a:lnTo>
                <a:lnTo>
                  <a:pt x="6594" y="2774"/>
                </a:lnTo>
                <a:lnTo>
                  <a:pt x="6619" y="2920"/>
                </a:lnTo>
                <a:lnTo>
                  <a:pt x="6740" y="3188"/>
                </a:lnTo>
                <a:lnTo>
                  <a:pt x="6838" y="3431"/>
                </a:lnTo>
                <a:lnTo>
                  <a:pt x="6886" y="3504"/>
                </a:lnTo>
                <a:lnTo>
                  <a:pt x="6935" y="3553"/>
                </a:lnTo>
                <a:lnTo>
                  <a:pt x="7008" y="3553"/>
                </a:lnTo>
                <a:lnTo>
                  <a:pt x="7081" y="3529"/>
                </a:lnTo>
                <a:lnTo>
                  <a:pt x="7130" y="3504"/>
                </a:lnTo>
                <a:lnTo>
                  <a:pt x="7154" y="3456"/>
                </a:lnTo>
                <a:lnTo>
                  <a:pt x="7178" y="3383"/>
                </a:lnTo>
                <a:lnTo>
                  <a:pt x="7154" y="3310"/>
                </a:lnTo>
                <a:lnTo>
                  <a:pt x="6935" y="2823"/>
                </a:lnTo>
                <a:lnTo>
                  <a:pt x="6862" y="2604"/>
                </a:lnTo>
                <a:lnTo>
                  <a:pt x="6813" y="2507"/>
                </a:lnTo>
                <a:lnTo>
                  <a:pt x="6740" y="2409"/>
                </a:lnTo>
                <a:lnTo>
                  <a:pt x="6692" y="2385"/>
                </a:lnTo>
                <a:close/>
                <a:moveTo>
                  <a:pt x="16668" y="2020"/>
                </a:moveTo>
                <a:lnTo>
                  <a:pt x="16595" y="2044"/>
                </a:lnTo>
                <a:lnTo>
                  <a:pt x="16546" y="2093"/>
                </a:lnTo>
                <a:lnTo>
                  <a:pt x="16303" y="2409"/>
                </a:lnTo>
                <a:lnTo>
                  <a:pt x="16084" y="2726"/>
                </a:lnTo>
                <a:lnTo>
                  <a:pt x="15889" y="3042"/>
                </a:lnTo>
                <a:lnTo>
                  <a:pt x="15719" y="3383"/>
                </a:lnTo>
                <a:lnTo>
                  <a:pt x="15573" y="3626"/>
                </a:lnTo>
                <a:lnTo>
                  <a:pt x="15427" y="3894"/>
                </a:lnTo>
                <a:lnTo>
                  <a:pt x="15281" y="4137"/>
                </a:lnTo>
                <a:lnTo>
                  <a:pt x="15184" y="4380"/>
                </a:lnTo>
                <a:lnTo>
                  <a:pt x="15159" y="4453"/>
                </a:lnTo>
                <a:lnTo>
                  <a:pt x="15184" y="4502"/>
                </a:lnTo>
                <a:lnTo>
                  <a:pt x="15232" y="4575"/>
                </a:lnTo>
                <a:lnTo>
                  <a:pt x="15330" y="4624"/>
                </a:lnTo>
                <a:lnTo>
                  <a:pt x="15427" y="4624"/>
                </a:lnTo>
                <a:lnTo>
                  <a:pt x="15549" y="4575"/>
                </a:lnTo>
                <a:lnTo>
                  <a:pt x="15646" y="4502"/>
                </a:lnTo>
                <a:lnTo>
                  <a:pt x="15743" y="4380"/>
                </a:lnTo>
                <a:lnTo>
                  <a:pt x="15816" y="4259"/>
                </a:lnTo>
                <a:lnTo>
                  <a:pt x="15962" y="3991"/>
                </a:lnTo>
                <a:lnTo>
                  <a:pt x="16060" y="3723"/>
                </a:lnTo>
                <a:lnTo>
                  <a:pt x="16352" y="3091"/>
                </a:lnTo>
                <a:lnTo>
                  <a:pt x="16498" y="2872"/>
                </a:lnTo>
                <a:lnTo>
                  <a:pt x="16619" y="2677"/>
                </a:lnTo>
                <a:lnTo>
                  <a:pt x="16765" y="2458"/>
                </a:lnTo>
                <a:lnTo>
                  <a:pt x="16887" y="2239"/>
                </a:lnTo>
                <a:lnTo>
                  <a:pt x="16911" y="2166"/>
                </a:lnTo>
                <a:lnTo>
                  <a:pt x="16887" y="2117"/>
                </a:lnTo>
                <a:lnTo>
                  <a:pt x="16838" y="2069"/>
                </a:lnTo>
                <a:lnTo>
                  <a:pt x="16790" y="2044"/>
                </a:lnTo>
                <a:lnTo>
                  <a:pt x="16741" y="2020"/>
                </a:lnTo>
                <a:close/>
                <a:moveTo>
                  <a:pt x="3869" y="2020"/>
                </a:moveTo>
                <a:lnTo>
                  <a:pt x="3820" y="2044"/>
                </a:lnTo>
                <a:lnTo>
                  <a:pt x="3796" y="2044"/>
                </a:lnTo>
                <a:lnTo>
                  <a:pt x="3747" y="2093"/>
                </a:lnTo>
                <a:lnTo>
                  <a:pt x="3723" y="2190"/>
                </a:lnTo>
                <a:lnTo>
                  <a:pt x="3747" y="2263"/>
                </a:lnTo>
                <a:lnTo>
                  <a:pt x="3796" y="2312"/>
                </a:lnTo>
                <a:lnTo>
                  <a:pt x="3820" y="2385"/>
                </a:lnTo>
                <a:lnTo>
                  <a:pt x="3869" y="2531"/>
                </a:lnTo>
                <a:lnTo>
                  <a:pt x="3991" y="2799"/>
                </a:lnTo>
                <a:lnTo>
                  <a:pt x="4185" y="3188"/>
                </a:lnTo>
                <a:lnTo>
                  <a:pt x="4404" y="3577"/>
                </a:lnTo>
                <a:lnTo>
                  <a:pt x="4599" y="3869"/>
                </a:lnTo>
                <a:lnTo>
                  <a:pt x="4818" y="4161"/>
                </a:lnTo>
                <a:lnTo>
                  <a:pt x="5086" y="4405"/>
                </a:lnTo>
                <a:lnTo>
                  <a:pt x="5207" y="4526"/>
                </a:lnTo>
                <a:lnTo>
                  <a:pt x="5378" y="4624"/>
                </a:lnTo>
                <a:lnTo>
                  <a:pt x="5475" y="4648"/>
                </a:lnTo>
                <a:lnTo>
                  <a:pt x="5572" y="4648"/>
                </a:lnTo>
                <a:lnTo>
                  <a:pt x="5645" y="4599"/>
                </a:lnTo>
                <a:lnTo>
                  <a:pt x="5694" y="4526"/>
                </a:lnTo>
                <a:lnTo>
                  <a:pt x="5718" y="4453"/>
                </a:lnTo>
                <a:lnTo>
                  <a:pt x="5718" y="4356"/>
                </a:lnTo>
                <a:lnTo>
                  <a:pt x="5694" y="4283"/>
                </a:lnTo>
                <a:lnTo>
                  <a:pt x="5621" y="4210"/>
                </a:lnTo>
                <a:lnTo>
                  <a:pt x="5451" y="4088"/>
                </a:lnTo>
                <a:lnTo>
                  <a:pt x="5329" y="3991"/>
                </a:lnTo>
                <a:lnTo>
                  <a:pt x="5086" y="3723"/>
                </a:lnTo>
                <a:lnTo>
                  <a:pt x="4867" y="3431"/>
                </a:lnTo>
                <a:lnTo>
                  <a:pt x="4672" y="3139"/>
                </a:lnTo>
                <a:lnTo>
                  <a:pt x="4526" y="2847"/>
                </a:lnTo>
                <a:lnTo>
                  <a:pt x="4380" y="2580"/>
                </a:lnTo>
                <a:lnTo>
                  <a:pt x="4210" y="2288"/>
                </a:lnTo>
                <a:lnTo>
                  <a:pt x="4112" y="2166"/>
                </a:lnTo>
                <a:lnTo>
                  <a:pt x="4015" y="2069"/>
                </a:lnTo>
                <a:lnTo>
                  <a:pt x="3966" y="2044"/>
                </a:lnTo>
                <a:lnTo>
                  <a:pt x="3918" y="2020"/>
                </a:lnTo>
                <a:close/>
                <a:moveTo>
                  <a:pt x="3601" y="4843"/>
                </a:moveTo>
                <a:lnTo>
                  <a:pt x="3577" y="4891"/>
                </a:lnTo>
                <a:lnTo>
                  <a:pt x="3577" y="4916"/>
                </a:lnTo>
                <a:lnTo>
                  <a:pt x="3577" y="4964"/>
                </a:lnTo>
                <a:lnTo>
                  <a:pt x="3601" y="5062"/>
                </a:lnTo>
                <a:lnTo>
                  <a:pt x="3674" y="5135"/>
                </a:lnTo>
                <a:lnTo>
                  <a:pt x="3747" y="5183"/>
                </a:lnTo>
                <a:lnTo>
                  <a:pt x="3845" y="5281"/>
                </a:lnTo>
                <a:lnTo>
                  <a:pt x="3966" y="5354"/>
                </a:lnTo>
                <a:lnTo>
                  <a:pt x="4234" y="5500"/>
                </a:lnTo>
                <a:lnTo>
                  <a:pt x="4404" y="5500"/>
                </a:lnTo>
                <a:lnTo>
                  <a:pt x="4477" y="5451"/>
                </a:lnTo>
                <a:lnTo>
                  <a:pt x="4502" y="5402"/>
                </a:lnTo>
                <a:lnTo>
                  <a:pt x="4526" y="5329"/>
                </a:lnTo>
                <a:lnTo>
                  <a:pt x="4502" y="5256"/>
                </a:lnTo>
                <a:lnTo>
                  <a:pt x="4477" y="5183"/>
                </a:lnTo>
                <a:lnTo>
                  <a:pt x="4380" y="5135"/>
                </a:lnTo>
                <a:lnTo>
                  <a:pt x="4137" y="5013"/>
                </a:lnTo>
                <a:lnTo>
                  <a:pt x="3918" y="4891"/>
                </a:lnTo>
                <a:lnTo>
                  <a:pt x="3820" y="4867"/>
                </a:lnTo>
                <a:lnTo>
                  <a:pt x="3747" y="4843"/>
                </a:lnTo>
                <a:close/>
                <a:moveTo>
                  <a:pt x="17106" y="4891"/>
                </a:moveTo>
                <a:lnTo>
                  <a:pt x="16960" y="4940"/>
                </a:lnTo>
                <a:lnTo>
                  <a:pt x="16814" y="5037"/>
                </a:lnTo>
                <a:lnTo>
                  <a:pt x="16668" y="5159"/>
                </a:lnTo>
                <a:lnTo>
                  <a:pt x="16498" y="5305"/>
                </a:lnTo>
                <a:lnTo>
                  <a:pt x="16473" y="5354"/>
                </a:lnTo>
                <a:lnTo>
                  <a:pt x="16473" y="5402"/>
                </a:lnTo>
                <a:lnTo>
                  <a:pt x="16473" y="5451"/>
                </a:lnTo>
                <a:lnTo>
                  <a:pt x="16498" y="5500"/>
                </a:lnTo>
                <a:lnTo>
                  <a:pt x="16546" y="5524"/>
                </a:lnTo>
                <a:lnTo>
                  <a:pt x="16571" y="5548"/>
                </a:lnTo>
                <a:lnTo>
                  <a:pt x="16644" y="5548"/>
                </a:lnTo>
                <a:lnTo>
                  <a:pt x="16692" y="5524"/>
                </a:lnTo>
                <a:lnTo>
                  <a:pt x="16838" y="5402"/>
                </a:lnTo>
                <a:lnTo>
                  <a:pt x="17009" y="5256"/>
                </a:lnTo>
                <a:lnTo>
                  <a:pt x="17106" y="5135"/>
                </a:lnTo>
                <a:lnTo>
                  <a:pt x="17179" y="4964"/>
                </a:lnTo>
                <a:lnTo>
                  <a:pt x="17179" y="4940"/>
                </a:lnTo>
                <a:lnTo>
                  <a:pt x="17155" y="4916"/>
                </a:lnTo>
                <a:lnTo>
                  <a:pt x="17130" y="4891"/>
                </a:lnTo>
                <a:close/>
                <a:moveTo>
                  <a:pt x="19539" y="5500"/>
                </a:moveTo>
                <a:lnTo>
                  <a:pt x="19442" y="5524"/>
                </a:lnTo>
                <a:lnTo>
                  <a:pt x="19320" y="5548"/>
                </a:lnTo>
                <a:lnTo>
                  <a:pt x="19101" y="5646"/>
                </a:lnTo>
                <a:lnTo>
                  <a:pt x="18688" y="5865"/>
                </a:lnTo>
                <a:lnTo>
                  <a:pt x="18006" y="6157"/>
                </a:lnTo>
                <a:lnTo>
                  <a:pt x="17349" y="6497"/>
                </a:lnTo>
                <a:lnTo>
                  <a:pt x="17276" y="6546"/>
                </a:lnTo>
                <a:lnTo>
                  <a:pt x="17252" y="6619"/>
                </a:lnTo>
                <a:lnTo>
                  <a:pt x="17252" y="6692"/>
                </a:lnTo>
                <a:lnTo>
                  <a:pt x="17276" y="6765"/>
                </a:lnTo>
                <a:lnTo>
                  <a:pt x="17301" y="6814"/>
                </a:lnTo>
                <a:lnTo>
                  <a:pt x="17374" y="6862"/>
                </a:lnTo>
                <a:lnTo>
                  <a:pt x="17422" y="6887"/>
                </a:lnTo>
                <a:lnTo>
                  <a:pt x="17520" y="6887"/>
                </a:lnTo>
                <a:lnTo>
                  <a:pt x="18201" y="6595"/>
                </a:lnTo>
                <a:lnTo>
                  <a:pt x="18858" y="6303"/>
                </a:lnTo>
                <a:lnTo>
                  <a:pt x="19345" y="6132"/>
                </a:lnTo>
                <a:lnTo>
                  <a:pt x="19466" y="6084"/>
                </a:lnTo>
                <a:lnTo>
                  <a:pt x="19588" y="6011"/>
                </a:lnTo>
                <a:lnTo>
                  <a:pt x="19685" y="5938"/>
                </a:lnTo>
                <a:lnTo>
                  <a:pt x="19734" y="5865"/>
                </a:lnTo>
                <a:lnTo>
                  <a:pt x="19758" y="5792"/>
                </a:lnTo>
                <a:lnTo>
                  <a:pt x="19782" y="5743"/>
                </a:lnTo>
                <a:lnTo>
                  <a:pt x="19734" y="5621"/>
                </a:lnTo>
                <a:lnTo>
                  <a:pt x="19709" y="5573"/>
                </a:lnTo>
                <a:lnTo>
                  <a:pt x="19661" y="5548"/>
                </a:lnTo>
                <a:lnTo>
                  <a:pt x="19612" y="5524"/>
                </a:lnTo>
                <a:lnTo>
                  <a:pt x="19539" y="5500"/>
                </a:lnTo>
                <a:close/>
                <a:moveTo>
                  <a:pt x="998" y="5694"/>
                </a:moveTo>
                <a:lnTo>
                  <a:pt x="949" y="5719"/>
                </a:lnTo>
                <a:lnTo>
                  <a:pt x="925" y="5767"/>
                </a:lnTo>
                <a:lnTo>
                  <a:pt x="901" y="5865"/>
                </a:lnTo>
                <a:lnTo>
                  <a:pt x="925" y="5938"/>
                </a:lnTo>
                <a:lnTo>
                  <a:pt x="949" y="6011"/>
                </a:lnTo>
                <a:lnTo>
                  <a:pt x="1022" y="6084"/>
                </a:lnTo>
                <a:lnTo>
                  <a:pt x="1193" y="6230"/>
                </a:lnTo>
                <a:lnTo>
                  <a:pt x="1412" y="6327"/>
                </a:lnTo>
                <a:lnTo>
                  <a:pt x="1874" y="6522"/>
                </a:lnTo>
                <a:lnTo>
                  <a:pt x="2093" y="6595"/>
                </a:lnTo>
                <a:lnTo>
                  <a:pt x="2239" y="6643"/>
                </a:lnTo>
                <a:lnTo>
                  <a:pt x="2677" y="6887"/>
                </a:lnTo>
                <a:lnTo>
                  <a:pt x="3139" y="7130"/>
                </a:lnTo>
                <a:lnTo>
                  <a:pt x="3383" y="7276"/>
                </a:lnTo>
                <a:lnTo>
                  <a:pt x="3504" y="7325"/>
                </a:lnTo>
                <a:lnTo>
                  <a:pt x="3577" y="7325"/>
                </a:lnTo>
                <a:lnTo>
                  <a:pt x="3650" y="7300"/>
                </a:lnTo>
                <a:lnTo>
                  <a:pt x="3699" y="7252"/>
                </a:lnTo>
                <a:lnTo>
                  <a:pt x="3723" y="7203"/>
                </a:lnTo>
                <a:lnTo>
                  <a:pt x="3747" y="7130"/>
                </a:lnTo>
                <a:lnTo>
                  <a:pt x="3723" y="7057"/>
                </a:lnTo>
                <a:lnTo>
                  <a:pt x="3650" y="6935"/>
                </a:lnTo>
                <a:lnTo>
                  <a:pt x="3529" y="6814"/>
                </a:lnTo>
                <a:lnTo>
                  <a:pt x="3383" y="6692"/>
                </a:lnTo>
                <a:lnTo>
                  <a:pt x="3212" y="6595"/>
                </a:lnTo>
                <a:lnTo>
                  <a:pt x="2847" y="6424"/>
                </a:lnTo>
                <a:lnTo>
                  <a:pt x="2531" y="6278"/>
                </a:lnTo>
                <a:lnTo>
                  <a:pt x="2166" y="6108"/>
                </a:lnTo>
                <a:lnTo>
                  <a:pt x="1777" y="5962"/>
                </a:lnTo>
                <a:lnTo>
                  <a:pt x="1022" y="5694"/>
                </a:lnTo>
                <a:close/>
                <a:moveTo>
                  <a:pt x="18396" y="8274"/>
                </a:moveTo>
                <a:lnTo>
                  <a:pt x="18128" y="8298"/>
                </a:lnTo>
                <a:lnTo>
                  <a:pt x="17982" y="8322"/>
                </a:lnTo>
                <a:lnTo>
                  <a:pt x="17885" y="8371"/>
                </a:lnTo>
                <a:lnTo>
                  <a:pt x="17812" y="8420"/>
                </a:lnTo>
                <a:lnTo>
                  <a:pt x="17787" y="8468"/>
                </a:lnTo>
                <a:lnTo>
                  <a:pt x="17787" y="8541"/>
                </a:lnTo>
                <a:lnTo>
                  <a:pt x="17787" y="8590"/>
                </a:lnTo>
                <a:lnTo>
                  <a:pt x="17812" y="8663"/>
                </a:lnTo>
                <a:lnTo>
                  <a:pt x="17860" y="8712"/>
                </a:lnTo>
                <a:lnTo>
                  <a:pt x="17909" y="8736"/>
                </a:lnTo>
                <a:lnTo>
                  <a:pt x="17982" y="8736"/>
                </a:lnTo>
                <a:lnTo>
                  <a:pt x="18201" y="8712"/>
                </a:lnTo>
                <a:lnTo>
                  <a:pt x="18517" y="8663"/>
                </a:lnTo>
                <a:lnTo>
                  <a:pt x="18663" y="8590"/>
                </a:lnTo>
                <a:lnTo>
                  <a:pt x="18785" y="8541"/>
                </a:lnTo>
                <a:lnTo>
                  <a:pt x="18858" y="8468"/>
                </a:lnTo>
                <a:lnTo>
                  <a:pt x="18858" y="8420"/>
                </a:lnTo>
                <a:lnTo>
                  <a:pt x="18858" y="8395"/>
                </a:lnTo>
                <a:lnTo>
                  <a:pt x="18809" y="8347"/>
                </a:lnTo>
                <a:lnTo>
                  <a:pt x="18761" y="8322"/>
                </a:lnTo>
                <a:lnTo>
                  <a:pt x="18639" y="8274"/>
                </a:lnTo>
                <a:close/>
                <a:moveTo>
                  <a:pt x="2020" y="8201"/>
                </a:moveTo>
                <a:lnTo>
                  <a:pt x="1947" y="8225"/>
                </a:lnTo>
                <a:lnTo>
                  <a:pt x="1898" y="8249"/>
                </a:lnTo>
                <a:lnTo>
                  <a:pt x="1874" y="8274"/>
                </a:lnTo>
                <a:lnTo>
                  <a:pt x="1850" y="8322"/>
                </a:lnTo>
                <a:lnTo>
                  <a:pt x="1850" y="8395"/>
                </a:lnTo>
                <a:lnTo>
                  <a:pt x="1850" y="8444"/>
                </a:lnTo>
                <a:lnTo>
                  <a:pt x="1874" y="8493"/>
                </a:lnTo>
                <a:lnTo>
                  <a:pt x="1923" y="8517"/>
                </a:lnTo>
                <a:lnTo>
                  <a:pt x="2093" y="8614"/>
                </a:lnTo>
                <a:lnTo>
                  <a:pt x="2288" y="8687"/>
                </a:lnTo>
                <a:lnTo>
                  <a:pt x="2482" y="8736"/>
                </a:lnTo>
                <a:lnTo>
                  <a:pt x="2701" y="8760"/>
                </a:lnTo>
                <a:lnTo>
                  <a:pt x="2774" y="8760"/>
                </a:lnTo>
                <a:lnTo>
                  <a:pt x="2823" y="8712"/>
                </a:lnTo>
                <a:lnTo>
                  <a:pt x="2872" y="8663"/>
                </a:lnTo>
                <a:lnTo>
                  <a:pt x="2896" y="8590"/>
                </a:lnTo>
                <a:lnTo>
                  <a:pt x="2896" y="8517"/>
                </a:lnTo>
                <a:lnTo>
                  <a:pt x="2872" y="8444"/>
                </a:lnTo>
                <a:lnTo>
                  <a:pt x="2823" y="8395"/>
                </a:lnTo>
                <a:lnTo>
                  <a:pt x="2750" y="8347"/>
                </a:lnTo>
                <a:lnTo>
                  <a:pt x="2385" y="8274"/>
                </a:lnTo>
                <a:lnTo>
                  <a:pt x="2190" y="8225"/>
                </a:lnTo>
                <a:lnTo>
                  <a:pt x="2020" y="8201"/>
                </a:lnTo>
                <a:close/>
                <a:moveTo>
                  <a:pt x="18517" y="9904"/>
                </a:moveTo>
                <a:lnTo>
                  <a:pt x="18323" y="9928"/>
                </a:lnTo>
                <a:lnTo>
                  <a:pt x="18177" y="9952"/>
                </a:lnTo>
                <a:lnTo>
                  <a:pt x="18031" y="10050"/>
                </a:lnTo>
                <a:lnTo>
                  <a:pt x="18006" y="10074"/>
                </a:lnTo>
                <a:lnTo>
                  <a:pt x="18006" y="10123"/>
                </a:lnTo>
                <a:lnTo>
                  <a:pt x="18128" y="10220"/>
                </a:lnTo>
                <a:lnTo>
                  <a:pt x="18274" y="10293"/>
                </a:lnTo>
                <a:lnTo>
                  <a:pt x="18420" y="10317"/>
                </a:lnTo>
                <a:lnTo>
                  <a:pt x="18590" y="10342"/>
                </a:lnTo>
                <a:lnTo>
                  <a:pt x="18931" y="10366"/>
                </a:lnTo>
                <a:lnTo>
                  <a:pt x="19247" y="10366"/>
                </a:lnTo>
                <a:lnTo>
                  <a:pt x="19661" y="10390"/>
                </a:lnTo>
                <a:lnTo>
                  <a:pt x="20074" y="10415"/>
                </a:lnTo>
                <a:lnTo>
                  <a:pt x="20293" y="10415"/>
                </a:lnTo>
                <a:lnTo>
                  <a:pt x="20512" y="10390"/>
                </a:lnTo>
                <a:lnTo>
                  <a:pt x="20707" y="10366"/>
                </a:lnTo>
                <a:lnTo>
                  <a:pt x="20902" y="10293"/>
                </a:lnTo>
                <a:lnTo>
                  <a:pt x="20950" y="10269"/>
                </a:lnTo>
                <a:lnTo>
                  <a:pt x="20975" y="10220"/>
                </a:lnTo>
                <a:lnTo>
                  <a:pt x="20975" y="10123"/>
                </a:lnTo>
                <a:lnTo>
                  <a:pt x="20926" y="10050"/>
                </a:lnTo>
                <a:lnTo>
                  <a:pt x="20853" y="10001"/>
                </a:lnTo>
                <a:lnTo>
                  <a:pt x="20707" y="9952"/>
                </a:lnTo>
                <a:lnTo>
                  <a:pt x="20512" y="9904"/>
                </a:lnTo>
                <a:lnTo>
                  <a:pt x="20147" y="9904"/>
                </a:lnTo>
                <a:lnTo>
                  <a:pt x="19782" y="9928"/>
                </a:lnTo>
                <a:lnTo>
                  <a:pt x="19418" y="9952"/>
                </a:lnTo>
                <a:lnTo>
                  <a:pt x="19077" y="9928"/>
                </a:lnTo>
                <a:lnTo>
                  <a:pt x="18688" y="9904"/>
                </a:lnTo>
                <a:close/>
                <a:moveTo>
                  <a:pt x="365" y="10123"/>
                </a:moveTo>
                <a:lnTo>
                  <a:pt x="219" y="10147"/>
                </a:lnTo>
                <a:lnTo>
                  <a:pt x="98" y="10171"/>
                </a:lnTo>
                <a:lnTo>
                  <a:pt x="25" y="10220"/>
                </a:lnTo>
                <a:lnTo>
                  <a:pt x="0" y="10269"/>
                </a:lnTo>
                <a:lnTo>
                  <a:pt x="0" y="10317"/>
                </a:lnTo>
                <a:lnTo>
                  <a:pt x="25" y="10366"/>
                </a:lnTo>
                <a:lnTo>
                  <a:pt x="49" y="10415"/>
                </a:lnTo>
                <a:lnTo>
                  <a:pt x="146" y="10512"/>
                </a:lnTo>
                <a:lnTo>
                  <a:pt x="268" y="10561"/>
                </a:lnTo>
                <a:lnTo>
                  <a:pt x="414" y="10585"/>
                </a:lnTo>
                <a:lnTo>
                  <a:pt x="730" y="10609"/>
                </a:lnTo>
                <a:lnTo>
                  <a:pt x="974" y="10609"/>
                </a:lnTo>
                <a:lnTo>
                  <a:pt x="1923" y="10634"/>
                </a:lnTo>
                <a:lnTo>
                  <a:pt x="2847" y="10634"/>
                </a:lnTo>
                <a:lnTo>
                  <a:pt x="2945" y="10609"/>
                </a:lnTo>
                <a:lnTo>
                  <a:pt x="3018" y="10561"/>
                </a:lnTo>
                <a:lnTo>
                  <a:pt x="3066" y="10488"/>
                </a:lnTo>
                <a:lnTo>
                  <a:pt x="3066" y="10390"/>
                </a:lnTo>
                <a:lnTo>
                  <a:pt x="3066" y="10317"/>
                </a:lnTo>
                <a:lnTo>
                  <a:pt x="3018" y="10244"/>
                </a:lnTo>
                <a:lnTo>
                  <a:pt x="2945" y="10196"/>
                </a:lnTo>
                <a:lnTo>
                  <a:pt x="2847" y="10171"/>
                </a:lnTo>
                <a:lnTo>
                  <a:pt x="1850" y="10171"/>
                </a:lnTo>
                <a:lnTo>
                  <a:pt x="852" y="10147"/>
                </a:lnTo>
                <a:lnTo>
                  <a:pt x="657" y="10123"/>
                </a:lnTo>
                <a:close/>
                <a:moveTo>
                  <a:pt x="2677" y="11777"/>
                </a:moveTo>
                <a:lnTo>
                  <a:pt x="2409" y="11826"/>
                </a:lnTo>
                <a:lnTo>
                  <a:pt x="2288" y="11875"/>
                </a:lnTo>
                <a:lnTo>
                  <a:pt x="2166" y="11923"/>
                </a:lnTo>
                <a:lnTo>
                  <a:pt x="2069" y="11996"/>
                </a:lnTo>
                <a:lnTo>
                  <a:pt x="2020" y="12094"/>
                </a:lnTo>
                <a:lnTo>
                  <a:pt x="2020" y="12167"/>
                </a:lnTo>
                <a:lnTo>
                  <a:pt x="2069" y="12215"/>
                </a:lnTo>
                <a:lnTo>
                  <a:pt x="2190" y="12240"/>
                </a:lnTo>
                <a:lnTo>
                  <a:pt x="2312" y="12240"/>
                </a:lnTo>
                <a:lnTo>
                  <a:pt x="2580" y="12191"/>
                </a:lnTo>
                <a:lnTo>
                  <a:pt x="2872" y="12191"/>
                </a:lnTo>
                <a:lnTo>
                  <a:pt x="2993" y="12167"/>
                </a:lnTo>
                <a:lnTo>
                  <a:pt x="3066" y="12142"/>
                </a:lnTo>
                <a:lnTo>
                  <a:pt x="3115" y="12069"/>
                </a:lnTo>
                <a:lnTo>
                  <a:pt x="3139" y="12045"/>
                </a:lnTo>
                <a:lnTo>
                  <a:pt x="3139" y="11996"/>
                </a:lnTo>
                <a:lnTo>
                  <a:pt x="3115" y="11923"/>
                </a:lnTo>
                <a:lnTo>
                  <a:pt x="3091" y="11875"/>
                </a:lnTo>
                <a:lnTo>
                  <a:pt x="3066" y="11850"/>
                </a:lnTo>
                <a:lnTo>
                  <a:pt x="3018" y="11802"/>
                </a:lnTo>
                <a:lnTo>
                  <a:pt x="2920" y="11777"/>
                </a:lnTo>
                <a:close/>
                <a:moveTo>
                  <a:pt x="18006" y="11923"/>
                </a:moveTo>
                <a:lnTo>
                  <a:pt x="17860" y="11948"/>
                </a:lnTo>
                <a:lnTo>
                  <a:pt x="17812" y="11972"/>
                </a:lnTo>
                <a:lnTo>
                  <a:pt x="17763" y="11996"/>
                </a:lnTo>
                <a:lnTo>
                  <a:pt x="17763" y="12045"/>
                </a:lnTo>
                <a:lnTo>
                  <a:pt x="17763" y="12094"/>
                </a:lnTo>
                <a:lnTo>
                  <a:pt x="17787" y="12118"/>
                </a:lnTo>
                <a:lnTo>
                  <a:pt x="17860" y="12167"/>
                </a:lnTo>
                <a:lnTo>
                  <a:pt x="17933" y="12215"/>
                </a:lnTo>
                <a:lnTo>
                  <a:pt x="18006" y="12240"/>
                </a:lnTo>
                <a:lnTo>
                  <a:pt x="18152" y="12264"/>
                </a:lnTo>
                <a:lnTo>
                  <a:pt x="18444" y="12337"/>
                </a:lnTo>
                <a:lnTo>
                  <a:pt x="18761" y="12386"/>
                </a:lnTo>
                <a:lnTo>
                  <a:pt x="18834" y="12386"/>
                </a:lnTo>
                <a:lnTo>
                  <a:pt x="18882" y="12337"/>
                </a:lnTo>
                <a:lnTo>
                  <a:pt x="18931" y="12288"/>
                </a:lnTo>
                <a:lnTo>
                  <a:pt x="18955" y="12215"/>
                </a:lnTo>
                <a:lnTo>
                  <a:pt x="18931" y="12142"/>
                </a:lnTo>
                <a:lnTo>
                  <a:pt x="18931" y="12069"/>
                </a:lnTo>
                <a:lnTo>
                  <a:pt x="18882" y="12021"/>
                </a:lnTo>
                <a:lnTo>
                  <a:pt x="18809" y="11996"/>
                </a:lnTo>
                <a:lnTo>
                  <a:pt x="18566" y="11948"/>
                </a:lnTo>
                <a:lnTo>
                  <a:pt x="18201" y="11923"/>
                </a:lnTo>
                <a:close/>
                <a:moveTo>
                  <a:pt x="3358" y="13359"/>
                </a:moveTo>
                <a:lnTo>
                  <a:pt x="3261" y="13383"/>
                </a:lnTo>
                <a:lnTo>
                  <a:pt x="2434" y="13870"/>
                </a:lnTo>
                <a:lnTo>
                  <a:pt x="1582" y="14357"/>
                </a:lnTo>
                <a:lnTo>
                  <a:pt x="1241" y="14503"/>
                </a:lnTo>
                <a:lnTo>
                  <a:pt x="1095" y="14576"/>
                </a:lnTo>
                <a:lnTo>
                  <a:pt x="949" y="14697"/>
                </a:lnTo>
                <a:lnTo>
                  <a:pt x="925" y="14770"/>
                </a:lnTo>
                <a:lnTo>
                  <a:pt x="925" y="14843"/>
                </a:lnTo>
                <a:lnTo>
                  <a:pt x="949" y="14892"/>
                </a:lnTo>
                <a:lnTo>
                  <a:pt x="1022" y="14941"/>
                </a:lnTo>
                <a:lnTo>
                  <a:pt x="1120" y="14965"/>
                </a:lnTo>
                <a:lnTo>
                  <a:pt x="1217" y="14965"/>
                </a:lnTo>
                <a:lnTo>
                  <a:pt x="1412" y="14916"/>
                </a:lnTo>
                <a:lnTo>
                  <a:pt x="1606" y="14843"/>
                </a:lnTo>
                <a:lnTo>
                  <a:pt x="1801" y="14746"/>
                </a:lnTo>
                <a:lnTo>
                  <a:pt x="2239" y="14551"/>
                </a:lnTo>
                <a:lnTo>
                  <a:pt x="2677" y="14308"/>
                </a:lnTo>
                <a:lnTo>
                  <a:pt x="3504" y="13797"/>
                </a:lnTo>
                <a:lnTo>
                  <a:pt x="3577" y="13724"/>
                </a:lnTo>
                <a:lnTo>
                  <a:pt x="3626" y="13651"/>
                </a:lnTo>
                <a:lnTo>
                  <a:pt x="3626" y="13554"/>
                </a:lnTo>
                <a:lnTo>
                  <a:pt x="3577" y="13481"/>
                </a:lnTo>
                <a:lnTo>
                  <a:pt x="3529" y="13408"/>
                </a:lnTo>
                <a:lnTo>
                  <a:pt x="3456" y="13359"/>
                </a:lnTo>
                <a:close/>
                <a:moveTo>
                  <a:pt x="17325" y="13383"/>
                </a:moveTo>
                <a:lnTo>
                  <a:pt x="17179" y="13408"/>
                </a:lnTo>
                <a:lnTo>
                  <a:pt x="17130" y="13408"/>
                </a:lnTo>
                <a:lnTo>
                  <a:pt x="17130" y="13432"/>
                </a:lnTo>
                <a:lnTo>
                  <a:pt x="17130" y="13505"/>
                </a:lnTo>
                <a:lnTo>
                  <a:pt x="17252" y="13627"/>
                </a:lnTo>
                <a:lnTo>
                  <a:pt x="17398" y="13748"/>
                </a:lnTo>
                <a:lnTo>
                  <a:pt x="17690" y="13943"/>
                </a:lnTo>
                <a:lnTo>
                  <a:pt x="18006" y="14113"/>
                </a:lnTo>
                <a:lnTo>
                  <a:pt x="18323" y="14284"/>
                </a:lnTo>
                <a:lnTo>
                  <a:pt x="18907" y="14649"/>
                </a:lnTo>
                <a:lnTo>
                  <a:pt x="19199" y="14819"/>
                </a:lnTo>
                <a:lnTo>
                  <a:pt x="19515" y="14941"/>
                </a:lnTo>
                <a:lnTo>
                  <a:pt x="19612" y="14965"/>
                </a:lnTo>
                <a:lnTo>
                  <a:pt x="19709" y="14941"/>
                </a:lnTo>
                <a:lnTo>
                  <a:pt x="19758" y="14868"/>
                </a:lnTo>
                <a:lnTo>
                  <a:pt x="19807" y="14795"/>
                </a:lnTo>
                <a:lnTo>
                  <a:pt x="19807" y="14697"/>
                </a:lnTo>
                <a:lnTo>
                  <a:pt x="19782" y="14600"/>
                </a:lnTo>
                <a:lnTo>
                  <a:pt x="19734" y="14527"/>
                </a:lnTo>
                <a:lnTo>
                  <a:pt x="19636" y="14454"/>
                </a:lnTo>
                <a:lnTo>
                  <a:pt x="19272" y="14308"/>
                </a:lnTo>
                <a:lnTo>
                  <a:pt x="18931" y="14113"/>
                </a:lnTo>
                <a:lnTo>
                  <a:pt x="18590" y="13919"/>
                </a:lnTo>
                <a:lnTo>
                  <a:pt x="18250" y="13724"/>
                </a:lnTo>
                <a:lnTo>
                  <a:pt x="17982" y="13602"/>
                </a:lnTo>
                <a:lnTo>
                  <a:pt x="17739" y="13481"/>
                </a:lnTo>
                <a:lnTo>
                  <a:pt x="17593" y="13432"/>
                </a:lnTo>
                <a:lnTo>
                  <a:pt x="17447" y="13408"/>
                </a:lnTo>
                <a:lnTo>
                  <a:pt x="17325" y="13383"/>
                </a:lnTo>
                <a:close/>
                <a:moveTo>
                  <a:pt x="4234" y="14892"/>
                </a:moveTo>
                <a:lnTo>
                  <a:pt x="4161" y="14916"/>
                </a:lnTo>
                <a:lnTo>
                  <a:pt x="4088" y="14941"/>
                </a:lnTo>
                <a:lnTo>
                  <a:pt x="3942" y="15087"/>
                </a:lnTo>
                <a:lnTo>
                  <a:pt x="3820" y="15257"/>
                </a:lnTo>
                <a:lnTo>
                  <a:pt x="3723" y="15330"/>
                </a:lnTo>
                <a:lnTo>
                  <a:pt x="3650" y="15379"/>
                </a:lnTo>
                <a:lnTo>
                  <a:pt x="3650" y="15403"/>
                </a:lnTo>
                <a:lnTo>
                  <a:pt x="3601" y="15427"/>
                </a:lnTo>
                <a:lnTo>
                  <a:pt x="3577" y="15476"/>
                </a:lnTo>
                <a:lnTo>
                  <a:pt x="3553" y="15525"/>
                </a:lnTo>
                <a:lnTo>
                  <a:pt x="3553" y="15573"/>
                </a:lnTo>
                <a:lnTo>
                  <a:pt x="3577" y="15646"/>
                </a:lnTo>
                <a:lnTo>
                  <a:pt x="3626" y="15695"/>
                </a:lnTo>
                <a:lnTo>
                  <a:pt x="3699" y="15744"/>
                </a:lnTo>
                <a:lnTo>
                  <a:pt x="3772" y="15744"/>
                </a:lnTo>
                <a:lnTo>
                  <a:pt x="3845" y="15719"/>
                </a:lnTo>
                <a:lnTo>
                  <a:pt x="3991" y="15646"/>
                </a:lnTo>
                <a:lnTo>
                  <a:pt x="4088" y="15549"/>
                </a:lnTo>
                <a:lnTo>
                  <a:pt x="4258" y="15403"/>
                </a:lnTo>
                <a:lnTo>
                  <a:pt x="4429" y="15208"/>
                </a:lnTo>
                <a:lnTo>
                  <a:pt x="4453" y="15135"/>
                </a:lnTo>
                <a:lnTo>
                  <a:pt x="4453" y="15087"/>
                </a:lnTo>
                <a:lnTo>
                  <a:pt x="4429" y="15014"/>
                </a:lnTo>
                <a:lnTo>
                  <a:pt x="4380" y="14941"/>
                </a:lnTo>
                <a:lnTo>
                  <a:pt x="4307" y="14892"/>
                </a:lnTo>
                <a:close/>
                <a:moveTo>
                  <a:pt x="16376" y="14843"/>
                </a:moveTo>
                <a:lnTo>
                  <a:pt x="16303" y="14892"/>
                </a:lnTo>
                <a:lnTo>
                  <a:pt x="16279" y="14965"/>
                </a:lnTo>
                <a:lnTo>
                  <a:pt x="16303" y="15038"/>
                </a:lnTo>
                <a:lnTo>
                  <a:pt x="16400" y="15233"/>
                </a:lnTo>
                <a:lnTo>
                  <a:pt x="16522" y="15403"/>
                </a:lnTo>
                <a:lnTo>
                  <a:pt x="16668" y="15598"/>
                </a:lnTo>
                <a:lnTo>
                  <a:pt x="16765" y="15671"/>
                </a:lnTo>
                <a:lnTo>
                  <a:pt x="16863" y="15744"/>
                </a:lnTo>
                <a:lnTo>
                  <a:pt x="16936" y="15768"/>
                </a:lnTo>
                <a:lnTo>
                  <a:pt x="17009" y="15768"/>
                </a:lnTo>
                <a:lnTo>
                  <a:pt x="17082" y="15719"/>
                </a:lnTo>
                <a:lnTo>
                  <a:pt x="17130" y="15671"/>
                </a:lnTo>
                <a:lnTo>
                  <a:pt x="17155" y="15598"/>
                </a:lnTo>
                <a:lnTo>
                  <a:pt x="17155" y="15525"/>
                </a:lnTo>
                <a:lnTo>
                  <a:pt x="17130" y="15476"/>
                </a:lnTo>
                <a:lnTo>
                  <a:pt x="17057" y="15403"/>
                </a:lnTo>
                <a:lnTo>
                  <a:pt x="16911" y="15281"/>
                </a:lnTo>
                <a:lnTo>
                  <a:pt x="16790" y="15135"/>
                </a:lnTo>
                <a:lnTo>
                  <a:pt x="16644" y="14965"/>
                </a:lnTo>
                <a:lnTo>
                  <a:pt x="16546" y="14892"/>
                </a:lnTo>
                <a:lnTo>
                  <a:pt x="16449" y="14843"/>
                </a:lnTo>
                <a:close/>
                <a:moveTo>
                  <a:pt x="11169" y="3577"/>
                </a:moveTo>
                <a:lnTo>
                  <a:pt x="11582" y="3650"/>
                </a:lnTo>
                <a:lnTo>
                  <a:pt x="11996" y="3748"/>
                </a:lnTo>
                <a:lnTo>
                  <a:pt x="12410" y="3894"/>
                </a:lnTo>
                <a:lnTo>
                  <a:pt x="12799" y="4064"/>
                </a:lnTo>
                <a:lnTo>
                  <a:pt x="13188" y="4259"/>
                </a:lnTo>
                <a:lnTo>
                  <a:pt x="13578" y="4453"/>
                </a:lnTo>
                <a:lnTo>
                  <a:pt x="13943" y="4672"/>
                </a:lnTo>
                <a:lnTo>
                  <a:pt x="14235" y="4891"/>
                </a:lnTo>
                <a:lnTo>
                  <a:pt x="14502" y="5110"/>
                </a:lnTo>
                <a:lnTo>
                  <a:pt x="14770" y="5329"/>
                </a:lnTo>
                <a:lnTo>
                  <a:pt x="15038" y="5573"/>
                </a:lnTo>
                <a:lnTo>
                  <a:pt x="14989" y="5621"/>
                </a:lnTo>
                <a:lnTo>
                  <a:pt x="14916" y="5694"/>
                </a:lnTo>
                <a:lnTo>
                  <a:pt x="14916" y="5767"/>
                </a:lnTo>
                <a:lnTo>
                  <a:pt x="14892" y="5792"/>
                </a:lnTo>
                <a:lnTo>
                  <a:pt x="14892" y="5840"/>
                </a:lnTo>
                <a:lnTo>
                  <a:pt x="14940" y="5840"/>
                </a:lnTo>
                <a:lnTo>
                  <a:pt x="14989" y="5865"/>
                </a:lnTo>
                <a:lnTo>
                  <a:pt x="15086" y="5865"/>
                </a:lnTo>
                <a:lnTo>
                  <a:pt x="15159" y="5816"/>
                </a:lnTo>
                <a:lnTo>
                  <a:pt x="15232" y="5767"/>
                </a:lnTo>
                <a:lnTo>
                  <a:pt x="15354" y="5913"/>
                </a:lnTo>
                <a:lnTo>
                  <a:pt x="15257" y="5986"/>
                </a:lnTo>
                <a:lnTo>
                  <a:pt x="15208" y="6059"/>
                </a:lnTo>
                <a:lnTo>
                  <a:pt x="15159" y="6132"/>
                </a:lnTo>
                <a:lnTo>
                  <a:pt x="15184" y="6205"/>
                </a:lnTo>
                <a:lnTo>
                  <a:pt x="15208" y="6254"/>
                </a:lnTo>
                <a:lnTo>
                  <a:pt x="15330" y="6254"/>
                </a:lnTo>
                <a:lnTo>
                  <a:pt x="15427" y="6181"/>
                </a:lnTo>
                <a:lnTo>
                  <a:pt x="15524" y="6132"/>
                </a:lnTo>
                <a:lnTo>
                  <a:pt x="15719" y="6376"/>
                </a:lnTo>
                <a:lnTo>
                  <a:pt x="15695" y="6424"/>
                </a:lnTo>
                <a:lnTo>
                  <a:pt x="15573" y="6546"/>
                </a:lnTo>
                <a:lnTo>
                  <a:pt x="15549" y="6619"/>
                </a:lnTo>
                <a:lnTo>
                  <a:pt x="15524" y="6716"/>
                </a:lnTo>
                <a:lnTo>
                  <a:pt x="15549" y="6765"/>
                </a:lnTo>
                <a:lnTo>
                  <a:pt x="15597" y="6789"/>
                </a:lnTo>
                <a:lnTo>
                  <a:pt x="15768" y="6789"/>
                </a:lnTo>
                <a:lnTo>
                  <a:pt x="15865" y="6741"/>
                </a:lnTo>
                <a:lnTo>
                  <a:pt x="15914" y="6692"/>
                </a:lnTo>
                <a:lnTo>
                  <a:pt x="16060" y="6911"/>
                </a:lnTo>
                <a:lnTo>
                  <a:pt x="15962" y="7008"/>
                </a:lnTo>
                <a:lnTo>
                  <a:pt x="15889" y="7081"/>
                </a:lnTo>
                <a:lnTo>
                  <a:pt x="15841" y="7130"/>
                </a:lnTo>
                <a:lnTo>
                  <a:pt x="15841" y="7203"/>
                </a:lnTo>
                <a:lnTo>
                  <a:pt x="15865" y="7300"/>
                </a:lnTo>
                <a:lnTo>
                  <a:pt x="15914" y="7325"/>
                </a:lnTo>
                <a:lnTo>
                  <a:pt x="15962" y="7349"/>
                </a:lnTo>
                <a:lnTo>
                  <a:pt x="16060" y="7325"/>
                </a:lnTo>
                <a:lnTo>
                  <a:pt x="16157" y="7300"/>
                </a:lnTo>
                <a:lnTo>
                  <a:pt x="16254" y="7227"/>
                </a:lnTo>
                <a:lnTo>
                  <a:pt x="16400" y="7495"/>
                </a:lnTo>
                <a:lnTo>
                  <a:pt x="16327" y="7519"/>
                </a:lnTo>
                <a:lnTo>
                  <a:pt x="16254" y="7544"/>
                </a:lnTo>
                <a:lnTo>
                  <a:pt x="16157" y="7617"/>
                </a:lnTo>
                <a:lnTo>
                  <a:pt x="16060" y="7714"/>
                </a:lnTo>
                <a:lnTo>
                  <a:pt x="15987" y="7811"/>
                </a:lnTo>
                <a:lnTo>
                  <a:pt x="15938" y="7909"/>
                </a:lnTo>
                <a:lnTo>
                  <a:pt x="15938" y="7982"/>
                </a:lnTo>
                <a:lnTo>
                  <a:pt x="15962" y="8030"/>
                </a:lnTo>
                <a:lnTo>
                  <a:pt x="15987" y="8079"/>
                </a:lnTo>
                <a:lnTo>
                  <a:pt x="16060" y="8103"/>
                </a:lnTo>
                <a:lnTo>
                  <a:pt x="16108" y="8079"/>
                </a:lnTo>
                <a:lnTo>
                  <a:pt x="16181" y="8030"/>
                </a:lnTo>
                <a:lnTo>
                  <a:pt x="16303" y="7933"/>
                </a:lnTo>
                <a:lnTo>
                  <a:pt x="16449" y="7836"/>
                </a:lnTo>
                <a:lnTo>
                  <a:pt x="16522" y="7763"/>
                </a:lnTo>
                <a:lnTo>
                  <a:pt x="16692" y="8176"/>
                </a:lnTo>
                <a:lnTo>
                  <a:pt x="16619" y="8201"/>
                </a:lnTo>
                <a:lnTo>
                  <a:pt x="16571" y="8225"/>
                </a:lnTo>
                <a:lnTo>
                  <a:pt x="16473" y="8347"/>
                </a:lnTo>
                <a:lnTo>
                  <a:pt x="16254" y="8541"/>
                </a:lnTo>
                <a:lnTo>
                  <a:pt x="16181" y="8614"/>
                </a:lnTo>
                <a:lnTo>
                  <a:pt x="16108" y="8712"/>
                </a:lnTo>
                <a:lnTo>
                  <a:pt x="16084" y="8760"/>
                </a:lnTo>
                <a:lnTo>
                  <a:pt x="16060" y="8809"/>
                </a:lnTo>
                <a:lnTo>
                  <a:pt x="16060" y="8858"/>
                </a:lnTo>
                <a:lnTo>
                  <a:pt x="16108" y="8906"/>
                </a:lnTo>
                <a:lnTo>
                  <a:pt x="16157" y="8930"/>
                </a:lnTo>
                <a:lnTo>
                  <a:pt x="16206" y="8930"/>
                </a:lnTo>
                <a:lnTo>
                  <a:pt x="16327" y="8882"/>
                </a:lnTo>
                <a:lnTo>
                  <a:pt x="16425" y="8809"/>
                </a:lnTo>
                <a:lnTo>
                  <a:pt x="16522" y="8736"/>
                </a:lnTo>
                <a:lnTo>
                  <a:pt x="16668" y="8614"/>
                </a:lnTo>
                <a:lnTo>
                  <a:pt x="16790" y="8468"/>
                </a:lnTo>
                <a:lnTo>
                  <a:pt x="16887" y="8882"/>
                </a:lnTo>
                <a:lnTo>
                  <a:pt x="16790" y="8930"/>
                </a:lnTo>
                <a:lnTo>
                  <a:pt x="16692" y="8979"/>
                </a:lnTo>
                <a:lnTo>
                  <a:pt x="16498" y="9125"/>
                </a:lnTo>
                <a:lnTo>
                  <a:pt x="16230" y="9271"/>
                </a:lnTo>
                <a:lnTo>
                  <a:pt x="16108" y="9368"/>
                </a:lnTo>
                <a:lnTo>
                  <a:pt x="16011" y="9441"/>
                </a:lnTo>
                <a:lnTo>
                  <a:pt x="16011" y="9490"/>
                </a:lnTo>
                <a:lnTo>
                  <a:pt x="16035" y="9514"/>
                </a:lnTo>
                <a:lnTo>
                  <a:pt x="16181" y="9539"/>
                </a:lnTo>
                <a:lnTo>
                  <a:pt x="16327" y="9514"/>
                </a:lnTo>
                <a:lnTo>
                  <a:pt x="16619" y="9441"/>
                </a:lnTo>
                <a:lnTo>
                  <a:pt x="16790" y="9368"/>
                </a:lnTo>
                <a:lnTo>
                  <a:pt x="16960" y="9271"/>
                </a:lnTo>
                <a:lnTo>
                  <a:pt x="17009" y="9660"/>
                </a:lnTo>
                <a:lnTo>
                  <a:pt x="16522" y="9855"/>
                </a:lnTo>
                <a:lnTo>
                  <a:pt x="16254" y="9977"/>
                </a:lnTo>
                <a:lnTo>
                  <a:pt x="16108" y="10050"/>
                </a:lnTo>
                <a:lnTo>
                  <a:pt x="15987" y="10123"/>
                </a:lnTo>
                <a:lnTo>
                  <a:pt x="15962" y="10171"/>
                </a:lnTo>
                <a:lnTo>
                  <a:pt x="15962" y="10196"/>
                </a:lnTo>
                <a:lnTo>
                  <a:pt x="15987" y="10220"/>
                </a:lnTo>
                <a:lnTo>
                  <a:pt x="16011" y="10244"/>
                </a:lnTo>
                <a:lnTo>
                  <a:pt x="16279" y="10269"/>
                </a:lnTo>
                <a:lnTo>
                  <a:pt x="16522" y="10220"/>
                </a:lnTo>
                <a:lnTo>
                  <a:pt x="16765" y="10147"/>
                </a:lnTo>
                <a:lnTo>
                  <a:pt x="17033" y="10074"/>
                </a:lnTo>
                <a:lnTo>
                  <a:pt x="17009" y="10585"/>
                </a:lnTo>
                <a:lnTo>
                  <a:pt x="16765" y="10585"/>
                </a:lnTo>
                <a:lnTo>
                  <a:pt x="16546" y="10634"/>
                </a:lnTo>
                <a:lnTo>
                  <a:pt x="16108" y="10707"/>
                </a:lnTo>
                <a:lnTo>
                  <a:pt x="15914" y="10780"/>
                </a:lnTo>
                <a:lnTo>
                  <a:pt x="15719" y="10853"/>
                </a:lnTo>
                <a:lnTo>
                  <a:pt x="15695" y="10877"/>
                </a:lnTo>
                <a:lnTo>
                  <a:pt x="15719" y="10901"/>
                </a:lnTo>
                <a:lnTo>
                  <a:pt x="15889" y="10950"/>
                </a:lnTo>
                <a:lnTo>
                  <a:pt x="16060" y="10974"/>
                </a:lnTo>
                <a:lnTo>
                  <a:pt x="16425" y="10950"/>
                </a:lnTo>
                <a:lnTo>
                  <a:pt x="16814" y="10926"/>
                </a:lnTo>
                <a:lnTo>
                  <a:pt x="16984" y="10926"/>
                </a:lnTo>
                <a:lnTo>
                  <a:pt x="16887" y="11412"/>
                </a:lnTo>
                <a:lnTo>
                  <a:pt x="16765" y="11412"/>
                </a:lnTo>
                <a:lnTo>
                  <a:pt x="16619" y="11437"/>
                </a:lnTo>
                <a:lnTo>
                  <a:pt x="16352" y="11485"/>
                </a:lnTo>
                <a:lnTo>
                  <a:pt x="16035" y="11558"/>
                </a:lnTo>
                <a:lnTo>
                  <a:pt x="15889" y="11583"/>
                </a:lnTo>
                <a:lnTo>
                  <a:pt x="15719" y="11607"/>
                </a:lnTo>
                <a:lnTo>
                  <a:pt x="15695" y="11607"/>
                </a:lnTo>
                <a:lnTo>
                  <a:pt x="15670" y="11631"/>
                </a:lnTo>
                <a:lnTo>
                  <a:pt x="15670" y="11656"/>
                </a:lnTo>
                <a:lnTo>
                  <a:pt x="15695" y="11680"/>
                </a:lnTo>
                <a:lnTo>
                  <a:pt x="15962" y="11777"/>
                </a:lnTo>
                <a:lnTo>
                  <a:pt x="16108" y="11826"/>
                </a:lnTo>
                <a:lnTo>
                  <a:pt x="16254" y="11850"/>
                </a:lnTo>
                <a:lnTo>
                  <a:pt x="16522" y="11826"/>
                </a:lnTo>
                <a:lnTo>
                  <a:pt x="16814" y="11802"/>
                </a:lnTo>
                <a:lnTo>
                  <a:pt x="16668" y="12264"/>
                </a:lnTo>
                <a:lnTo>
                  <a:pt x="16498" y="12215"/>
                </a:lnTo>
                <a:lnTo>
                  <a:pt x="16303" y="12191"/>
                </a:lnTo>
                <a:lnTo>
                  <a:pt x="16108" y="12142"/>
                </a:lnTo>
                <a:lnTo>
                  <a:pt x="15914" y="12094"/>
                </a:lnTo>
                <a:lnTo>
                  <a:pt x="15695" y="12094"/>
                </a:lnTo>
                <a:lnTo>
                  <a:pt x="15476" y="12118"/>
                </a:lnTo>
                <a:lnTo>
                  <a:pt x="15451" y="12142"/>
                </a:lnTo>
                <a:lnTo>
                  <a:pt x="15451" y="12167"/>
                </a:lnTo>
                <a:lnTo>
                  <a:pt x="15476" y="12191"/>
                </a:lnTo>
                <a:lnTo>
                  <a:pt x="15646" y="12288"/>
                </a:lnTo>
                <a:lnTo>
                  <a:pt x="15816" y="12386"/>
                </a:lnTo>
                <a:lnTo>
                  <a:pt x="16230" y="12532"/>
                </a:lnTo>
                <a:lnTo>
                  <a:pt x="16546" y="12629"/>
                </a:lnTo>
                <a:lnTo>
                  <a:pt x="16376" y="13018"/>
                </a:lnTo>
                <a:lnTo>
                  <a:pt x="16060" y="12970"/>
                </a:lnTo>
                <a:lnTo>
                  <a:pt x="15743" y="12872"/>
                </a:lnTo>
                <a:lnTo>
                  <a:pt x="15573" y="12824"/>
                </a:lnTo>
                <a:lnTo>
                  <a:pt x="15476" y="12824"/>
                </a:lnTo>
                <a:lnTo>
                  <a:pt x="15451" y="12848"/>
                </a:lnTo>
                <a:lnTo>
                  <a:pt x="15427" y="12897"/>
                </a:lnTo>
                <a:lnTo>
                  <a:pt x="15427" y="12945"/>
                </a:lnTo>
                <a:lnTo>
                  <a:pt x="15451" y="12994"/>
                </a:lnTo>
                <a:lnTo>
                  <a:pt x="15524" y="13091"/>
                </a:lnTo>
                <a:lnTo>
                  <a:pt x="15743" y="13237"/>
                </a:lnTo>
                <a:lnTo>
                  <a:pt x="15938" y="13335"/>
                </a:lnTo>
                <a:lnTo>
                  <a:pt x="16181" y="13408"/>
                </a:lnTo>
                <a:lnTo>
                  <a:pt x="15914" y="13821"/>
                </a:lnTo>
                <a:lnTo>
                  <a:pt x="15865" y="13894"/>
                </a:lnTo>
                <a:lnTo>
                  <a:pt x="15841" y="13870"/>
                </a:lnTo>
                <a:lnTo>
                  <a:pt x="15719" y="13797"/>
                </a:lnTo>
                <a:lnTo>
                  <a:pt x="15597" y="13700"/>
                </a:lnTo>
                <a:lnTo>
                  <a:pt x="15330" y="13578"/>
                </a:lnTo>
                <a:lnTo>
                  <a:pt x="15013" y="13505"/>
                </a:lnTo>
                <a:lnTo>
                  <a:pt x="14721" y="13505"/>
                </a:lnTo>
                <a:lnTo>
                  <a:pt x="14697" y="13529"/>
                </a:lnTo>
                <a:lnTo>
                  <a:pt x="14673" y="13578"/>
                </a:lnTo>
                <a:lnTo>
                  <a:pt x="14697" y="13602"/>
                </a:lnTo>
                <a:lnTo>
                  <a:pt x="14794" y="13651"/>
                </a:lnTo>
                <a:lnTo>
                  <a:pt x="14892" y="13724"/>
                </a:lnTo>
                <a:lnTo>
                  <a:pt x="15111" y="13821"/>
                </a:lnTo>
                <a:lnTo>
                  <a:pt x="15378" y="13967"/>
                </a:lnTo>
                <a:lnTo>
                  <a:pt x="15622" y="14138"/>
                </a:lnTo>
                <a:lnTo>
                  <a:pt x="15670" y="14162"/>
                </a:lnTo>
                <a:lnTo>
                  <a:pt x="15451" y="14405"/>
                </a:lnTo>
                <a:lnTo>
                  <a:pt x="15330" y="14357"/>
                </a:lnTo>
                <a:lnTo>
                  <a:pt x="15208" y="14332"/>
                </a:lnTo>
                <a:lnTo>
                  <a:pt x="15086" y="14332"/>
                </a:lnTo>
                <a:lnTo>
                  <a:pt x="14989" y="14308"/>
                </a:lnTo>
                <a:lnTo>
                  <a:pt x="14794" y="14259"/>
                </a:lnTo>
                <a:lnTo>
                  <a:pt x="14624" y="14186"/>
                </a:lnTo>
                <a:lnTo>
                  <a:pt x="14454" y="14089"/>
                </a:lnTo>
                <a:lnTo>
                  <a:pt x="14308" y="14016"/>
                </a:lnTo>
                <a:lnTo>
                  <a:pt x="14137" y="14016"/>
                </a:lnTo>
                <a:lnTo>
                  <a:pt x="14089" y="14040"/>
                </a:lnTo>
                <a:lnTo>
                  <a:pt x="14064" y="14089"/>
                </a:lnTo>
                <a:lnTo>
                  <a:pt x="14089" y="14162"/>
                </a:lnTo>
                <a:lnTo>
                  <a:pt x="14162" y="14259"/>
                </a:lnTo>
                <a:lnTo>
                  <a:pt x="14308" y="14405"/>
                </a:lnTo>
                <a:lnTo>
                  <a:pt x="14478" y="14527"/>
                </a:lnTo>
                <a:lnTo>
                  <a:pt x="14648" y="14600"/>
                </a:lnTo>
                <a:lnTo>
                  <a:pt x="14843" y="14697"/>
                </a:lnTo>
                <a:lnTo>
                  <a:pt x="14965" y="14746"/>
                </a:lnTo>
                <a:lnTo>
                  <a:pt x="15086" y="14770"/>
                </a:lnTo>
                <a:lnTo>
                  <a:pt x="14819" y="14989"/>
                </a:lnTo>
                <a:lnTo>
                  <a:pt x="14527" y="15208"/>
                </a:lnTo>
                <a:lnTo>
                  <a:pt x="14454" y="15208"/>
                </a:lnTo>
                <a:lnTo>
                  <a:pt x="14332" y="15184"/>
                </a:lnTo>
                <a:lnTo>
                  <a:pt x="14235" y="15111"/>
                </a:lnTo>
                <a:lnTo>
                  <a:pt x="14064" y="14965"/>
                </a:lnTo>
                <a:lnTo>
                  <a:pt x="13918" y="14843"/>
                </a:lnTo>
                <a:lnTo>
                  <a:pt x="13748" y="14722"/>
                </a:lnTo>
                <a:lnTo>
                  <a:pt x="13651" y="14673"/>
                </a:lnTo>
                <a:lnTo>
                  <a:pt x="13578" y="14624"/>
                </a:lnTo>
                <a:lnTo>
                  <a:pt x="13383" y="14624"/>
                </a:lnTo>
                <a:lnTo>
                  <a:pt x="13359" y="14649"/>
                </a:lnTo>
                <a:lnTo>
                  <a:pt x="13359" y="14697"/>
                </a:lnTo>
                <a:lnTo>
                  <a:pt x="13456" y="14868"/>
                </a:lnTo>
                <a:lnTo>
                  <a:pt x="13602" y="15014"/>
                </a:lnTo>
                <a:lnTo>
                  <a:pt x="13894" y="15306"/>
                </a:lnTo>
                <a:lnTo>
                  <a:pt x="13991" y="15403"/>
                </a:lnTo>
                <a:lnTo>
                  <a:pt x="14113" y="15476"/>
                </a:lnTo>
                <a:lnTo>
                  <a:pt x="13748" y="15671"/>
                </a:lnTo>
                <a:lnTo>
                  <a:pt x="13553" y="15598"/>
                </a:lnTo>
                <a:lnTo>
                  <a:pt x="13456" y="15549"/>
                </a:lnTo>
                <a:lnTo>
                  <a:pt x="13359" y="15476"/>
                </a:lnTo>
                <a:lnTo>
                  <a:pt x="13164" y="15306"/>
                </a:lnTo>
                <a:lnTo>
                  <a:pt x="12872" y="15062"/>
                </a:lnTo>
                <a:lnTo>
                  <a:pt x="12726" y="14941"/>
                </a:lnTo>
                <a:lnTo>
                  <a:pt x="12556" y="14843"/>
                </a:lnTo>
                <a:lnTo>
                  <a:pt x="12507" y="14868"/>
                </a:lnTo>
                <a:lnTo>
                  <a:pt x="12483" y="14916"/>
                </a:lnTo>
                <a:lnTo>
                  <a:pt x="12580" y="15135"/>
                </a:lnTo>
                <a:lnTo>
                  <a:pt x="12726" y="15330"/>
                </a:lnTo>
                <a:lnTo>
                  <a:pt x="12896" y="15525"/>
                </a:lnTo>
                <a:lnTo>
                  <a:pt x="13067" y="15695"/>
                </a:lnTo>
                <a:lnTo>
                  <a:pt x="13310" y="15865"/>
                </a:lnTo>
                <a:lnTo>
                  <a:pt x="12702" y="16084"/>
                </a:lnTo>
                <a:lnTo>
                  <a:pt x="12239" y="15719"/>
                </a:lnTo>
                <a:lnTo>
                  <a:pt x="11972" y="15476"/>
                </a:lnTo>
                <a:lnTo>
                  <a:pt x="11826" y="15354"/>
                </a:lnTo>
                <a:lnTo>
                  <a:pt x="11655" y="15257"/>
                </a:lnTo>
                <a:lnTo>
                  <a:pt x="11631" y="15257"/>
                </a:lnTo>
                <a:lnTo>
                  <a:pt x="11607" y="15281"/>
                </a:lnTo>
                <a:lnTo>
                  <a:pt x="11607" y="15354"/>
                </a:lnTo>
                <a:lnTo>
                  <a:pt x="11631" y="15427"/>
                </a:lnTo>
                <a:lnTo>
                  <a:pt x="11704" y="15573"/>
                </a:lnTo>
                <a:lnTo>
                  <a:pt x="11801" y="15719"/>
                </a:lnTo>
                <a:lnTo>
                  <a:pt x="11899" y="15841"/>
                </a:lnTo>
                <a:lnTo>
                  <a:pt x="12093" y="16036"/>
                </a:lnTo>
                <a:lnTo>
                  <a:pt x="12312" y="16206"/>
                </a:lnTo>
                <a:lnTo>
                  <a:pt x="11826" y="16303"/>
                </a:lnTo>
                <a:lnTo>
                  <a:pt x="11801" y="16303"/>
                </a:lnTo>
                <a:lnTo>
                  <a:pt x="11558" y="16036"/>
                </a:lnTo>
                <a:lnTo>
                  <a:pt x="11291" y="15768"/>
                </a:lnTo>
                <a:lnTo>
                  <a:pt x="11169" y="15671"/>
                </a:lnTo>
                <a:lnTo>
                  <a:pt x="11047" y="15573"/>
                </a:lnTo>
                <a:lnTo>
                  <a:pt x="10901" y="15500"/>
                </a:lnTo>
                <a:lnTo>
                  <a:pt x="10828" y="15476"/>
                </a:lnTo>
                <a:lnTo>
                  <a:pt x="10731" y="15476"/>
                </a:lnTo>
                <a:lnTo>
                  <a:pt x="10731" y="15500"/>
                </a:lnTo>
                <a:lnTo>
                  <a:pt x="10780" y="15646"/>
                </a:lnTo>
                <a:lnTo>
                  <a:pt x="10853" y="15768"/>
                </a:lnTo>
                <a:lnTo>
                  <a:pt x="11072" y="15987"/>
                </a:lnTo>
                <a:lnTo>
                  <a:pt x="11437" y="16376"/>
                </a:lnTo>
                <a:lnTo>
                  <a:pt x="11072" y="16425"/>
                </a:lnTo>
                <a:lnTo>
                  <a:pt x="10682" y="16474"/>
                </a:lnTo>
                <a:lnTo>
                  <a:pt x="10682" y="16401"/>
                </a:lnTo>
                <a:lnTo>
                  <a:pt x="10634" y="16328"/>
                </a:lnTo>
                <a:lnTo>
                  <a:pt x="10463" y="16133"/>
                </a:lnTo>
                <a:lnTo>
                  <a:pt x="10269" y="15938"/>
                </a:lnTo>
                <a:lnTo>
                  <a:pt x="10050" y="15768"/>
                </a:lnTo>
                <a:lnTo>
                  <a:pt x="9831" y="15598"/>
                </a:lnTo>
                <a:lnTo>
                  <a:pt x="9806" y="15598"/>
                </a:lnTo>
                <a:lnTo>
                  <a:pt x="9782" y="15622"/>
                </a:lnTo>
                <a:lnTo>
                  <a:pt x="9806" y="15744"/>
                </a:lnTo>
                <a:lnTo>
                  <a:pt x="9855" y="15865"/>
                </a:lnTo>
                <a:lnTo>
                  <a:pt x="9904" y="15987"/>
                </a:lnTo>
                <a:lnTo>
                  <a:pt x="9977" y="16084"/>
                </a:lnTo>
                <a:lnTo>
                  <a:pt x="10123" y="16303"/>
                </a:lnTo>
                <a:lnTo>
                  <a:pt x="10317" y="16474"/>
                </a:lnTo>
                <a:lnTo>
                  <a:pt x="9685" y="16474"/>
                </a:lnTo>
                <a:lnTo>
                  <a:pt x="9612" y="16352"/>
                </a:lnTo>
                <a:lnTo>
                  <a:pt x="9563" y="16255"/>
                </a:lnTo>
                <a:lnTo>
                  <a:pt x="9393" y="16060"/>
                </a:lnTo>
                <a:lnTo>
                  <a:pt x="9222" y="15817"/>
                </a:lnTo>
                <a:lnTo>
                  <a:pt x="9125" y="15695"/>
                </a:lnTo>
                <a:lnTo>
                  <a:pt x="9028" y="15598"/>
                </a:lnTo>
                <a:lnTo>
                  <a:pt x="8979" y="15598"/>
                </a:lnTo>
                <a:lnTo>
                  <a:pt x="8955" y="15622"/>
                </a:lnTo>
                <a:lnTo>
                  <a:pt x="8955" y="15744"/>
                </a:lnTo>
                <a:lnTo>
                  <a:pt x="8979" y="15865"/>
                </a:lnTo>
                <a:lnTo>
                  <a:pt x="9003" y="15987"/>
                </a:lnTo>
                <a:lnTo>
                  <a:pt x="9052" y="16109"/>
                </a:lnTo>
                <a:lnTo>
                  <a:pt x="9247" y="16449"/>
                </a:lnTo>
                <a:lnTo>
                  <a:pt x="9247" y="16449"/>
                </a:lnTo>
                <a:lnTo>
                  <a:pt x="8687" y="16376"/>
                </a:lnTo>
                <a:lnTo>
                  <a:pt x="8614" y="16376"/>
                </a:lnTo>
                <a:lnTo>
                  <a:pt x="8590" y="16328"/>
                </a:lnTo>
                <a:lnTo>
                  <a:pt x="8492" y="16230"/>
                </a:lnTo>
                <a:lnTo>
                  <a:pt x="8419" y="16109"/>
                </a:lnTo>
                <a:lnTo>
                  <a:pt x="8346" y="15841"/>
                </a:lnTo>
                <a:lnTo>
                  <a:pt x="8273" y="15646"/>
                </a:lnTo>
                <a:lnTo>
                  <a:pt x="8200" y="15573"/>
                </a:lnTo>
                <a:lnTo>
                  <a:pt x="8152" y="15549"/>
                </a:lnTo>
                <a:lnTo>
                  <a:pt x="8103" y="15549"/>
                </a:lnTo>
                <a:lnTo>
                  <a:pt x="8079" y="15598"/>
                </a:lnTo>
                <a:lnTo>
                  <a:pt x="8054" y="15646"/>
                </a:lnTo>
                <a:lnTo>
                  <a:pt x="8054" y="15792"/>
                </a:lnTo>
                <a:lnTo>
                  <a:pt x="8079" y="15938"/>
                </a:lnTo>
                <a:lnTo>
                  <a:pt x="8103" y="16060"/>
                </a:lnTo>
                <a:lnTo>
                  <a:pt x="8176" y="16279"/>
                </a:lnTo>
                <a:lnTo>
                  <a:pt x="7762" y="16157"/>
                </a:lnTo>
                <a:lnTo>
                  <a:pt x="7714" y="16084"/>
                </a:lnTo>
                <a:lnTo>
                  <a:pt x="7665" y="15963"/>
                </a:lnTo>
                <a:lnTo>
                  <a:pt x="7592" y="15817"/>
                </a:lnTo>
                <a:lnTo>
                  <a:pt x="7543" y="15695"/>
                </a:lnTo>
                <a:lnTo>
                  <a:pt x="7519" y="15549"/>
                </a:lnTo>
                <a:lnTo>
                  <a:pt x="7495" y="15549"/>
                </a:lnTo>
                <a:lnTo>
                  <a:pt x="7470" y="15671"/>
                </a:lnTo>
                <a:lnTo>
                  <a:pt x="7446" y="15792"/>
                </a:lnTo>
                <a:lnTo>
                  <a:pt x="7446" y="15938"/>
                </a:lnTo>
                <a:lnTo>
                  <a:pt x="7470" y="16060"/>
                </a:lnTo>
                <a:lnTo>
                  <a:pt x="6984" y="15841"/>
                </a:lnTo>
                <a:lnTo>
                  <a:pt x="6984" y="15792"/>
                </a:lnTo>
                <a:lnTo>
                  <a:pt x="6911" y="15646"/>
                </a:lnTo>
                <a:lnTo>
                  <a:pt x="6813" y="15549"/>
                </a:lnTo>
                <a:lnTo>
                  <a:pt x="6789" y="15549"/>
                </a:lnTo>
                <a:lnTo>
                  <a:pt x="6740" y="15622"/>
                </a:lnTo>
                <a:lnTo>
                  <a:pt x="6716" y="15695"/>
                </a:lnTo>
                <a:lnTo>
                  <a:pt x="6375" y="15476"/>
                </a:lnTo>
                <a:lnTo>
                  <a:pt x="6035" y="15233"/>
                </a:lnTo>
                <a:lnTo>
                  <a:pt x="5718" y="14965"/>
                </a:lnTo>
                <a:lnTo>
                  <a:pt x="5451" y="14649"/>
                </a:lnTo>
                <a:lnTo>
                  <a:pt x="5159" y="14284"/>
                </a:lnTo>
                <a:lnTo>
                  <a:pt x="4915" y="13894"/>
                </a:lnTo>
                <a:lnTo>
                  <a:pt x="4696" y="13505"/>
                </a:lnTo>
                <a:lnTo>
                  <a:pt x="4502" y="13091"/>
                </a:lnTo>
                <a:lnTo>
                  <a:pt x="4356" y="12653"/>
                </a:lnTo>
                <a:lnTo>
                  <a:pt x="4234" y="12215"/>
                </a:lnTo>
                <a:lnTo>
                  <a:pt x="4112" y="11777"/>
                </a:lnTo>
                <a:lnTo>
                  <a:pt x="4064" y="11315"/>
                </a:lnTo>
                <a:lnTo>
                  <a:pt x="4015" y="10926"/>
                </a:lnTo>
                <a:lnTo>
                  <a:pt x="3991" y="10561"/>
                </a:lnTo>
                <a:lnTo>
                  <a:pt x="4015" y="10171"/>
                </a:lnTo>
                <a:lnTo>
                  <a:pt x="4039" y="9782"/>
                </a:lnTo>
                <a:lnTo>
                  <a:pt x="4088" y="9393"/>
                </a:lnTo>
                <a:lnTo>
                  <a:pt x="4137" y="9028"/>
                </a:lnTo>
                <a:lnTo>
                  <a:pt x="4234" y="8663"/>
                </a:lnTo>
                <a:lnTo>
                  <a:pt x="4331" y="8274"/>
                </a:lnTo>
                <a:lnTo>
                  <a:pt x="4453" y="7909"/>
                </a:lnTo>
                <a:lnTo>
                  <a:pt x="4599" y="7568"/>
                </a:lnTo>
                <a:lnTo>
                  <a:pt x="4769" y="7227"/>
                </a:lnTo>
                <a:lnTo>
                  <a:pt x="4940" y="6887"/>
                </a:lnTo>
                <a:lnTo>
                  <a:pt x="5134" y="6546"/>
                </a:lnTo>
                <a:lnTo>
                  <a:pt x="5353" y="6230"/>
                </a:lnTo>
                <a:lnTo>
                  <a:pt x="5597" y="5913"/>
                </a:lnTo>
                <a:lnTo>
                  <a:pt x="5840" y="5621"/>
                </a:lnTo>
                <a:lnTo>
                  <a:pt x="6083" y="5354"/>
                </a:lnTo>
                <a:lnTo>
                  <a:pt x="6351" y="5110"/>
                </a:lnTo>
                <a:lnTo>
                  <a:pt x="6643" y="4891"/>
                </a:lnTo>
                <a:lnTo>
                  <a:pt x="6935" y="4721"/>
                </a:lnTo>
                <a:lnTo>
                  <a:pt x="7227" y="4526"/>
                </a:lnTo>
                <a:lnTo>
                  <a:pt x="7543" y="4380"/>
                </a:lnTo>
                <a:lnTo>
                  <a:pt x="8225" y="4088"/>
                </a:lnTo>
                <a:lnTo>
                  <a:pt x="8784" y="3845"/>
                </a:lnTo>
                <a:lnTo>
                  <a:pt x="9368" y="3675"/>
                </a:lnTo>
                <a:lnTo>
                  <a:pt x="9636" y="3602"/>
                </a:lnTo>
                <a:lnTo>
                  <a:pt x="9660" y="3650"/>
                </a:lnTo>
                <a:lnTo>
                  <a:pt x="9685" y="3699"/>
                </a:lnTo>
                <a:lnTo>
                  <a:pt x="9733" y="3723"/>
                </a:lnTo>
                <a:lnTo>
                  <a:pt x="9806" y="3723"/>
                </a:lnTo>
                <a:lnTo>
                  <a:pt x="10171" y="3626"/>
                </a:lnTo>
                <a:lnTo>
                  <a:pt x="10536" y="3577"/>
                </a:lnTo>
                <a:lnTo>
                  <a:pt x="10585" y="3626"/>
                </a:lnTo>
                <a:lnTo>
                  <a:pt x="10634" y="3650"/>
                </a:lnTo>
                <a:lnTo>
                  <a:pt x="10682" y="3626"/>
                </a:lnTo>
                <a:lnTo>
                  <a:pt x="10707" y="3602"/>
                </a:lnTo>
                <a:lnTo>
                  <a:pt x="10731" y="3577"/>
                </a:lnTo>
                <a:close/>
                <a:moveTo>
                  <a:pt x="9977" y="3237"/>
                </a:moveTo>
                <a:lnTo>
                  <a:pt x="9733" y="3261"/>
                </a:lnTo>
                <a:lnTo>
                  <a:pt x="9490" y="3310"/>
                </a:lnTo>
                <a:lnTo>
                  <a:pt x="9028" y="3431"/>
                </a:lnTo>
                <a:lnTo>
                  <a:pt x="8638" y="3577"/>
                </a:lnTo>
                <a:lnTo>
                  <a:pt x="7957" y="3821"/>
                </a:lnTo>
                <a:lnTo>
                  <a:pt x="7324" y="4113"/>
                </a:lnTo>
                <a:lnTo>
                  <a:pt x="7008" y="4283"/>
                </a:lnTo>
                <a:lnTo>
                  <a:pt x="6692" y="4453"/>
                </a:lnTo>
                <a:lnTo>
                  <a:pt x="6400" y="4648"/>
                </a:lnTo>
                <a:lnTo>
                  <a:pt x="6108" y="4867"/>
                </a:lnTo>
                <a:lnTo>
                  <a:pt x="5791" y="5159"/>
                </a:lnTo>
                <a:lnTo>
                  <a:pt x="5499" y="5451"/>
                </a:lnTo>
                <a:lnTo>
                  <a:pt x="5232" y="5767"/>
                </a:lnTo>
                <a:lnTo>
                  <a:pt x="4988" y="6108"/>
                </a:lnTo>
                <a:lnTo>
                  <a:pt x="4745" y="6473"/>
                </a:lnTo>
                <a:lnTo>
                  <a:pt x="4526" y="6838"/>
                </a:lnTo>
                <a:lnTo>
                  <a:pt x="4356" y="7203"/>
                </a:lnTo>
                <a:lnTo>
                  <a:pt x="4185" y="7592"/>
                </a:lnTo>
                <a:lnTo>
                  <a:pt x="4039" y="8006"/>
                </a:lnTo>
                <a:lnTo>
                  <a:pt x="3918" y="8420"/>
                </a:lnTo>
                <a:lnTo>
                  <a:pt x="3796" y="8833"/>
                </a:lnTo>
                <a:lnTo>
                  <a:pt x="3723" y="9247"/>
                </a:lnTo>
                <a:lnTo>
                  <a:pt x="3674" y="9660"/>
                </a:lnTo>
                <a:lnTo>
                  <a:pt x="3626" y="10074"/>
                </a:lnTo>
                <a:lnTo>
                  <a:pt x="3626" y="10488"/>
                </a:lnTo>
                <a:lnTo>
                  <a:pt x="3626" y="10901"/>
                </a:lnTo>
                <a:lnTo>
                  <a:pt x="3650" y="11315"/>
                </a:lnTo>
                <a:lnTo>
                  <a:pt x="3699" y="11704"/>
                </a:lnTo>
                <a:lnTo>
                  <a:pt x="3772" y="12094"/>
                </a:lnTo>
                <a:lnTo>
                  <a:pt x="3869" y="12483"/>
                </a:lnTo>
                <a:lnTo>
                  <a:pt x="3991" y="12872"/>
                </a:lnTo>
                <a:lnTo>
                  <a:pt x="4137" y="13262"/>
                </a:lnTo>
                <a:lnTo>
                  <a:pt x="4307" y="13627"/>
                </a:lnTo>
                <a:lnTo>
                  <a:pt x="4477" y="13967"/>
                </a:lnTo>
                <a:lnTo>
                  <a:pt x="4696" y="14332"/>
                </a:lnTo>
                <a:lnTo>
                  <a:pt x="4915" y="14649"/>
                </a:lnTo>
                <a:lnTo>
                  <a:pt x="5183" y="14965"/>
                </a:lnTo>
                <a:lnTo>
                  <a:pt x="5451" y="15257"/>
                </a:lnTo>
                <a:lnTo>
                  <a:pt x="5743" y="15525"/>
                </a:lnTo>
                <a:lnTo>
                  <a:pt x="6035" y="15768"/>
                </a:lnTo>
                <a:lnTo>
                  <a:pt x="6375" y="15987"/>
                </a:lnTo>
                <a:lnTo>
                  <a:pt x="6716" y="16182"/>
                </a:lnTo>
                <a:lnTo>
                  <a:pt x="6765" y="16230"/>
                </a:lnTo>
                <a:lnTo>
                  <a:pt x="6838" y="16230"/>
                </a:lnTo>
                <a:lnTo>
                  <a:pt x="6862" y="16255"/>
                </a:lnTo>
                <a:lnTo>
                  <a:pt x="7276" y="16425"/>
                </a:lnTo>
                <a:lnTo>
                  <a:pt x="7738" y="16595"/>
                </a:lnTo>
                <a:lnTo>
                  <a:pt x="8176" y="16717"/>
                </a:lnTo>
                <a:lnTo>
                  <a:pt x="8638" y="16814"/>
                </a:lnTo>
                <a:lnTo>
                  <a:pt x="9101" y="16887"/>
                </a:lnTo>
                <a:lnTo>
                  <a:pt x="9563" y="16936"/>
                </a:lnTo>
                <a:lnTo>
                  <a:pt x="10025" y="16960"/>
                </a:lnTo>
                <a:lnTo>
                  <a:pt x="10488" y="16936"/>
                </a:lnTo>
                <a:lnTo>
                  <a:pt x="10974" y="16912"/>
                </a:lnTo>
                <a:lnTo>
                  <a:pt x="11437" y="16839"/>
                </a:lnTo>
                <a:lnTo>
                  <a:pt x="11899" y="16766"/>
                </a:lnTo>
                <a:lnTo>
                  <a:pt x="12337" y="16644"/>
                </a:lnTo>
                <a:lnTo>
                  <a:pt x="12799" y="16522"/>
                </a:lnTo>
                <a:lnTo>
                  <a:pt x="13237" y="16352"/>
                </a:lnTo>
                <a:lnTo>
                  <a:pt x="13675" y="16182"/>
                </a:lnTo>
                <a:lnTo>
                  <a:pt x="14089" y="15963"/>
                </a:lnTo>
                <a:lnTo>
                  <a:pt x="14575" y="15671"/>
                </a:lnTo>
                <a:lnTo>
                  <a:pt x="15038" y="15354"/>
                </a:lnTo>
                <a:lnTo>
                  <a:pt x="15451" y="15014"/>
                </a:lnTo>
                <a:lnTo>
                  <a:pt x="15816" y="14624"/>
                </a:lnTo>
                <a:lnTo>
                  <a:pt x="16157" y="14186"/>
                </a:lnTo>
                <a:lnTo>
                  <a:pt x="16473" y="13748"/>
                </a:lnTo>
                <a:lnTo>
                  <a:pt x="16741" y="13286"/>
                </a:lnTo>
                <a:lnTo>
                  <a:pt x="16960" y="12799"/>
                </a:lnTo>
                <a:lnTo>
                  <a:pt x="17155" y="12288"/>
                </a:lnTo>
                <a:lnTo>
                  <a:pt x="17301" y="11777"/>
                </a:lnTo>
                <a:lnTo>
                  <a:pt x="17398" y="11242"/>
                </a:lnTo>
                <a:lnTo>
                  <a:pt x="17447" y="10707"/>
                </a:lnTo>
                <a:lnTo>
                  <a:pt x="17471" y="10147"/>
                </a:lnTo>
                <a:lnTo>
                  <a:pt x="17447" y="9587"/>
                </a:lnTo>
                <a:lnTo>
                  <a:pt x="17374" y="9052"/>
                </a:lnTo>
                <a:lnTo>
                  <a:pt x="17276" y="8493"/>
                </a:lnTo>
                <a:lnTo>
                  <a:pt x="17106" y="7957"/>
                </a:lnTo>
                <a:lnTo>
                  <a:pt x="16887" y="7422"/>
                </a:lnTo>
                <a:lnTo>
                  <a:pt x="16619" y="6911"/>
                </a:lnTo>
                <a:lnTo>
                  <a:pt x="16327" y="6400"/>
                </a:lnTo>
                <a:lnTo>
                  <a:pt x="15987" y="5938"/>
                </a:lnTo>
                <a:lnTo>
                  <a:pt x="15597" y="5500"/>
                </a:lnTo>
                <a:lnTo>
                  <a:pt x="15184" y="5110"/>
                </a:lnTo>
                <a:lnTo>
                  <a:pt x="14746" y="4745"/>
                </a:lnTo>
                <a:lnTo>
                  <a:pt x="14502" y="4551"/>
                </a:lnTo>
                <a:lnTo>
                  <a:pt x="14235" y="4380"/>
                </a:lnTo>
                <a:lnTo>
                  <a:pt x="13651" y="4088"/>
                </a:lnTo>
                <a:lnTo>
                  <a:pt x="13067" y="3796"/>
                </a:lnTo>
                <a:lnTo>
                  <a:pt x="12483" y="3577"/>
                </a:lnTo>
                <a:lnTo>
                  <a:pt x="11996" y="3431"/>
                </a:lnTo>
                <a:lnTo>
                  <a:pt x="11461" y="3334"/>
                </a:lnTo>
                <a:lnTo>
                  <a:pt x="11218" y="3285"/>
                </a:lnTo>
                <a:lnTo>
                  <a:pt x="10415" y="3285"/>
                </a:lnTo>
                <a:lnTo>
                  <a:pt x="10196" y="3237"/>
                </a:lnTo>
                <a:close/>
                <a:moveTo>
                  <a:pt x="13675" y="16912"/>
                </a:moveTo>
                <a:lnTo>
                  <a:pt x="13626" y="16936"/>
                </a:lnTo>
                <a:lnTo>
                  <a:pt x="13578" y="16984"/>
                </a:lnTo>
                <a:lnTo>
                  <a:pt x="13553" y="17057"/>
                </a:lnTo>
                <a:lnTo>
                  <a:pt x="13553" y="17106"/>
                </a:lnTo>
                <a:lnTo>
                  <a:pt x="13578" y="17252"/>
                </a:lnTo>
                <a:lnTo>
                  <a:pt x="13724" y="17495"/>
                </a:lnTo>
                <a:lnTo>
                  <a:pt x="13772" y="17666"/>
                </a:lnTo>
                <a:lnTo>
                  <a:pt x="13870" y="17812"/>
                </a:lnTo>
                <a:lnTo>
                  <a:pt x="13943" y="17885"/>
                </a:lnTo>
                <a:lnTo>
                  <a:pt x="13991" y="17958"/>
                </a:lnTo>
                <a:lnTo>
                  <a:pt x="14089" y="17982"/>
                </a:lnTo>
                <a:lnTo>
                  <a:pt x="14162" y="18006"/>
                </a:lnTo>
                <a:lnTo>
                  <a:pt x="14210" y="17982"/>
                </a:lnTo>
                <a:lnTo>
                  <a:pt x="14259" y="17958"/>
                </a:lnTo>
                <a:lnTo>
                  <a:pt x="14332" y="17885"/>
                </a:lnTo>
                <a:lnTo>
                  <a:pt x="14356" y="17787"/>
                </a:lnTo>
                <a:lnTo>
                  <a:pt x="14356" y="17739"/>
                </a:lnTo>
                <a:lnTo>
                  <a:pt x="14332" y="17690"/>
                </a:lnTo>
                <a:lnTo>
                  <a:pt x="14259" y="17593"/>
                </a:lnTo>
                <a:lnTo>
                  <a:pt x="14162" y="17495"/>
                </a:lnTo>
                <a:lnTo>
                  <a:pt x="13991" y="17228"/>
                </a:lnTo>
                <a:lnTo>
                  <a:pt x="13918" y="17082"/>
                </a:lnTo>
                <a:lnTo>
                  <a:pt x="13870" y="17033"/>
                </a:lnTo>
                <a:lnTo>
                  <a:pt x="13821" y="16960"/>
                </a:lnTo>
                <a:lnTo>
                  <a:pt x="13748" y="16936"/>
                </a:lnTo>
                <a:lnTo>
                  <a:pt x="13675" y="16912"/>
                </a:lnTo>
                <a:close/>
                <a:moveTo>
                  <a:pt x="7008" y="17009"/>
                </a:moveTo>
                <a:lnTo>
                  <a:pt x="6911" y="17057"/>
                </a:lnTo>
                <a:lnTo>
                  <a:pt x="6813" y="17155"/>
                </a:lnTo>
                <a:lnTo>
                  <a:pt x="6716" y="17374"/>
                </a:lnTo>
                <a:lnTo>
                  <a:pt x="6570" y="17666"/>
                </a:lnTo>
                <a:lnTo>
                  <a:pt x="6521" y="17812"/>
                </a:lnTo>
                <a:lnTo>
                  <a:pt x="6497" y="17885"/>
                </a:lnTo>
                <a:lnTo>
                  <a:pt x="6521" y="17958"/>
                </a:lnTo>
                <a:lnTo>
                  <a:pt x="6546" y="18006"/>
                </a:lnTo>
                <a:lnTo>
                  <a:pt x="6594" y="18055"/>
                </a:lnTo>
                <a:lnTo>
                  <a:pt x="6667" y="18079"/>
                </a:lnTo>
                <a:lnTo>
                  <a:pt x="6740" y="18079"/>
                </a:lnTo>
                <a:lnTo>
                  <a:pt x="6789" y="18055"/>
                </a:lnTo>
                <a:lnTo>
                  <a:pt x="6862" y="18006"/>
                </a:lnTo>
                <a:lnTo>
                  <a:pt x="6935" y="17885"/>
                </a:lnTo>
                <a:lnTo>
                  <a:pt x="7008" y="17739"/>
                </a:lnTo>
                <a:lnTo>
                  <a:pt x="7057" y="17593"/>
                </a:lnTo>
                <a:lnTo>
                  <a:pt x="7154" y="17349"/>
                </a:lnTo>
                <a:lnTo>
                  <a:pt x="7178" y="17228"/>
                </a:lnTo>
                <a:lnTo>
                  <a:pt x="7178" y="17106"/>
                </a:lnTo>
                <a:lnTo>
                  <a:pt x="7154" y="17057"/>
                </a:lnTo>
                <a:lnTo>
                  <a:pt x="7105" y="17033"/>
                </a:lnTo>
                <a:lnTo>
                  <a:pt x="7057" y="17009"/>
                </a:lnTo>
                <a:close/>
                <a:moveTo>
                  <a:pt x="5694" y="16328"/>
                </a:moveTo>
                <a:lnTo>
                  <a:pt x="5597" y="16352"/>
                </a:lnTo>
                <a:lnTo>
                  <a:pt x="5524" y="16425"/>
                </a:lnTo>
                <a:lnTo>
                  <a:pt x="5159" y="16887"/>
                </a:lnTo>
                <a:lnTo>
                  <a:pt x="4745" y="17349"/>
                </a:lnTo>
                <a:lnTo>
                  <a:pt x="4307" y="17787"/>
                </a:lnTo>
                <a:lnTo>
                  <a:pt x="3869" y="18225"/>
                </a:lnTo>
                <a:lnTo>
                  <a:pt x="3820" y="18250"/>
                </a:lnTo>
                <a:lnTo>
                  <a:pt x="3820" y="18298"/>
                </a:lnTo>
                <a:lnTo>
                  <a:pt x="3820" y="18347"/>
                </a:lnTo>
                <a:lnTo>
                  <a:pt x="3845" y="18396"/>
                </a:lnTo>
                <a:lnTo>
                  <a:pt x="3893" y="18444"/>
                </a:lnTo>
                <a:lnTo>
                  <a:pt x="3942" y="18469"/>
                </a:lnTo>
                <a:lnTo>
                  <a:pt x="3991" y="18469"/>
                </a:lnTo>
                <a:lnTo>
                  <a:pt x="4161" y="18420"/>
                </a:lnTo>
                <a:lnTo>
                  <a:pt x="4283" y="18347"/>
                </a:lnTo>
                <a:lnTo>
                  <a:pt x="4429" y="18250"/>
                </a:lnTo>
                <a:lnTo>
                  <a:pt x="4550" y="18152"/>
                </a:lnTo>
                <a:lnTo>
                  <a:pt x="4794" y="17909"/>
                </a:lnTo>
                <a:lnTo>
                  <a:pt x="5013" y="17690"/>
                </a:lnTo>
                <a:lnTo>
                  <a:pt x="5499" y="17203"/>
                </a:lnTo>
                <a:lnTo>
                  <a:pt x="5718" y="16936"/>
                </a:lnTo>
                <a:lnTo>
                  <a:pt x="5937" y="16668"/>
                </a:lnTo>
                <a:lnTo>
                  <a:pt x="5986" y="16571"/>
                </a:lnTo>
                <a:lnTo>
                  <a:pt x="5962" y="16498"/>
                </a:lnTo>
                <a:lnTo>
                  <a:pt x="5937" y="16425"/>
                </a:lnTo>
                <a:lnTo>
                  <a:pt x="5864" y="16376"/>
                </a:lnTo>
                <a:lnTo>
                  <a:pt x="5791" y="16328"/>
                </a:lnTo>
                <a:close/>
                <a:moveTo>
                  <a:pt x="15013" y="15987"/>
                </a:moveTo>
                <a:lnTo>
                  <a:pt x="14965" y="16011"/>
                </a:lnTo>
                <a:lnTo>
                  <a:pt x="14940" y="16084"/>
                </a:lnTo>
                <a:lnTo>
                  <a:pt x="14940" y="16133"/>
                </a:lnTo>
                <a:lnTo>
                  <a:pt x="14989" y="16303"/>
                </a:lnTo>
                <a:lnTo>
                  <a:pt x="15038" y="16449"/>
                </a:lnTo>
                <a:lnTo>
                  <a:pt x="15208" y="16717"/>
                </a:lnTo>
                <a:lnTo>
                  <a:pt x="15427" y="17082"/>
                </a:lnTo>
                <a:lnTo>
                  <a:pt x="15524" y="17252"/>
                </a:lnTo>
                <a:lnTo>
                  <a:pt x="15646" y="17422"/>
                </a:lnTo>
                <a:lnTo>
                  <a:pt x="16108" y="17933"/>
                </a:lnTo>
                <a:lnTo>
                  <a:pt x="16327" y="18225"/>
                </a:lnTo>
                <a:lnTo>
                  <a:pt x="16400" y="18371"/>
                </a:lnTo>
                <a:lnTo>
                  <a:pt x="16473" y="18517"/>
                </a:lnTo>
                <a:lnTo>
                  <a:pt x="16522" y="18590"/>
                </a:lnTo>
                <a:lnTo>
                  <a:pt x="16595" y="18639"/>
                </a:lnTo>
                <a:lnTo>
                  <a:pt x="16668" y="18688"/>
                </a:lnTo>
                <a:lnTo>
                  <a:pt x="16765" y="18688"/>
                </a:lnTo>
                <a:lnTo>
                  <a:pt x="16838" y="18663"/>
                </a:lnTo>
                <a:lnTo>
                  <a:pt x="16887" y="18615"/>
                </a:lnTo>
                <a:lnTo>
                  <a:pt x="16936" y="18566"/>
                </a:lnTo>
                <a:lnTo>
                  <a:pt x="16936" y="18469"/>
                </a:lnTo>
                <a:lnTo>
                  <a:pt x="16911" y="18298"/>
                </a:lnTo>
                <a:lnTo>
                  <a:pt x="16838" y="18128"/>
                </a:lnTo>
                <a:lnTo>
                  <a:pt x="16765" y="17982"/>
                </a:lnTo>
                <a:lnTo>
                  <a:pt x="16668" y="17836"/>
                </a:lnTo>
                <a:lnTo>
                  <a:pt x="16449" y="17568"/>
                </a:lnTo>
                <a:lnTo>
                  <a:pt x="16206" y="17325"/>
                </a:lnTo>
                <a:lnTo>
                  <a:pt x="16060" y="17155"/>
                </a:lnTo>
                <a:lnTo>
                  <a:pt x="15938" y="16984"/>
                </a:lnTo>
                <a:lnTo>
                  <a:pt x="15695" y="16595"/>
                </a:lnTo>
                <a:lnTo>
                  <a:pt x="15573" y="16401"/>
                </a:lnTo>
                <a:lnTo>
                  <a:pt x="15427" y="16230"/>
                </a:lnTo>
                <a:lnTo>
                  <a:pt x="15281" y="16109"/>
                </a:lnTo>
                <a:lnTo>
                  <a:pt x="15086" y="15987"/>
                </a:lnTo>
                <a:close/>
                <a:moveTo>
                  <a:pt x="10439" y="17666"/>
                </a:moveTo>
                <a:lnTo>
                  <a:pt x="10342" y="17787"/>
                </a:lnTo>
                <a:lnTo>
                  <a:pt x="10293" y="17909"/>
                </a:lnTo>
                <a:lnTo>
                  <a:pt x="10244" y="18055"/>
                </a:lnTo>
                <a:lnTo>
                  <a:pt x="10244" y="18201"/>
                </a:lnTo>
                <a:lnTo>
                  <a:pt x="10196" y="18517"/>
                </a:lnTo>
                <a:lnTo>
                  <a:pt x="10196" y="18688"/>
                </a:lnTo>
                <a:lnTo>
                  <a:pt x="10244" y="18834"/>
                </a:lnTo>
                <a:lnTo>
                  <a:pt x="10293" y="18882"/>
                </a:lnTo>
                <a:lnTo>
                  <a:pt x="10342" y="18907"/>
                </a:lnTo>
                <a:lnTo>
                  <a:pt x="10415" y="18882"/>
                </a:lnTo>
                <a:lnTo>
                  <a:pt x="10463" y="18858"/>
                </a:lnTo>
                <a:lnTo>
                  <a:pt x="10512" y="18809"/>
                </a:lnTo>
                <a:lnTo>
                  <a:pt x="10561" y="18736"/>
                </a:lnTo>
                <a:lnTo>
                  <a:pt x="10585" y="18615"/>
                </a:lnTo>
                <a:lnTo>
                  <a:pt x="10585" y="18323"/>
                </a:lnTo>
                <a:lnTo>
                  <a:pt x="10609" y="18031"/>
                </a:lnTo>
                <a:lnTo>
                  <a:pt x="10609" y="17885"/>
                </a:lnTo>
                <a:lnTo>
                  <a:pt x="10585" y="17739"/>
                </a:lnTo>
                <a:lnTo>
                  <a:pt x="10561" y="17690"/>
                </a:lnTo>
                <a:lnTo>
                  <a:pt x="10536" y="17666"/>
                </a:lnTo>
                <a:close/>
                <a:moveTo>
                  <a:pt x="8638" y="17349"/>
                </a:moveTo>
                <a:lnTo>
                  <a:pt x="8492" y="17471"/>
                </a:lnTo>
                <a:lnTo>
                  <a:pt x="8395" y="17593"/>
                </a:lnTo>
                <a:lnTo>
                  <a:pt x="8322" y="17739"/>
                </a:lnTo>
                <a:lnTo>
                  <a:pt x="8249" y="17909"/>
                </a:lnTo>
                <a:lnTo>
                  <a:pt x="8176" y="18250"/>
                </a:lnTo>
                <a:lnTo>
                  <a:pt x="8103" y="18590"/>
                </a:lnTo>
                <a:lnTo>
                  <a:pt x="7908" y="19369"/>
                </a:lnTo>
                <a:lnTo>
                  <a:pt x="7860" y="19758"/>
                </a:lnTo>
                <a:lnTo>
                  <a:pt x="7835" y="19953"/>
                </a:lnTo>
                <a:lnTo>
                  <a:pt x="7835" y="20148"/>
                </a:lnTo>
                <a:lnTo>
                  <a:pt x="7860" y="20221"/>
                </a:lnTo>
                <a:lnTo>
                  <a:pt x="7908" y="20269"/>
                </a:lnTo>
                <a:lnTo>
                  <a:pt x="7933" y="20318"/>
                </a:lnTo>
                <a:lnTo>
                  <a:pt x="8006" y="20342"/>
                </a:lnTo>
                <a:lnTo>
                  <a:pt x="8103" y="20342"/>
                </a:lnTo>
                <a:lnTo>
                  <a:pt x="8176" y="20318"/>
                </a:lnTo>
                <a:lnTo>
                  <a:pt x="8200" y="20245"/>
                </a:lnTo>
                <a:lnTo>
                  <a:pt x="8273" y="20099"/>
                </a:lnTo>
                <a:lnTo>
                  <a:pt x="8346" y="19929"/>
                </a:lnTo>
                <a:lnTo>
                  <a:pt x="8419" y="19588"/>
                </a:lnTo>
                <a:lnTo>
                  <a:pt x="8517" y="18882"/>
                </a:lnTo>
                <a:lnTo>
                  <a:pt x="8614" y="18517"/>
                </a:lnTo>
                <a:lnTo>
                  <a:pt x="8711" y="18152"/>
                </a:lnTo>
                <a:lnTo>
                  <a:pt x="8760" y="17958"/>
                </a:lnTo>
                <a:lnTo>
                  <a:pt x="8784" y="17763"/>
                </a:lnTo>
                <a:lnTo>
                  <a:pt x="8784" y="17593"/>
                </a:lnTo>
                <a:lnTo>
                  <a:pt x="8784" y="17422"/>
                </a:lnTo>
                <a:lnTo>
                  <a:pt x="8760" y="17374"/>
                </a:lnTo>
                <a:lnTo>
                  <a:pt x="8711" y="17349"/>
                </a:lnTo>
                <a:close/>
                <a:moveTo>
                  <a:pt x="12093" y="17374"/>
                </a:moveTo>
                <a:lnTo>
                  <a:pt x="12045" y="17398"/>
                </a:lnTo>
                <a:lnTo>
                  <a:pt x="11996" y="17398"/>
                </a:lnTo>
                <a:lnTo>
                  <a:pt x="11947" y="17447"/>
                </a:lnTo>
                <a:lnTo>
                  <a:pt x="11923" y="17495"/>
                </a:lnTo>
                <a:lnTo>
                  <a:pt x="11923" y="17544"/>
                </a:lnTo>
                <a:lnTo>
                  <a:pt x="11947" y="17836"/>
                </a:lnTo>
                <a:lnTo>
                  <a:pt x="11972" y="18152"/>
                </a:lnTo>
                <a:lnTo>
                  <a:pt x="12093" y="18761"/>
                </a:lnTo>
                <a:lnTo>
                  <a:pt x="12166" y="19199"/>
                </a:lnTo>
                <a:lnTo>
                  <a:pt x="12215" y="19661"/>
                </a:lnTo>
                <a:lnTo>
                  <a:pt x="12239" y="19904"/>
                </a:lnTo>
                <a:lnTo>
                  <a:pt x="12288" y="20123"/>
                </a:lnTo>
                <a:lnTo>
                  <a:pt x="12337" y="20342"/>
                </a:lnTo>
                <a:lnTo>
                  <a:pt x="12434" y="20561"/>
                </a:lnTo>
                <a:lnTo>
                  <a:pt x="12483" y="20610"/>
                </a:lnTo>
                <a:lnTo>
                  <a:pt x="12556" y="20659"/>
                </a:lnTo>
                <a:lnTo>
                  <a:pt x="12629" y="20659"/>
                </a:lnTo>
                <a:lnTo>
                  <a:pt x="12702" y="20634"/>
                </a:lnTo>
                <a:lnTo>
                  <a:pt x="12775" y="20610"/>
                </a:lnTo>
                <a:lnTo>
                  <a:pt x="12823" y="20537"/>
                </a:lnTo>
                <a:lnTo>
                  <a:pt x="12848" y="20464"/>
                </a:lnTo>
                <a:lnTo>
                  <a:pt x="12848" y="20391"/>
                </a:lnTo>
                <a:lnTo>
                  <a:pt x="12750" y="19953"/>
                </a:lnTo>
                <a:lnTo>
                  <a:pt x="12702" y="19491"/>
                </a:lnTo>
                <a:lnTo>
                  <a:pt x="12629" y="19053"/>
                </a:lnTo>
                <a:lnTo>
                  <a:pt x="12556" y="18639"/>
                </a:lnTo>
                <a:lnTo>
                  <a:pt x="12483" y="18323"/>
                </a:lnTo>
                <a:lnTo>
                  <a:pt x="12434" y="18031"/>
                </a:lnTo>
                <a:lnTo>
                  <a:pt x="12361" y="17739"/>
                </a:lnTo>
                <a:lnTo>
                  <a:pt x="12288" y="17593"/>
                </a:lnTo>
                <a:lnTo>
                  <a:pt x="12239" y="17471"/>
                </a:lnTo>
                <a:lnTo>
                  <a:pt x="12191" y="17422"/>
                </a:lnTo>
                <a:lnTo>
                  <a:pt x="12142" y="17398"/>
                </a:lnTo>
                <a:lnTo>
                  <a:pt x="12093" y="17374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25" name="Picture 18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>
          <a:xfrm>
            <a:off x="9900935" y="1690949"/>
            <a:ext cx="2037643" cy="2037643"/>
          </a:xfrm>
          <a:prstGeom prst="rect">
            <a:avLst/>
          </a:prstGeom>
        </p:spPr>
      </p:pic>
      <p:pic>
        <p:nvPicPr>
          <p:cNvPr id="26" name="Picture 16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>
          <a:xfrm>
            <a:off x="8496343" y="4048821"/>
            <a:ext cx="1645018" cy="1645018"/>
          </a:xfrm>
          <a:prstGeom prst="rect">
            <a:avLst/>
          </a:prstGeom>
        </p:spPr>
      </p:pic>
      <p:sp>
        <p:nvSpPr>
          <p:cNvPr id="27" name="Google Shape;397;p40"/>
          <p:cNvSpPr/>
          <p:nvPr/>
        </p:nvSpPr>
        <p:spPr>
          <a:xfrm>
            <a:off x="10286025" y="5415275"/>
            <a:ext cx="1051259" cy="875492"/>
          </a:xfrm>
          <a:custGeom>
            <a:avLst/>
            <a:gdLst/>
            <a:ahLst/>
            <a:cxnLst/>
            <a:rect l="l" t="t" r="r" b="b"/>
            <a:pathLst>
              <a:path w="17228" h="15233" extrusionOk="0">
                <a:moveTo>
                  <a:pt x="3918" y="535"/>
                </a:moveTo>
                <a:lnTo>
                  <a:pt x="4380" y="584"/>
                </a:lnTo>
                <a:lnTo>
                  <a:pt x="4842" y="657"/>
                </a:lnTo>
                <a:lnTo>
                  <a:pt x="5280" y="779"/>
                </a:lnTo>
                <a:lnTo>
                  <a:pt x="5767" y="973"/>
                </a:lnTo>
                <a:lnTo>
                  <a:pt x="6253" y="1192"/>
                </a:lnTo>
                <a:lnTo>
                  <a:pt x="6716" y="1436"/>
                </a:lnTo>
                <a:lnTo>
                  <a:pt x="7154" y="1728"/>
                </a:lnTo>
                <a:lnTo>
                  <a:pt x="7446" y="1898"/>
                </a:lnTo>
                <a:lnTo>
                  <a:pt x="7762" y="2117"/>
                </a:lnTo>
                <a:lnTo>
                  <a:pt x="7908" y="2239"/>
                </a:lnTo>
                <a:lnTo>
                  <a:pt x="8054" y="2385"/>
                </a:lnTo>
                <a:lnTo>
                  <a:pt x="8200" y="2531"/>
                </a:lnTo>
                <a:lnTo>
                  <a:pt x="8297" y="2677"/>
                </a:lnTo>
                <a:lnTo>
                  <a:pt x="8297" y="2774"/>
                </a:lnTo>
                <a:lnTo>
                  <a:pt x="8297" y="2847"/>
                </a:lnTo>
                <a:lnTo>
                  <a:pt x="8346" y="2920"/>
                </a:lnTo>
                <a:lnTo>
                  <a:pt x="8395" y="2993"/>
                </a:lnTo>
                <a:lnTo>
                  <a:pt x="8395" y="3115"/>
                </a:lnTo>
                <a:lnTo>
                  <a:pt x="8419" y="3188"/>
                </a:lnTo>
                <a:lnTo>
                  <a:pt x="8468" y="3212"/>
                </a:lnTo>
                <a:lnTo>
                  <a:pt x="8541" y="3212"/>
                </a:lnTo>
                <a:lnTo>
                  <a:pt x="8589" y="3188"/>
                </a:lnTo>
                <a:lnTo>
                  <a:pt x="8711" y="3066"/>
                </a:lnTo>
                <a:lnTo>
                  <a:pt x="8784" y="2920"/>
                </a:lnTo>
                <a:lnTo>
                  <a:pt x="8833" y="2774"/>
                </a:lnTo>
                <a:lnTo>
                  <a:pt x="8808" y="2628"/>
                </a:lnTo>
                <a:lnTo>
                  <a:pt x="8930" y="2482"/>
                </a:lnTo>
                <a:lnTo>
                  <a:pt x="9076" y="2360"/>
                </a:lnTo>
                <a:lnTo>
                  <a:pt x="9441" y="2093"/>
                </a:lnTo>
                <a:lnTo>
                  <a:pt x="10001" y="1728"/>
                </a:lnTo>
                <a:lnTo>
                  <a:pt x="10439" y="1460"/>
                </a:lnTo>
                <a:lnTo>
                  <a:pt x="10925" y="1192"/>
                </a:lnTo>
                <a:lnTo>
                  <a:pt x="11412" y="949"/>
                </a:lnTo>
                <a:lnTo>
                  <a:pt x="11899" y="754"/>
                </a:lnTo>
                <a:lnTo>
                  <a:pt x="12045" y="681"/>
                </a:lnTo>
                <a:lnTo>
                  <a:pt x="12215" y="657"/>
                </a:lnTo>
                <a:lnTo>
                  <a:pt x="12580" y="608"/>
                </a:lnTo>
                <a:lnTo>
                  <a:pt x="12945" y="633"/>
                </a:lnTo>
                <a:lnTo>
                  <a:pt x="13286" y="633"/>
                </a:lnTo>
                <a:lnTo>
                  <a:pt x="13626" y="657"/>
                </a:lnTo>
                <a:lnTo>
                  <a:pt x="13967" y="730"/>
                </a:lnTo>
                <a:lnTo>
                  <a:pt x="14283" y="803"/>
                </a:lnTo>
                <a:lnTo>
                  <a:pt x="14599" y="925"/>
                </a:lnTo>
                <a:lnTo>
                  <a:pt x="14551" y="998"/>
                </a:lnTo>
                <a:lnTo>
                  <a:pt x="14526" y="1095"/>
                </a:lnTo>
                <a:lnTo>
                  <a:pt x="14551" y="1144"/>
                </a:lnTo>
                <a:lnTo>
                  <a:pt x="14575" y="1192"/>
                </a:lnTo>
                <a:lnTo>
                  <a:pt x="14624" y="1217"/>
                </a:lnTo>
                <a:lnTo>
                  <a:pt x="14672" y="1217"/>
                </a:lnTo>
                <a:lnTo>
                  <a:pt x="14770" y="1168"/>
                </a:lnTo>
                <a:lnTo>
                  <a:pt x="14867" y="1119"/>
                </a:lnTo>
                <a:lnTo>
                  <a:pt x="14964" y="1095"/>
                </a:lnTo>
                <a:lnTo>
                  <a:pt x="15135" y="1192"/>
                </a:lnTo>
                <a:lnTo>
                  <a:pt x="15062" y="1265"/>
                </a:lnTo>
                <a:lnTo>
                  <a:pt x="15013" y="1338"/>
                </a:lnTo>
                <a:lnTo>
                  <a:pt x="15013" y="1436"/>
                </a:lnTo>
                <a:lnTo>
                  <a:pt x="15037" y="1509"/>
                </a:lnTo>
                <a:lnTo>
                  <a:pt x="15110" y="1533"/>
                </a:lnTo>
                <a:lnTo>
                  <a:pt x="15208" y="1533"/>
                </a:lnTo>
                <a:lnTo>
                  <a:pt x="15427" y="1411"/>
                </a:lnTo>
                <a:lnTo>
                  <a:pt x="15573" y="1509"/>
                </a:lnTo>
                <a:lnTo>
                  <a:pt x="15451" y="1679"/>
                </a:lnTo>
                <a:lnTo>
                  <a:pt x="15378" y="1849"/>
                </a:lnTo>
                <a:lnTo>
                  <a:pt x="15378" y="1995"/>
                </a:lnTo>
                <a:lnTo>
                  <a:pt x="15378" y="2044"/>
                </a:lnTo>
                <a:lnTo>
                  <a:pt x="15427" y="2068"/>
                </a:lnTo>
                <a:lnTo>
                  <a:pt x="15524" y="2068"/>
                </a:lnTo>
                <a:lnTo>
                  <a:pt x="15597" y="2020"/>
                </a:lnTo>
                <a:lnTo>
                  <a:pt x="15743" y="1898"/>
                </a:lnTo>
                <a:lnTo>
                  <a:pt x="15840" y="1801"/>
                </a:lnTo>
                <a:lnTo>
                  <a:pt x="15986" y="1971"/>
                </a:lnTo>
                <a:lnTo>
                  <a:pt x="15865" y="2093"/>
                </a:lnTo>
                <a:lnTo>
                  <a:pt x="15767" y="2239"/>
                </a:lnTo>
                <a:lnTo>
                  <a:pt x="15694" y="2385"/>
                </a:lnTo>
                <a:lnTo>
                  <a:pt x="15670" y="2458"/>
                </a:lnTo>
                <a:lnTo>
                  <a:pt x="15670" y="2531"/>
                </a:lnTo>
                <a:lnTo>
                  <a:pt x="15719" y="2506"/>
                </a:lnTo>
                <a:lnTo>
                  <a:pt x="15792" y="2482"/>
                </a:lnTo>
                <a:lnTo>
                  <a:pt x="15889" y="2433"/>
                </a:lnTo>
                <a:lnTo>
                  <a:pt x="15986" y="2360"/>
                </a:lnTo>
                <a:lnTo>
                  <a:pt x="16157" y="2239"/>
                </a:lnTo>
                <a:lnTo>
                  <a:pt x="16327" y="2579"/>
                </a:lnTo>
                <a:lnTo>
                  <a:pt x="16157" y="2701"/>
                </a:lnTo>
                <a:lnTo>
                  <a:pt x="15913" y="2944"/>
                </a:lnTo>
                <a:lnTo>
                  <a:pt x="15792" y="3066"/>
                </a:lnTo>
                <a:lnTo>
                  <a:pt x="15694" y="3212"/>
                </a:lnTo>
                <a:lnTo>
                  <a:pt x="15694" y="3261"/>
                </a:lnTo>
                <a:lnTo>
                  <a:pt x="15694" y="3309"/>
                </a:lnTo>
                <a:lnTo>
                  <a:pt x="15743" y="3334"/>
                </a:lnTo>
                <a:lnTo>
                  <a:pt x="15792" y="3334"/>
                </a:lnTo>
                <a:lnTo>
                  <a:pt x="15938" y="3285"/>
                </a:lnTo>
                <a:lnTo>
                  <a:pt x="16059" y="3212"/>
                </a:lnTo>
                <a:lnTo>
                  <a:pt x="16327" y="3017"/>
                </a:lnTo>
                <a:lnTo>
                  <a:pt x="16449" y="2944"/>
                </a:lnTo>
                <a:lnTo>
                  <a:pt x="16570" y="3431"/>
                </a:lnTo>
                <a:lnTo>
                  <a:pt x="16497" y="3480"/>
                </a:lnTo>
                <a:lnTo>
                  <a:pt x="16400" y="3553"/>
                </a:lnTo>
                <a:lnTo>
                  <a:pt x="16303" y="3650"/>
                </a:lnTo>
                <a:lnTo>
                  <a:pt x="16181" y="3747"/>
                </a:lnTo>
                <a:lnTo>
                  <a:pt x="15962" y="3893"/>
                </a:lnTo>
                <a:lnTo>
                  <a:pt x="15889" y="3991"/>
                </a:lnTo>
                <a:lnTo>
                  <a:pt x="15816" y="4112"/>
                </a:lnTo>
                <a:lnTo>
                  <a:pt x="15792" y="4137"/>
                </a:lnTo>
                <a:lnTo>
                  <a:pt x="15816" y="4185"/>
                </a:lnTo>
                <a:lnTo>
                  <a:pt x="15865" y="4210"/>
                </a:lnTo>
                <a:lnTo>
                  <a:pt x="15889" y="4185"/>
                </a:lnTo>
                <a:lnTo>
                  <a:pt x="16254" y="4064"/>
                </a:lnTo>
                <a:lnTo>
                  <a:pt x="16449" y="3966"/>
                </a:lnTo>
                <a:lnTo>
                  <a:pt x="16643" y="3869"/>
                </a:lnTo>
                <a:lnTo>
                  <a:pt x="16643" y="4039"/>
                </a:lnTo>
                <a:lnTo>
                  <a:pt x="16668" y="4185"/>
                </a:lnTo>
                <a:lnTo>
                  <a:pt x="16546" y="4234"/>
                </a:lnTo>
                <a:lnTo>
                  <a:pt x="16424" y="4283"/>
                </a:lnTo>
                <a:lnTo>
                  <a:pt x="16205" y="4404"/>
                </a:lnTo>
                <a:lnTo>
                  <a:pt x="15962" y="4575"/>
                </a:lnTo>
                <a:lnTo>
                  <a:pt x="15840" y="4672"/>
                </a:lnTo>
                <a:lnTo>
                  <a:pt x="15719" y="4769"/>
                </a:lnTo>
                <a:lnTo>
                  <a:pt x="15719" y="4842"/>
                </a:lnTo>
                <a:lnTo>
                  <a:pt x="15743" y="4867"/>
                </a:lnTo>
                <a:lnTo>
                  <a:pt x="15767" y="4867"/>
                </a:lnTo>
                <a:lnTo>
                  <a:pt x="16059" y="4818"/>
                </a:lnTo>
                <a:lnTo>
                  <a:pt x="16351" y="4721"/>
                </a:lnTo>
                <a:lnTo>
                  <a:pt x="16692" y="4623"/>
                </a:lnTo>
                <a:lnTo>
                  <a:pt x="16668" y="4940"/>
                </a:lnTo>
                <a:lnTo>
                  <a:pt x="16668" y="5256"/>
                </a:lnTo>
                <a:lnTo>
                  <a:pt x="16449" y="5280"/>
                </a:lnTo>
                <a:lnTo>
                  <a:pt x="16230" y="5329"/>
                </a:lnTo>
                <a:lnTo>
                  <a:pt x="16059" y="5378"/>
                </a:lnTo>
                <a:lnTo>
                  <a:pt x="15889" y="5426"/>
                </a:lnTo>
                <a:lnTo>
                  <a:pt x="15548" y="5572"/>
                </a:lnTo>
                <a:lnTo>
                  <a:pt x="15548" y="5597"/>
                </a:lnTo>
                <a:lnTo>
                  <a:pt x="15573" y="5621"/>
                </a:lnTo>
                <a:lnTo>
                  <a:pt x="15816" y="5645"/>
                </a:lnTo>
                <a:lnTo>
                  <a:pt x="16084" y="5670"/>
                </a:lnTo>
                <a:lnTo>
                  <a:pt x="16351" y="5694"/>
                </a:lnTo>
                <a:lnTo>
                  <a:pt x="16619" y="5694"/>
                </a:lnTo>
                <a:lnTo>
                  <a:pt x="16546" y="6010"/>
                </a:lnTo>
                <a:lnTo>
                  <a:pt x="16473" y="6327"/>
                </a:lnTo>
                <a:lnTo>
                  <a:pt x="16351" y="6278"/>
                </a:lnTo>
                <a:lnTo>
                  <a:pt x="16205" y="6229"/>
                </a:lnTo>
                <a:lnTo>
                  <a:pt x="15938" y="6181"/>
                </a:lnTo>
                <a:lnTo>
                  <a:pt x="15670" y="6156"/>
                </a:lnTo>
                <a:lnTo>
                  <a:pt x="15402" y="6156"/>
                </a:lnTo>
                <a:lnTo>
                  <a:pt x="15354" y="6205"/>
                </a:lnTo>
                <a:lnTo>
                  <a:pt x="15354" y="6254"/>
                </a:lnTo>
                <a:lnTo>
                  <a:pt x="15378" y="6327"/>
                </a:lnTo>
                <a:lnTo>
                  <a:pt x="15427" y="6375"/>
                </a:lnTo>
                <a:lnTo>
                  <a:pt x="15500" y="6424"/>
                </a:lnTo>
                <a:lnTo>
                  <a:pt x="15573" y="6472"/>
                </a:lnTo>
                <a:lnTo>
                  <a:pt x="15743" y="6521"/>
                </a:lnTo>
                <a:lnTo>
                  <a:pt x="15889" y="6545"/>
                </a:lnTo>
                <a:lnTo>
                  <a:pt x="16108" y="6618"/>
                </a:lnTo>
                <a:lnTo>
                  <a:pt x="16351" y="6691"/>
                </a:lnTo>
                <a:lnTo>
                  <a:pt x="16376" y="6716"/>
                </a:lnTo>
                <a:lnTo>
                  <a:pt x="16254" y="7032"/>
                </a:lnTo>
                <a:lnTo>
                  <a:pt x="16084" y="7008"/>
                </a:lnTo>
                <a:lnTo>
                  <a:pt x="15889" y="6959"/>
                </a:lnTo>
                <a:lnTo>
                  <a:pt x="15524" y="6862"/>
                </a:lnTo>
                <a:lnTo>
                  <a:pt x="15329" y="6837"/>
                </a:lnTo>
                <a:lnTo>
                  <a:pt x="15159" y="6837"/>
                </a:lnTo>
                <a:lnTo>
                  <a:pt x="14964" y="6862"/>
                </a:lnTo>
                <a:lnTo>
                  <a:pt x="14794" y="6935"/>
                </a:lnTo>
                <a:lnTo>
                  <a:pt x="14770" y="6983"/>
                </a:lnTo>
                <a:lnTo>
                  <a:pt x="14770" y="7008"/>
                </a:lnTo>
                <a:lnTo>
                  <a:pt x="14770" y="7056"/>
                </a:lnTo>
                <a:lnTo>
                  <a:pt x="14818" y="7081"/>
                </a:lnTo>
                <a:lnTo>
                  <a:pt x="15135" y="7178"/>
                </a:lnTo>
                <a:lnTo>
                  <a:pt x="15451" y="7300"/>
                </a:lnTo>
                <a:lnTo>
                  <a:pt x="15767" y="7397"/>
                </a:lnTo>
                <a:lnTo>
                  <a:pt x="16084" y="7470"/>
                </a:lnTo>
                <a:lnTo>
                  <a:pt x="15889" y="7884"/>
                </a:lnTo>
                <a:lnTo>
                  <a:pt x="15719" y="7786"/>
                </a:lnTo>
                <a:lnTo>
                  <a:pt x="15524" y="7738"/>
                </a:lnTo>
                <a:lnTo>
                  <a:pt x="15183" y="7665"/>
                </a:lnTo>
                <a:lnTo>
                  <a:pt x="14940" y="7616"/>
                </a:lnTo>
                <a:lnTo>
                  <a:pt x="14721" y="7567"/>
                </a:lnTo>
                <a:lnTo>
                  <a:pt x="14502" y="7543"/>
                </a:lnTo>
                <a:lnTo>
                  <a:pt x="14259" y="7567"/>
                </a:lnTo>
                <a:lnTo>
                  <a:pt x="14210" y="7592"/>
                </a:lnTo>
                <a:lnTo>
                  <a:pt x="14186" y="7640"/>
                </a:lnTo>
                <a:lnTo>
                  <a:pt x="14186" y="7689"/>
                </a:lnTo>
                <a:lnTo>
                  <a:pt x="14234" y="7713"/>
                </a:lnTo>
                <a:lnTo>
                  <a:pt x="14721" y="7884"/>
                </a:lnTo>
                <a:lnTo>
                  <a:pt x="15183" y="8078"/>
                </a:lnTo>
                <a:lnTo>
                  <a:pt x="15427" y="8151"/>
                </a:lnTo>
                <a:lnTo>
                  <a:pt x="15573" y="8176"/>
                </a:lnTo>
                <a:lnTo>
                  <a:pt x="15694" y="8200"/>
                </a:lnTo>
                <a:lnTo>
                  <a:pt x="15427" y="8638"/>
                </a:lnTo>
                <a:lnTo>
                  <a:pt x="15378" y="8614"/>
                </a:lnTo>
                <a:lnTo>
                  <a:pt x="14818" y="8565"/>
                </a:lnTo>
                <a:lnTo>
                  <a:pt x="14551" y="8516"/>
                </a:lnTo>
                <a:lnTo>
                  <a:pt x="14283" y="8468"/>
                </a:lnTo>
                <a:lnTo>
                  <a:pt x="13821" y="8370"/>
                </a:lnTo>
                <a:lnTo>
                  <a:pt x="13578" y="8322"/>
                </a:lnTo>
                <a:lnTo>
                  <a:pt x="13334" y="8322"/>
                </a:lnTo>
                <a:lnTo>
                  <a:pt x="13310" y="8346"/>
                </a:lnTo>
                <a:lnTo>
                  <a:pt x="13286" y="8370"/>
                </a:lnTo>
                <a:lnTo>
                  <a:pt x="13286" y="8395"/>
                </a:lnTo>
                <a:lnTo>
                  <a:pt x="13310" y="8419"/>
                </a:lnTo>
                <a:lnTo>
                  <a:pt x="13553" y="8541"/>
                </a:lnTo>
                <a:lnTo>
                  <a:pt x="13821" y="8638"/>
                </a:lnTo>
                <a:lnTo>
                  <a:pt x="14332" y="8808"/>
                </a:lnTo>
                <a:lnTo>
                  <a:pt x="14551" y="8857"/>
                </a:lnTo>
                <a:lnTo>
                  <a:pt x="14770" y="8906"/>
                </a:lnTo>
                <a:lnTo>
                  <a:pt x="15013" y="8930"/>
                </a:lnTo>
                <a:lnTo>
                  <a:pt x="15232" y="8930"/>
                </a:lnTo>
                <a:lnTo>
                  <a:pt x="14818" y="9465"/>
                </a:lnTo>
                <a:lnTo>
                  <a:pt x="14648" y="9417"/>
                </a:lnTo>
                <a:lnTo>
                  <a:pt x="14453" y="9368"/>
                </a:lnTo>
                <a:lnTo>
                  <a:pt x="14088" y="9319"/>
                </a:lnTo>
                <a:lnTo>
                  <a:pt x="13797" y="9271"/>
                </a:lnTo>
                <a:lnTo>
                  <a:pt x="13480" y="9198"/>
                </a:lnTo>
                <a:lnTo>
                  <a:pt x="13188" y="9100"/>
                </a:lnTo>
                <a:lnTo>
                  <a:pt x="12921" y="8979"/>
                </a:lnTo>
                <a:lnTo>
                  <a:pt x="12872" y="8979"/>
                </a:lnTo>
                <a:lnTo>
                  <a:pt x="12872" y="9027"/>
                </a:lnTo>
                <a:lnTo>
                  <a:pt x="12945" y="9125"/>
                </a:lnTo>
                <a:lnTo>
                  <a:pt x="13018" y="9222"/>
                </a:lnTo>
                <a:lnTo>
                  <a:pt x="13115" y="9319"/>
                </a:lnTo>
                <a:lnTo>
                  <a:pt x="13213" y="9392"/>
                </a:lnTo>
                <a:lnTo>
                  <a:pt x="13432" y="9490"/>
                </a:lnTo>
                <a:lnTo>
                  <a:pt x="13675" y="9587"/>
                </a:lnTo>
                <a:lnTo>
                  <a:pt x="13991" y="9684"/>
                </a:lnTo>
                <a:lnTo>
                  <a:pt x="14332" y="9733"/>
                </a:lnTo>
                <a:lnTo>
                  <a:pt x="14551" y="9806"/>
                </a:lnTo>
                <a:lnTo>
                  <a:pt x="14186" y="10195"/>
                </a:lnTo>
                <a:lnTo>
                  <a:pt x="14137" y="10098"/>
                </a:lnTo>
                <a:lnTo>
                  <a:pt x="14064" y="10049"/>
                </a:lnTo>
                <a:lnTo>
                  <a:pt x="13651" y="9928"/>
                </a:lnTo>
                <a:lnTo>
                  <a:pt x="13213" y="9782"/>
                </a:lnTo>
                <a:lnTo>
                  <a:pt x="12799" y="9660"/>
                </a:lnTo>
                <a:lnTo>
                  <a:pt x="12580" y="9611"/>
                </a:lnTo>
                <a:lnTo>
                  <a:pt x="12337" y="9611"/>
                </a:lnTo>
                <a:lnTo>
                  <a:pt x="12337" y="9636"/>
                </a:lnTo>
                <a:lnTo>
                  <a:pt x="12337" y="9660"/>
                </a:lnTo>
                <a:lnTo>
                  <a:pt x="12702" y="9903"/>
                </a:lnTo>
                <a:lnTo>
                  <a:pt x="13115" y="10122"/>
                </a:lnTo>
                <a:lnTo>
                  <a:pt x="13529" y="10293"/>
                </a:lnTo>
                <a:lnTo>
                  <a:pt x="13967" y="10439"/>
                </a:lnTo>
                <a:lnTo>
                  <a:pt x="13505" y="10877"/>
                </a:lnTo>
                <a:lnTo>
                  <a:pt x="13286" y="10804"/>
                </a:lnTo>
                <a:lnTo>
                  <a:pt x="13042" y="10731"/>
                </a:lnTo>
                <a:lnTo>
                  <a:pt x="12799" y="10658"/>
                </a:lnTo>
                <a:lnTo>
                  <a:pt x="12580" y="10585"/>
                </a:lnTo>
                <a:lnTo>
                  <a:pt x="12045" y="10341"/>
                </a:lnTo>
                <a:lnTo>
                  <a:pt x="11777" y="10244"/>
                </a:lnTo>
                <a:lnTo>
                  <a:pt x="11631" y="10220"/>
                </a:lnTo>
                <a:lnTo>
                  <a:pt x="11485" y="10195"/>
                </a:lnTo>
                <a:lnTo>
                  <a:pt x="11436" y="10220"/>
                </a:lnTo>
                <a:lnTo>
                  <a:pt x="11436" y="10244"/>
                </a:lnTo>
                <a:lnTo>
                  <a:pt x="11412" y="10268"/>
                </a:lnTo>
                <a:lnTo>
                  <a:pt x="11436" y="10317"/>
                </a:lnTo>
                <a:lnTo>
                  <a:pt x="11680" y="10512"/>
                </a:lnTo>
                <a:lnTo>
                  <a:pt x="11972" y="10706"/>
                </a:lnTo>
                <a:lnTo>
                  <a:pt x="12264" y="10852"/>
                </a:lnTo>
                <a:lnTo>
                  <a:pt x="12556" y="10998"/>
                </a:lnTo>
                <a:lnTo>
                  <a:pt x="12848" y="11120"/>
                </a:lnTo>
                <a:lnTo>
                  <a:pt x="12994" y="11169"/>
                </a:lnTo>
                <a:lnTo>
                  <a:pt x="13164" y="11193"/>
                </a:lnTo>
                <a:lnTo>
                  <a:pt x="12799" y="11509"/>
                </a:lnTo>
                <a:lnTo>
                  <a:pt x="12702" y="11461"/>
                </a:lnTo>
                <a:lnTo>
                  <a:pt x="12580" y="11412"/>
                </a:lnTo>
                <a:lnTo>
                  <a:pt x="12337" y="11363"/>
                </a:lnTo>
                <a:lnTo>
                  <a:pt x="12069" y="11315"/>
                </a:lnTo>
                <a:lnTo>
                  <a:pt x="11826" y="11266"/>
                </a:lnTo>
                <a:lnTo>
                  <a:pt x="11315" y="11071"/>
                </a:lnTo>
                <a:lnTo>
                  <a:pt x="11047" y="10998"/>
                </a:lnTo>
                <a:lnTo>
                  <a:pt x="10901" y="10974"/>
                </a:lnTo>
                <a:lnTo>
                  <a:pt x="10755" y="10974"/>
                </a:lnTo>
                <a:lnTo>
                  <a:pt x="10706" y="10998"/>
                </a:lnTo>
                <a:lnTo>
                  <a:pt x="10682" y="11023"/>
                </a:lnTo>
                <a:lnTo>
                  <a:pt x="10682" y="11071"/>
                </a:lnTo>
                <a:lnTo>
                  <a:pt x="10706" y="11096"/>
                </a:lnTo>
                <a:lnTo>
                  <a:pt x="10828" y="11217"/>
                </a:lnTo>
                <a:lnTo>
                  <a:pt x="10998" y="11339"/>
                </a:lnTo>
                <a:lnTo>
                  <a:pt x="11217" y="11461"/>
                </a:lnTo>
                <a:lnTo>
                  <a:pt x="11436" y="11582"/>
                </a:lnTo>
                <a:lnTo>
                  <a:pt x="11655" y="11704"/>
                </a:lnTo>
                <a:lnTo>
                  <a:pt x="11899" y="11777"/>
                </a:lnTo>
                <a:lnTo>
                  <a:pt x="12142" y="11826"/>
                </a:lnTo>
                <a:lnTo>
                  <a:pt x="12385" y="11874"/>
                </a:lnTo>
                <a:lnTo>
                  <a:pt x="12045" y="12142"/>
                </a:lnTo>
                <a:lnTo>
                  <a:pt x="11874" y="12093"/>
                </a:lnTo>
                <a:lnTo>
                  <a:pt x="11704" y="12045"/>
                </a:lnTo>
                <a:lnTo>
                  <a:pt x="11412" y="11996"/>
                </a:lnTo>
                <a:lnTo>
                  <a:pt x="11242" y="11947"/>
                </a:lnTo>
                <a:lnTo>
                  <a:pt x="11071" y="11850"/>
                </a:lnTo>
                <a:lnTo>
                  <a:pt x="10682" y="11680"/>
                </a:lnTo>
                <a:lnTo>
                  <a:pt x="10487" y="11582"/>
                </a:lnTo>
                <a:lnTo>
                  <a:pt x="10293" y="11534"/>
                </a:lnTo>
                <a:lnTo>
                  <a:pt x="10098" y="11509"/>
                </a:lnTo>
                <a:lnTo>
                  <a:pt x="9903" y="11534"/>
                </a:lnTo>
                <a:lnTo>
                  <a:pt x="9879" y="11534"/>
                </a:lnTo>
                <a:lnTo>
                  <a:pt x="9879" y="11558"/>
                </a:lnTo>
                <a:lnTo>
                  <a:pt x="9879" y="11631"/>
                </a:lnTo>
                <a:lnTo>
                  <a:pt x="9976" y="11728"/>
                </a:lnTo>
                <a:lnTo>
                  <a:pt x="10098" y="11826"/>
                </a:lnTo>
                <a:lnTo>
                  <a:pt x="10366" y="11972"/>
                </a:lnTo>
                <a:lnTo>
                  <a:pt x="10925" y="12215"/>
                </a:lnTo>
                <a:lnTo>
                  <a:pt x="11266" y="12361"/>
                </a:lnTo>
                <a:lnTo>
                  <a:pt x="11607" y="12483"/>
                </a:lnTo>
                <a:lnTo>
                  <a:pt x="11169" y="12799"/>
                </a:lnTo>
                <a:lnTo>
                  <a:pt x="10925" y="12726"/>
                </a:lnTo>
                <a:lnTo>
                  <a:pt x="10585" y="12604"/>
                </a:lnTo>
                <a:lnTo>
                  <a:pt x="10244" y="12458"/>
                </a:lnTo>
                <a:lnTo>
                  <a:pt x="9782" y="12239"/>
                </a:lnTo>
                <a:lnTo>
                  <a:pt x="9538" y="12142"/>
                </a:lnTo>
                <a:lnTo>
                  <a:pt x="9417" y="12118"/>
                </a:lnTo>
                <a:lnTo>
                  <a:pt x="9295" y="12118"/>
                </a:lnTo>
                <a:lnTo>
                  <a:pt x="9271" y="12142"/>
                </a:lnTo>
                <a:lnTo>
                  <a:pt x="9271" y="12191"/>
                </a:lnTo>
                <a:lnTo>
                  <a:pt x="9344" y="12312"/>
                </a:lnTo>
                <a:lnTo>
                  <a:pt x="9441" y="12410"/>
                </a:lnTo>
                <a:lnTo>
                  <a:pt x="9563" y="12507"/>
                </a:lnTo>
                <a:lnTo>
                  <a:pt x="9684" y="12604"/>
                </a:lnTo>
                <a:lnTo>
                  <a:pt x="9976" y="12750"/>
                </a:lnTo>
                <a:lnTo>
                  <a:pt x="10244" y="12896"/>
                </a:lnTo>
                <a:lnTo>
                  <a:pt x="10463" y="12994"/>
                </a:lnTo>
                <a:lnTo>
                  <a:pt x="10731" y="13115"/>
                </a:lnTo>
                <a:lnTo>
                  <a:pt x="10220" y="13456"/>
                </a:lnTo>
                <a:lnTo>
                  <a:pt x="10220" y="13359"/>
                </a:lnTo>
                <a:lnTo>
                  <a:pt x="10195" y="13334"/>
                </a:lnTo>
                <a:lnTo>
                  <a:pt x="10147" y="13286"/>
                </a:lnTo>
                <a:lnTo>
                  <a:pt x="9976" y="13188"/>
                </a:lnTo>
                <a:lnTo>
                  <a:pt x="9782" y="13091"/>
                </a:lnTo>
                <a:lnTo>
                  <a:pt x="9417" y="12921"/>
                </a:lnTo>
                <a:lnTo>
                  <a:pt x="9222" y="12848"/>
                </a:lnTo>
                <a:lnTo>
                  <a:pt x="9052" y="12775"/>
                </a:lnTo>
                <a:lnTo>
                  <a:pt x="8857" y="12726"/>
                </a:lnTo>
                <a:lnTo>
                  <a:pt x="8662" y="12726"/>
                </a:lnTo>
                <a:lnTo>
                  <a:pt x="8638" y="12750"/>
                </a:lnTo>
                <a:lnTo>
                  <a:pt x="8638" y="12775"/>
                </a:lnTo>
                <a:lnTo>
                  <a:pt x="8979" y="13018"/>
                </a:lnTo>
                <a:lnTo>
                  <a:pt x="9319" y="13261"/>
                </a:lnTo>
                <a:lnTo>
                  <a:pt x="9490" y="13383"/>
                </a:lnTo>
                <a:lnTo>
                  <a:pt x="9660" y="13480"/>
                </a:lnTo>
                <a:lnTo>
                  <a:pt x="9855" y="13553"/>
                </a:lnTo>
                <a:lnTo>
                  <a:pt x="10049" y="13602"/>
                </a:lnTo>
                <a:lnTo>
                  <a:pt x="9538" y="13943"/>
                </a:lnTo>
                <a:lnTo>
                  <a:pt x="9538" y="13918"/>
                </a:lnTo>
                <a:lnTo>
                  <a:pt x="9465" y="13870"/>
                </a:lnTo>
                <a:lnTo>
                  <a:pt x="9368" y="13821"/>
                </a:lnTo>
                <a:lnTo>
                  <a:pt x="9222" y="13724"/>
                </a:lnTo>
                <a:lnTo>
                  <a:pt x="8808" y="13407"/>
                </a:lnTo>
                <a:lnTo>
                  <a:pt x="8662" y="13286"/>
                </a:lnTo>
                <a:lnTo>
                  <a:pt x="8492" y="13140"/>
                </a:lnTo>
                <a:lnTo>
                  <a:pt x="8297" y="13042"/>
                </a:lnTo>
                <a:lnTo>
                  <a:pt x="8200" y="12994"/>
                </a:lnTo>
                <a:lnTo>
                  <a:pt x="8054" y="12994"/>
                </a:lnTo>
                <a:lnTo>
                  <a:pt x="8030" y="13018"/>
                </a:lnTo>
                <a:lnTo>
                  <a:pt x="7957" y="13091"/>
                </a:lnTo>
                <a:lnTo>
                  <a:pt x="7957" y="13164"/>
                </a:lnTo>
                <a:lnTo>
                  <a:pt x="7981" y="13213"/>
                </a:lnTo>
                <a:lnTo>
                  <a:pt x="8005" y="13261"/>
                </a:lnTo>
                <a:lnTo>
                  <a:pt x="8297" y="13529"/>
                </a:lnTo>
                <a:lnTo>
                  <a:pt x="8614" y="13772"/>
                </a:lnTo>
                <a:lnTo>
                  <a:pt x="8881" y="13991"/>
                </a:lnTo>
                <a:lnTo>
                  <a:pt x="9027" y="14113"/>
                </a:lnTo>
                <a:lnTo>
                  <a:pt x="9173" y="14210"/>
                </a:lnTo>
                <a:lnTo>
                  <a:pt x="8784" y="14478"/>
                </a:lnTo>
                <a:lnTo>
                  <a:pt x="8711" y="14502"/>
                </a:lnTo>
                <a:lnTo>
                  <a:pt x="8565" y="14381"/>
                </a:lnTo>
                <a:lnTo>
                  <a:pt x="8419" y="14259"/>
                </a:lnTo>
                <a:lnTo>
                  <a:pt x="8103" y="14040"/>
                </a:lnTo>
                <a:lnTo>
                  <a:pt x="7713" y="13797"/>
                </a:lnTo>
                <a:lnTo>
                  <a:pt x="7348" y="13578"/>
                </a:lnTo>
                <a:lnTo>
                  <a:pt x="6570" y="13115"/>
                </a:lnTo>
                <a:lnTo>
                  <a:pt x="6180" y="12872"/>
                </a:lnTo>
                <a:lnTo>
                  <a:pt x="5767" y="12604"/>
                </a:lnTo>
                <a:lnTo>
                  <a:pt x="5402" y="12312"/>
                </a:lnTo>
                <a:lnTo>
                  <a:pt x="5037" y="11996"/>
                </a:lnTo>
                <a:lnTo>
                  <a:pt x="4623" y="11680"/>
                </a:lnTo>
                <a:lnTo>
                  <a:pt x="4210" y="11363"/>
                </a:lnTo>
                <a:lnTo>
                  <a:pt x="3820" y="11023"/>
                </a:lnTo>
                <a:lnTo>
                  <a:pt x="3626" y="10852"/>
                </a:lnTo>
                <a:lnTo>
                  <a:pt x="3455" y="10658"/>
                </a:lnTo>
                <a:lnTo>
                  <a:pt x="2847" y="9952"/>
                </a:lnTo>
                <a:lnTo>
                  <a:pt x="2263" y="9222"/>
                </a:lnTo>
                <a:lnTo>
                  <a:pt x="1971" y="8857"/>
                </a:lnTo>
                <a:lnTo>
                  <a:pt x="1728" y="8468"/>
                </a:lnTo>
                <a:lnTo>
                  <a:pt x="1484" y="8054"/>
                </a:lnTo>
                <a:lnTo>
                  <a:pt x="1265" y="7640"/>
                </a:lnTo>
                <a:lnTo>
                  <a:pt x="1095" y="7227"/>
                </a:lnTo>
                <a:lnTo>
                  <a:pt x="949" y="6789"/>
                </a:lnTo>
                <a:lnTo>
                  <a:pt x="827" y="6351"/>
                </a:lnTo>
                <a:lnTo>
                  <a:pt x="730" y="5889"/>
                </a:lnTo>
                <a:lnTo>
                  <a:pt x="657" y="5451"/>
                </a:lnTo>
                <a:lnTo>
                  <a:pt x="633" y="4988"/>
                </a:lnTo>
                <a:lnTo>
                  <a:pt x="608" y="4526"/>
                </a:lnTo>
                <a:lnTo>
                  <a:pt x="608" y="4064"/>
                </a:lnTo>
                <a:lnTo>
                  <a:pt x="608" y="3674"/>
                </a:lnTo>
                <a:lnTo>
                  <a:pt x="657" y="3261"/>
                </a:lnTo>
                <a:lnTo>
                  <a:pt x="706" y="2871"/>
                </a:lnTo>
                <a:lnTo>
                  <a:pt x="827" y="2482"/>
                </a:lnTo>
                <a:lnTo>
                  <a:pt x="973" y="2117"/>
                </a:lnTo>
                <a:lnTo>
                  <a:pt x="1046" y="1947"/>
                </a:lnTo>
                <a:lnTo>
                  <a:pt x="1168" y="1776"/>
                </a:lnTo>
                <a:lnTo>
                  <a:pt x="1265" y="1630"/>
                </a:lnTo>
                <a:lnTo>
                  <a:pt x="1411" y="1460"/>
                </a:lnTo>
                <a:lnTo>
                  <a:pt x="1557" y="1338"/>
                </a:lnTo>
                <a:lnTo>
                  <a:pt x="1728" y="1192"/>
                </a:lnTo>
                <a:lnTo>
                  <a:pt x="1922" y="1071"/>
                </a:lnTo>
                <a:lnTo>
                  <a:pt x="2117" y="949"/>
                </a:lnTo>
                <a:lnTo>
                  <a:pt x="2336" y="852"/>
                </a:lnTo>
                <a:lnTo>
                  <a:pt x="2531" y="779"/>
                </a:lnTo>
                <a:lnTo>
                  <a:pt x="2774" y="706"/>
                </a:lnTo>
                <a:lnTo>
                  <a:pt x="2993" y="633"/>
                </a:lnTo>
                <a:lnTo>
                  <a:pt x="3455" y="560"/>
                </a:lnTo>
                <a:lnTo>
                  <a:pt x="3918" y="535"/>
                </a:lnTo>
                <a:close/>
                <a:moveTo>
                  <a:pt x="3358" y="0"/>
                </a:moveTo>
                <a:lnTo>
                  <a:pt x="2969" y="73"/>
                </a:lnTo>
                <a:lnTo>
                  <a:pt x="2579" y="146"/>
                </a:lnTo>
                <a:lnTo>
                  <a:pt x="2239" y="268"/>
                </a:lnTo>
                <a:lnTo>
                  <a:pt x="1874" y="414"/>
                </a:lnTo>
                <a:lnTo>
                  <a:pt x="1557" y="608"/>
                </a:lnTo>
                <a:lnTo>
                  <a:pt x="1241" y="827"/>
                </a:lnTo>
                <a:lnTo>
                  <a:pt x="949" y="1095"/>
                </a:lnTo>
                <a:lnTo>
                  <a:pt x="706" y="1387"/>
                </a:lnTo>
                <a:lnTo>
                  <a:pt x="487" y="1728"/>
                </a:lnTo>
                <a:lnTo>
                  <a:pt x="316" y="2093"/>
                </a:lnTo>
                <a:lnTo>
                  <a:pt x="195" y="2482"/>
                </a:lnTo>
                <a:lnTo>
                  <a:pt x="97" y="2896"/>
                </a:lnTo>
                <a:lnTo>
                  <a:pt x="49" y="3309"/>
                </a:lnTo>
                <a:lnTo>
                  <a:pt x="0" y="3747"/>
                </a:lnTo>
                <a:lnTo>
                  <a:pt x="0" y="4161"/>
                </a:lnTo>
                <a:lnTo>
                  <a:pt x="24" y="4988"/>
                </a:lnTo>
                <a:lnTo>
                  <a:pt x="73" y="5451"/>
                </a:lnTo>
                <a:lnTo>
                  <a:pt x="146" y="5913"/>
                </a:lnTo>
                <a:lnTo>
                  <a:pt x="219" y="6351"/>
                </a:lnTo>
                <a:lnTo>
                  <a:pt x="341" y="6789"/>
                </a:lnTo>
                <a:lnTo>
                  <a:pt x="487" y="7227"/>
                </a:lnTo>
                <a:lnTo>
                  <a:pt x="633" y="7665"/>
                </a:lnTo>
                <a:lnTo>
                  <a:pt x="827" y="8078"/>
                </a:lnTo>
                <a:lnTo>
                  <a:pt x="1046" y="8492"/>
                </a:lnTo>
                <a:lnTo>
                  <a:pt x="1265" y="8881"/>
                </a:lnTo>
                <a:lnTo>
                  <a:pt x="1533" y="9246"/>
                </a:lnTo>
                <a:lnTo>
                  <a:pt x="1801" y="9587"/>
                </a:lnTo>
                <a:lnTo>
                  <a:pt x="2093" y="9928"/>
                </a:lnTo>
                <a:lnTo>
                  <a:pt x="2458" y="10341"/>
                </a:lnTo>
                <a:lnTo>
                  <a:pt x="2798" y="10779"/>
                </a:lnTo>
                <a:lnTo>
                  <a:pt x="3139" y="11169"/>
                </a:lnTo>
                <a:lnTo>
                  <a:pt x="3334" y="11363"/>
                </a:lnTo>
                <a:lnTo>
                  <a:pt x="3553" y="11558"/>
                </a:lnTo>
                <a:lnTo>
                  <a:pt x="4331" y="12215"/>
                </a:lnTo>
                <a:lnTo>
                  <a:pt x="5134" y="12823"/>
                </a:lnTo>
                <a:lnTo>
                  <a:pt x="5961" y="13432"/>
                </a:lnTo>
                <a:lnTo>
                  <a:pt x="6399" y="13724"/>
                </a:lnTo>
                <a:lnTo>
                  <a:pt x="6837" y="13991"/>
                </a:lnTo>
                <a:lnTo>
                  <a:pt x="7275" y="14235"/>
                </a:lnTo>
                <a:lnTo>
                  <a:pt x="7689" y="14502"/>
                </a:lnTo>
                <a:lnTo>
                  <a:pt x="7981" y="14672"/>
                </a:lnTo>
                <a:lnTo>
                  <a:pt x="8127" y="14770"/>
                </a:lnTo>
                <a:lnTo>
                  <a:pt x="8249" y="14891"/>
                </a:lnTo>
                <a:lnTo>
                  <a:pt x="8249" y="14964"/>
                </a:lnTo>
                <a:lnTo>
                  <a:pt x="8249" y="15062"/>
                </a:lnTo>
                <a:lnTo>
                  <a:pt x="8297" y="15110"/>
                </a:lnTo>
                <a:lnTo>
                  <a:pt x="8370" y="15183"/>
                </a:lnTo>
                <a:lnTo>
                  <a:pt x="8443" y="15208"/>
                </a:lnTo>
                <a:lnTo>
                  <a:pt x="8516" y="15232"/>
                </a:lnTo>
                <a:lnTo>
                  <a:pt x="8614" y="15232"/>
                </a:lnTo>
                <a:lnTo>
                  <a:pt x="8711" y="15183"/>
                </a:lnTo>
                <a:lnTo>
                  <a:pt x="8735" y="15159"/>
                </a:lnTo>
                <a:lnTo>
                  <a:pt x="8784" y="15110"/>
                </a:lnTo>
                <a:lnTo>
                  <a:pt x="9490" y="14599"/>
                </a:lnTo>
                <a:lnTo>
                  <a:pt x="10220" y="14113"/>
                </a:lnTo>
                <a:lnTo>
                  <a:pt x="10925" y="13602"/>
                </a:lnTo>
                <a:lnTo>
                  <a:pt x="11631" y="13115"/>
                </a:lnTo>
                <a:lnTo>
                  <a:pt x="12312" y="12604"/>
                </a:lnTo>
                <a:lnTo>
                  <a:pt x="12969" y="12069"/>
                </a:lnTo>
                <a:lnTo>
                  <a:pt x="13578" y="11509"/>
                </a:lnTo>
                <a:lnTo>
                  <a:pt x="14186" y="10925"/>
                </a:lnTo>
                <a:lnTo>
                  <a:pt x="14745" y="10341"/>
                </a:lnTo>
                <a:lnTo>
                  <a:pt x="15256" y="9733"/>
                </a:lnTo>
                <a:lnTo>
                  <a:pt x="15743" y="9076"/>
                </a:lnTo>
                <a:lnTo>
                  <a:pt x="15962" y="8735"/>
                </a:lnTo>
                <a:lnTo>
                  <a:pt x="16157" y="8395"/>
                </a:lnTo>
                <a:lnTo>
                  <a:pt x="16351" y="8054"/>
                </a:lnTo>
                <a:lnTo>
                  <a:pt x="16522" y="7689"/>
                </a:lnTo>
                <a:lnTo>
                  <a:pt x="16668" y="7324"/>
                </a:lnTo>
                <a:lnTo>
                  <a:pt x="16814" y="6959"/>
                </a:lnTo>
                <a:lnTo>
                  <a:pt x="16935" y="6570"/>
                </a:lnTo>
                <a:lnTo>
                  <a:pt x="17033" y="6181"/>
                </a:lnTo>
                <a:lnTo>
                  <a:pt x="17106" y="5791"/>
                </a:lnTo>
                <a:lnTo>
                  <a:pt x="17179" y="5378"/>
                </a:lnTo>
                <a:lnTo>
                  <a:pt x="17203" y="5013"/>
                </a:lnTo>
                <a:lnTo>
                  <a:pt x="17227" y="4623"/>
                </a:lnTo>
                <a:lnTo>
                  <a:pt x="17227" y="4210"/>
                </a:lnTo>
                <a:lnTo>
                  <a:pt x="17203" y="3820"/>
                </a:lnTo>
                <a:lnTo>
                  <a:pt x="17130" y="3407"/>
                </a:lnTo>
                <a:lnTo>
                  <a:pt x="17057" y="3017"/>
                </a:lnTo>
                <a:lnTo>
                  <a:pt x="16960" y="2652"/>
                </a:lnTo>
                <a:lnTo>
                  <a:pt x="16814" y="2287"/>
                </a:lnTo>
                <a:lnTo>
                  <a:pt x="16643" y="1947"/>
                </a:lnTo>
                <a:lnTo>
                  <a:pt x="16449" y="1655"/>
                </a:lnTo>
                <a:lnTo>
                  <a:pt x="16205" y="1363"/>
                </a:lnTo>
                <a:lnTo>
                  <a:pt x="15938" y="1119"/>
                </a:lnTo>
                <a:lnTo>
                  <a:pt x="15646" y="876"/>
                </a:lnTo>
                <a:lnTo>
                  <a:pt x="15329" y="681"/>
                </a:lnTo>
                <a:lnTo>
                  <a:pt x="14989" y="511"/>
                </a:lnTo>
                <a:lnTo>
                  <a:pt x="14648" y="365"/>
                </a:lnTo>
                <a:lnTo>
                  <a:pt x="14332" y="243"/>
                </a:lnTo>
                <a:lnTo>
                  <a:pt x="13967" y="170"/>
                </a:lnTo>
                <a:lnTo>
                  <a:pt x="13578" y="97"/>
                </a:lnTo>
                <a:lnTo>
                  <a:pt x="13188" y="73"/>
                </a:lnTo>
                <a:lnTo>
                  <a:pt x="12799" y="49"/>
                </a:lnTo>
                <a:lnTo>
                  <a:pt x="12410" y="73"/>
                </a:lnTo>
                <a:lnTo>
                  <a:pt x="12045" y="146"/>
                </a:lnTo>
                <a:lnTo>
                  <a:pt x="11704" y="243"/>
                </a:lnTo>
                <a:lnTo>
                  <a:pt x="11217" y="462"/>
                </a:lnTo>
                <a:lnTo>
                  <a:pt x="10731" y="706"/>
                </a:lnTo>
                <a:lnTo>
                  <a:pt x="10268" y="949"/>
                </a:lnTo>
                <a:lnTo>
                  <a:pt x="9806" y="1241"/>
                </a:lnTo>
                <a:lnTo>
                  <a:pt x="9611" y="1363"/>
                </a:lnTo>
                <a:lnTo>
                  <a:pt x="9271" y="1582"/>
                </a:lnTo>
                <a:lnTo>
                  <a:pt x="8906" y="1874"/>
                </a:lnTo>
                <a:lnTo>
                  <a:pt x="8735" y="2044"/>
                </a:lnTo>
                <a:lnTo>
                  <a:pt x="8589" y="2190"/>
                </a:lnTo>
                <a:lnTo>
                  <a:pt x="8468" y="2044"/>
                </a:lnTo>
                <a:lnTo>
                  <a:pt x="8322" y="1922"/>
                </a:lnTo>
                <a:lnTo>
                  <a:pt x="7981" y="1630"/>
                </a:lnTo>
                <a:lnTo>
                  <a:pt x="7592" y="1363"/>
                </a:lnTo>
                <a:lnTo>
                  <a:pt x="7202" y="1119"/>
                </a:lnTo>
                <a:lnTo>
                  <a:pt x="6813" y="900"/>
                </a:lnTo>
                <a:lnTo>
                  <a:pt x="6472" y="706"/>
                </a:lnTo>
                <a:lnTo>
                  <a:pt x="5986" y="487"/>
                </a:lnTo>
                <a:lnTo>
                  <a:pt x="5645" y="341"/>
                </a:lnTo>
                <a:lnTo>
                  <a:pt x="5280" y="219"/>
                </a:lnTo>
                <a:lnTo>
                  <a:pt x="4915" y="122"/>
                </a:lnTo>
                <a:lnTo>
                  <a:pt x="4526" y="49"/>
                </a:lnTo>
                <a:lnTo>
                  <a:pt x="4137" y="0"/>
                </a:lnTo>
                <a:close/>
              </a:path>
            </a:pathLst>
          </a:custGeom>
          <a:solidFill>
            <a:srgbClr val="C0000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3" name="Google Shape;466;p40"/>
          <p:cNvSpPr/>
          <p:nvPr/>
        </p:nvSpPr>
        <p:spPr>
          <a:xfrm>
            <a:off x="10706320" y="485756"/>
            <a:ext cx="1261929" cy="1053708"/>
          </a:xfrm>
          <a:custGeom>
            <a:avLst/>
            <a:gdLst/>
            <a:ahLst/>
            <a:cxnLst/>
            <a:rect l="l" t="t" r="r" b="b"/>
            <a:pathLst>
              <a:path w="19978" h="12216" extrusionOk="0">
                <a:moveTo>
                  <a:pt x="8128" y="560"/>
                </a:moveTo>
                <a:lnTo>
                  <a:pt x="8517" y="609"/>
                </a:lnTo>
                <a:lnTo>
                  <a:pt x="8055" y="925"/>
                </a:lnTo>
                <a:lnTo>
                  <a:pt x="7617" y="1193"/>
                </a:lnTo>
                <a:lnTo>
                  <a:pt x="7422" y="1339"/>
                </a:lnTo>
                <a:lnTo>
                  <a:pt x="7325" y="1436"/>
                </a:lnTo>
                <a:lnTo>
                  <a:pt x="7252" y="1534"/>
                </a:lnTo>
                <a:lnTo>
                  <a:pt x="7252" y="1582"/>
                </a:lnTo>
                <a:lnTo>
                  <a:pt x="7252" y="1655"/>
                </a:lnTo>
                <a:lnTo>
                  <a:pt x="7300" y="1680"/>
                </a:lnTo>
                <a:lnTo>
                  <a:pt x="7349" y="1704"/>
                </a:lnTo>
                <a:lnTo>
                  <a:pt x="7471" y="1704"/>
                </a:lnTo>
                <a:lnTo>
                  <a:pt x="7592" y="1680"/>
                </a:lnTo>
                <a:lnTo>
                  <a:pt x="7836" y="1582"/>
                </a:lnTo>
                <a:lnTo>
                  <a:pt x="8055" y="1436"/>
                </a:lnTo>
                <a:lnTo>
                  <a:pt x="8274" y="1315"/>
                </a:lnTo>
                <a:lnTo>
                  <a:pt x="8711" y="1023"/>
                </a:lnTo>
                <a:lnTo>
                  <a:pt x="9149" y="731"/>
                </a:lnTo>
                <a:lnTo>
                  <a:pt x="9393" y="828"/>
                </a:lnTo>
                <a:lnTo>
                  <a:pt x="9660" y="925"/>
                </a:lnTo>
                <a:lnTo>
                  <a:pt x="9320" y="1071"/>
                </a:lnTo>
                <a:lnTo>
                  <a:pt x="9003" y="1217"/>
                </a:lnTo>
                <a:lnTo>
                  <a:pt x="8736" y="1339"/>
                </a:lnTo>
                <a:lnTo>
                  <a:pt x="8492" y="1509"/>
                </a:lnTo>
                <a:lnTo>
                  <a:pt x="8371" y="1607"/>
                </a:lnTo>
                <a:lnTo>
                  <a:pt x="8274" y="1728"/>
                </a:lnTo>
                <a:lnTo>
                  <a:pt x="8201" y="1850"/>
                </a:lnTo>
                <a:lnTo>
                  <a:pt x="8152" y="1996"/>
                </a:lnTo>
                <a:lnTo>
                  <a:pt x="8152" y="2045"/>
                </a:lnTo>
                <a:lnTo>
                  <a:pt x="8176" y="2045"/>
                </a:lnTo>
                <a:lnTo>
                  <a:pt x="8201" y="2069"/>
                </a:lnTo>
                <a:lnTo>
                  <a:pt x="8225" y="2069"/>
                </a:lnTo>
                <a:lnTo>
                  <a:pt x="8492" y="1947"/>
                </a:lnTo>
                <a:lnTo>
                  <a:pt x="8711" y="1801"/>
                </a:lnTo>
                <a:lnTo>
                  <a:pt x="8955" y="1680"/>
                </a:lnTo>
                <a:lnTo>
                  <a:pt x="9198" y="1558"/>
                </a:lnTo>
                <a:lnTo>
                  <a:pt x="9417" y="1485"/>
                </a:lnTo>
                <a:lnTo>
                  <a:pt x="9660" y="1412"/>
                </a:lnTo>
                <a:lnTo>
                  <a:pt x="9904" y="1339"/>
                </a:lnTo>
                <a:lnTo>
                  <a:pt x="10123" y="1266"/>
                </a:lnTo>
                <a:lnTo>
                  <a:pt x="10463" y="1558"/>
                </a:lnTo>
                <a:lnTo>
                  <a:pt x="10269" y="1582"/>
                </a:lnTo>
                <a:lnTo>
                  <a:pt x="10050" y="1631"/>
                </a:lnTo>
                <a:lnTo>
                  <a:pt x="9660" y="1777"/>
                </a:lnTo>
                <a:lnTo>
                  <a:pt x="9490" y="1874"/>
                </a:lnTo>
                <a:lnTo>
                  <a:pt x="9295" y="1947"/>
                </a:lnTo>
                <a:lnTo>
                  <a:pt x="9101" y="2045"/>
                </a:lnTo>
                <a:lnTo>
                  <a:pt x="8955" y="2191"/>
                </a:lnTo>
                <a:lnTo>
                  <a:pt x="8930" y="2239"/>
                </a:lnTo>
                <a:lnTo>
                  <a:pt x="8930" y="2264"/>
                </a:lnTo>
                <a:lnTo>
                  <a:pt x="8930" y="2337"/>
                </a:lnTo>
                <a:lnTo>
                  <a:pt x="9003" y="2410"/>
                </a:lnTo>
                <a:lnTo>
                  <a:pt x="9076" y="2410"/>
                </a:lnTo>
                <a:lnTo>
                  <a:pt x="9320" y="2361"/>
                </a:lnTo>
                <a:lnTo>
                  <a:pt x="9539" y="2288"/>
                </a:lnTo>
                <a:lnTo>
                  <a:pt x="9977" y="2093"/>
                </a:lnTo>
                <a:lnTo>
                  <a:pt x="10147" y="2045"/>
                </a:lnTo>
                <a:lnTo>
                  <a:pt x="10317" y="1947"/>
                </a:lnTo>
                <a:lnTo>
                  <a:pt x="10463" y="1850"/>
                </a:lnTo>
                <a:lnTo>
                  <a:pt x="10585" y="1704"/>
                </a:lnTo>
                <a:lnTo>
                  <a:pt x="10804" y="1972"/>
                </a:lnTo>
                <a:lnTo>
                  <a:pt x="10390" y="2191"/>
                </a:lnTo>
                <a:lnTo>
                  <a:pt x="10196" y="2288"/>
                </a:lnTo>
                <a:lnTo>
                  <a:pt x="10001" y="2385"/>
                </a:lnTo>
                <a:lnTo>
                  <a:pt x="9904" y="2434"/>
                </a:lnTo>
                <a:lnTo>
                  <a:pt x="9831" y="2507"/>
                </a:lnTo>
                <a:lnTo>
                  <a:pt x="9758" y="2604"/>
                </a:lnTo>
                <a:lnTo>
                  <a:pt x="9709" y="2702"/>
                </a:lnTo>
                <a:lnTo>
                  <a:pt x="9709" y="2726"/>
                </a:lnTo>
                <a:lnTo>
                  <a:pt x="9733" y="2750"/>
                </a:lnTo>
                <a:lnTo>
                  <a:pt x="9782" y="2775"/>
                </a:lnTo>
                <a:lnTo>
                  <a:pt x="10001" y="2775"/>
                </a:lnTo>
                <a:lnTo>
                  <a:pt x="10220" y="2702"/>
                </a:lnTo>
                <a:lnTo>
                  <a:pt x="10634" y="2507"/>
                </a:lnTo>
                <a:lnTo>
                  <a:pt x="10853" y="2434"/>
                </a:lnTo>
                <a:lnTo>
                  <a:pt x="11072" y="2361"/>
                </a:lnTo>
                <a:lnTo>
                  <a:pt x="11096" y="2361"/>
                </a:lnTo>
                <a:lnTo>
                  <a:pt x="11145" y="2458"/>
                </a:lnTo>
                <a:lnTo>
                  <a:pt x="10926" y="2556"/>
                </a:lnTo>
                <a:lnTo>
                  <a:pt x="10707" y="2677"/>
                </a:lnTo>
                <a:lnTo>
                  <a:pt x="10269" y="2945"/>
                </a:lnTo>
                <a:lnTo>
                  <a:pt x="10244" y="2994"/>
                </a:lnTo>
                <a:lnTo>
                  <a:pt x="10244" y="3042"/>
                </a:lnTo>
                <a:lnTo>
                  <a:pt x="10269" y="3067"/>
                </a:lnTo>
                <a:lnTo>
                  <a:pt x="10317" y="3091"/>
                </a:lnTo>
                <a:lnTo>
                  <a:pt x="10561" y="3067"/>
                </a:lnTo>
                <a:lnTo>
                  <a:pt x="10804" y="2994"/>
                </a:lnTo>
                <a:lnTo>
                  <a:pt x="11047" y="2896"/>
                </a:lnTo>
                <a:lnTo>
                  <a:pt x="11291" y="2775"/>
                </a:lnTo>
                <a:lnTo>
                  <a:pt x="11388" y="3091"/>
                </a:lnTo>
                <a:lnTo>
                  <a:pt x="11291" y="3091"/>
                </a:lnTo>
                <a:lnTo>
                  <a:pt x="11218" y="3115"/>
                </a:lnTo>
                <a:lnTo>
                  <a:pt x="11047" y="3164"/>
                </a:lnTo>
                <a:lnTo>
                  <a:pt x="10853" y="3286"/>
                </a:lnTo>
                <a:lnTo>
                  <a:pt x="10780" y="3334"/>
                </a:lnTo>
                <a:lnTo>
                  <a:pt x="10707" y="3432"/>
                </a:lnTo>
                <a:lnTo>
                  <a:pt x="10707" y="3505"/>
                </a:lnTo>
                <a:lnTo>
                  <a:pt x="10731" y="3553"/>
                </a:lnTo>
                <a:lnTo>
                  <a:pt x="10780" y="3602"/>
                </a:lnTo>
                <a:lnTo>
                  <a:pt x="10828" y="3602"/>
                </a:lnTo>
                <a:lnTo>
                  <a:pt x="10999" y="3553"/>
                </a:lnTo>
                <a:lnTo>
                  <a:pt x="11169" y="3505"/>
                </a:lnTo>
                <a:lnTo>
                  <a:pt x="11339" y="3456"/>
                </a:lnTo>
                <a:lnTo>
                  <a:pt x="11412" y="3432"/>
                </a:lnTo>
                <a:lnTo>
                  <a:pt x="11461" y="3383"/>
                </a:lnTo>
                <a:lnTo>
                  <a:pt x="11534" y="3602"/>
                </a:lnTo>
                <a:lnTo>
                  <a:pt x="11461" y="3626"/>
                </a:lnTo>
                <a:lnTo>
                  <a:pt x="11388" y="3675"/>
                </a:lnTo>
                <a:lnTo>
                  <a:pt x="11291" y="3724"/>
                </a:lnTo>
                <a:lnTo>
                  <a:pt x="11193" y="3772"/>
                </a:lnTo>
                <a:lnTo>
                  <a:pt x="11193" y="3821"/>
                </a:lnTo>
                <a:lnTo>
                  <a:pt x="11193" y="3845"/>
                </a:lnTo>
                <a:lnTo>
                  <a:pt x="11291" y="3894"/>
                </a:lnTo>
                <a:lnTo>
                  <a:pt x="11412" y="3943"/>
                </a:lnTo>
                <a:lnTo>
                  <a:pt x="11534" y="3943"/>
                </a:lnTo>
                <a:lnTo>
                  <a:pt x="11631" y="3894"/>
                </a:lnTo>
                <a:lnTo>
                  <a:pt x="11680" y="3967"/>
                </a:lnTo>
                <a:lnTo>
                  <a:pt x="11777" y="4016"/>
                </a:lnTo>
                <a:lnTo>
                  <a:pt x="11850" y="4040"/>
                </a:lnTo>
                <a:lnTo>
                  <a:pt x="11948" y="4040"/>
                </a:lnTo>
                <a:lnTo>
                  <a:pt x="12021" y="4016"/>
                </a:lnTo>
                <a:lnTo>
                  <a:pt x="12094" y="3967"/>
                </a:lnTo>
                <a:lnTo>
                  <a:pt x="12142" y="3894"/>
                </a:lnTo>
                <a:lnTo>
                  <a:pt x="12142" y="3797"/>
                </a:lnTo>
                <a:lnTo>
                  <a:pt x="12069" y="3359"/>
                </a:lnTo>
                <a:lnTo>
                  <a:pt x="11972" y="2945"/>
                </a:lnTo>
                <a:lnTo>
                  <a:pt x="12240" y="2726"/>
                </a:lnTo>
                <a:lnTo>
                  <a:pt x="12507" y="2531"/>
                </a:lnTo>
                <a:lnTo>
                  <a:pt x="12653" y="2458"/>
                </a:lnTo>
                <a:lnTo>
                  <a:pt x="12824" y="2410"/>
                </a:lnTo>
                <a:lnTo>
                  <a:pt x="12994" y="2361"/>
                </a:lnTo>
                <a:lnTo>
                  <a:pt x="13164" y="2337"/>
                </a:lnTo>
                <a:lnTo>
                  <a:pt x="13383" y="2337"/>
                </a:lnTo>
                <a:lnTo>
                  <a:pt x="13627" y="2385"/>
                </a:lnTo>
                <a:lnTo>
                  <a:pt x="13481" y="2458"/>
                </a:lnTo>
                <a:lnTo>
                  <a:pt x="13359" y="2556"/>
                </a:lnTo>
                <a:lnTo>
                  <a:pt x="13262" y="2702"/>
                </a:lnTo>
                <a:lnTo>
                  <a:pt x="13237" y="2775"/>
                </a:lnTo>
                <a:lnTo>
                  <a:pt x="13213" y="2848"/>
                </a:lnTo>
                <a:lnTo>
                  <a:pt x="13213" y="2896"/>
                </a:lnTo>
                <a:lnTo>
                  <a:pt x="13237" y="2921"/>
                </a:lnTo>
                <a:lnTo>
                  <a:pt x="13286" y="2945"/>
                </a:lnTo>
                <a:lnTo>
                  <a:pt x="13310" y="2921"/>
                </a:lnTo>
                <a:lnTo>
                  <a:pt x="13602" y="2750"/>
                </a:lnTo>
                <a:lnTo>
                  <a:pt x="13870" y="2604"/>
                </a:lnTo>
                <a:lnTo>
                  <a:pt x="14065" y="2507"/>
                </a:lnTo>
                <a:lnTo>
                  <a:pt x="14308" y="2629"/>
                </a:lnTo>
                <a:lnTo>
                  <a:pt x="14551" y="2750"/>
                </a:lnTo>
                <a:lnTo>
                  <a:pt x="14405" y="2775"/>
                </a:lnTo>
                <a:lnTo>
                  <a:pt x="14259" y="2823"/>
                </a:lnTo>
                <a:lnTo>
                  <a:pt x="14113" y="2872"/>
                </a:lnTo>
                <a:lnTo>
                  <a:pt x="13967" y="2945"/>
                </a:lnTo>
                <a:lnTo>
                  <a:pt x="13846" y="3018"/>
                </a:lnTo>
                <a:lnTo>
                  <a:pt x="13724" y="3115"/>
                </a:lnTo>
                <a:lnTo>
                  <a:pt x="13627" y="3213"/>
                </a:lnTo>
                <a:lnTo>
                  <a:pt x="13554" y="3310"/>
                </a:lnTo>
                <a:lnTo>
                  <a:pt x="13554" y="3359"/>
                </a:lnTo>
                <a:lnTo>
                  <a:pt x="13554" y="3407"/>
                </a:lnTo>
                <a:lnTo>
                  <a:pt x="13602" y="3456"/>
                </a:lnTo>
                <a:lnTo>
                  <a:pt x="13651" y="3480"/>
                </a:lnTo>
                <a:lnTo>
                  <a:pt x="13797" y="3456"/>
                </a:lnTo>
                <a:lnTo>
                  <a:pt x="13943" y="3407"/>
                </a:lnTo>
                <a:lnTo>
                  <a:pt x="14211" y="3286"/>
                </a:lnTo>
                <a:lnTo>
                  <a:pt x="14381" y="3237"/>
                </a:lnTo>
                <a:lnTo>
                  <a:pt x="14527" y="3188"/>
                </a:lnTo>
                <a:lnTo>
                  <a:pt x="14697" y="3140"/>
                </a:lnTo>
                <a:lnTo>
                  <a:pt x="14843" y="3091"/>
                </a:lnTo>
                <a:lnTo>
                  <a:pt x="14892" y="3067"/>
                </a:lnTo>
                <a:lnTo>
                  <a:pt x="14916" y="3018"/>
                </a:lnTo>
                <a:lnTo>
                  <a:pt x="15038" y="3140"/>
                </a:lnTo>
                <a:lnTo>
                  <a:pt x="14770" y="3213"/>
                </a:lnTo>
                <a:lnTo>
                  <a:pt x="14551" y="3261"/>
                </a:lnTo>
                <a:lnTo>
                  <a:pt x="14332" y="3359"/>
                </a:lnTo>
                <a:lnTo>
                  <a:pt x="14211" y="3432"/>
                </a:lnTo>
                <a:lnTo>
                  <a:pt x="14113" y="3505"/>
                </a:lnTo>
                <a:lnTo>
                  <a:pt x="14040" y="3578"/>
                </a:lnTo>
                <a:lnTo>
                  <a:pt x="13992" y="3675"/>
                </a:lnTo>
                <a:lnTo>
                  <a:pt x="13967" y="3748"/>
                </a:lnTo>
                <a:lnTo>
                  <a:pt x="13992" y="3821"/>
                </a:lnTo>
                <a:lnTo>
                  <a:pt x="14040" y="3845"/>
                </a:lnTo>
                <a:lnTo>
                  <a:pt x="14113" y="3845"/>
                </a:lnTo>
                <a:lnTo>
                  <a:pt x="14551" y="3724"/>
                </a:lnTo>
                <a:lnTo>
                  <a:pt x="14989" y="3602"/>
                </a:lnTo>
                <a:lnTo>
                  <a:pt x="15184" y="3578"/>
                </a:lnTo>
                <a:lnTo>
                  <a:pt x="15379" y="3505"/>
                </a:lnTo>
                <a:lnTo>
                  <a:pt x="15452" y="3602"/>
                </a:lnTo>
                <a:lnTo>
                  <a:pt x="15208" y="3675"/>
                </a:lnTo>
                <a:lnTo>
                  <a:pt x="15014" y="3748"/>
                </a:lnTo>
                <a:lnTo>
                  <a:pt x="14843" y="3845"/>
                </a:lnTo>
                <a:lnTo>
                  <a:pt x="14673" y="3967"/>
                </a:lnTo>
                <a:lnTo>
                  <a:pt x="14503" y="4089"/>
                </a:lnTo>
                <a:lnTo>
                  <a:pt x="14478" y="4113"/>
                </a:lnTo>
                <a:lnTo>
                  <a:pt x="14478" y="4162"/>
                </a:lnTo>
                <a:lnTo>
                  <a:pt x="14503" y="4210"/>
                </a:lnTo>
                <a:lnTo>
                  <a:pt x="14551" y="4259"/>
                </a:lnTo>
                <a:lnTo>
                  <a:pt x="14600" y="4259"/>
                </a:lnTo>
                <a:lnTo>
                  <a:pt x="15452" y="4016"/>
                </a:lnTo>
                <a:lnTo>
                  <a:pt x="15671" y="3967"/>
                </a:lnTo>
                <a:lnTo>
                  <a:pt x="15768" y="4186"/>
                </a:lnTo>
                <a:lnTo>
                  <a:pt x="15549" y="4259"/>
                </a:lnTo>
                <a:lnTo>
                  <a:pt x="15330" y="4332"/>
                </a:lnTo>
                <a:lnTo>
                  <a:pt x="15111" y="4429"/>
                </a:lnTo>
                <a:lnTo>
                  <a:pt x="14916" y="4551"/>
                </a:lnTo>
                <a:lnTo>
                  <a:pt x="14892" y="4600"/>
                </a:lnTo>
                <a:lnTo>
                  <a:pt x="14916" y="4648"/>
                </a:lnTo>
                <a:lnTo>
                  <a:pt x="14941" y="4697"/>
                </a:lnTo>
                <a:lnTo>
                  <a:pt x="15014" y="4697"/>
                </a:lnTo>
                <a:lnTo>
                  <a:pt x="15354" y="4624"/>
                </a:lnTo>
                <a:lnTo>
                  <a:pt x="15719" y="4551"/>
                </a:lnTo>
                <a:lnTo>
                  <a:pt x="15500" y="4648"/>
                </a:lnTo>
                <a:lnTo>
                  <a:pt x="15281" y="4746"/>
                </a:lnTo>
                <a:lnTo>
                  <a:pt x="15257" y="4770"/>
                </a:lnTo>
                <a:lnTo>
                  <a:pt x="15233" y="4819"/>
                </a:lnTo>
                <a:lnTo>
                  <a:pt x="15233" y="4867"/>
                </a:lnTo>
                <a:lnTo>
                  <a:pt x="15281" y="4940"/>
                </a:lnTo>
                <a:lnTo>
                  <a:pt x="15354" y="4940"/>
                </a:lnTo>
                <a:lnTo>
                  <a:pt x="15841" y="4867"/>
                </a:lnTo>
                <a:lnTo>
                  <a:pt x="15841" y="4989"/>
                </a:lnTo>
                <a:lnTo>
                  <a:pt x="15695" y="5013"/>
                </a:lnTo>
                <a:lnTo>
                  <a:pt x="15598" y="5038"/>
                </a:lnTo>
                <a:lnTo>
                  <a:pt x="15525" y="5086"/>
                </a:lnTo>
                <a:lnTo>
                  <a:pt x="15379" y="5208"/>
                </a:lnTo>
                <a:lnTo>
                  <a:pt x="15354" y="5281"/>
                </a:lnTo>
                <a:lnTo>
                  <a:pt x="15379" y="5330"/>
                </a:lnTo>
                <a:lnTo>
                  <a:pt x="15427" y="5378"/>
                </a:lnTo>
                <a:lnTo>
                  <a:pt x="15476" y="5378"/>
                </a:lnTo>
                <a:lnTo>
                  <a:pt x="15622" y="5354"/>
                </a:lnTo>
                <a:lnTo>
                  <a:pt x="15768" y="5378"/>
                </a:lnTo>
                <a:lnTo>
                  <a:pt x="15768" y="5427"/>
                </a:lnTo>
                <a:lnTo>
                  <a:pt x="15768" y="5524"/>
                </a:lnTo>
                <a:lnTo>
                  <a:pt x="15792" y="5622"/>
                </a:lnTo>
                <a:lnTo>
                  <a:pt x="15865" y="5695"/>
                </a:lnTo>
                <a:lnTo>
                  <a:pt x="15938" y="5768"/>
                </a:lnTo>
                <a:lnTo>
                  <a:pt x="16036" y="5792"/>
                </a:lnTo>
                <a:lnTo>
                  <a:pt x="16133" y="5792"/>
                </a:lnTo>
                <a:lnTo>
                  <a:pt x="16206" y="5768"/>
                </a:lnTo>
                <a:lnTo>
                  <a:pt x="16279" y="5695"/>
                </a:lnTo>
                <a:lnTo>
                  <a:pt x="16328" y="5695"/>
                </a:lnTo>
                <a:lnTo>
                  <a:pt x="16619" y="5622"/>
                </a:lnTo>
                <a:lnTo>
                  <a:pt x="16911" y="5597"/>
                </a:lnTo>
                <a:lnTo>
                  <a:pt x="17179" y="5597"/>
                </a:lnTo>
                <a:lnTo>
                  <a:pt x="17422" y="5646"/>
                </a:lnTo>
                <a:lnTo>
                  <a:pt x="17276" y="5695"/>
                </a:lnTo>
                <a:lnTo>
                  <a:pt x="17106" y="5768"/>
                </a:lnTo>
                <a:lnTo>
                  <a:pt x="16936" y="5865"/>
                </a:lnTo>
                <a:lnTo>
                  <a:pt x="16814" y="5987"/>
                </a:lnTo>
                <a:lnTo>
                  <a:pt x="16765" y="6060"/>
                </a:lnTo>
                <a:lnTo>
                  <a:pt x="16717" y="6133"/>
                </a:lnTo>
                <a:lnTo>
                  <a:pt x="16717" y="6206"/>
                </a:lnTo>
                <a:lnTo>
                  <a:pt x="16765" y="6279"/>
                </a:lnTo>
                <a:lnTo>
                  <a:pt x="16838" y="6303"/>
                </a:lnTo>
                <a:lnTo>
                  <a:pt x="16911" y="6279"/>
                </a:lnTo>
                <a:lnTo>
                  <a:pt x="17179" y="6157"/>
                </a:lnTo>
                <a:lnTo>
                  <a:pt x="17447" y="6060"/>
                </a:lnTo>
                <a:lnTo>
                  <a:pt x="17739" y="6011"/>
                </a:lnTo>
                <a:lnTo>
                  <a:pt x="17909" y="5962"/>
                </a:lnTo>
                <a:lnTo>
                  <a:pt x="18031" y="5914"/>
                </a:lnTo>
                <a:lnTo>
                  <a:pt x="18298" y="6133"/>
                </a:lnTo>
                <a:lnTo>
                  <a:pt x="18152" y="6181"/>
                </a:lnTo>
                <a:lnTo>
                  <a:pt x="17933" y="6254"/>
                </a:lnTo>
                <a:lnTo>
                  <a:pt x="17739" y="6352"/>
                </a:lnTo>
                <a:lnTo>
                  <a:pt x="17544" y="6473"/>
                </a:lnTo>
                <a:lnTo>
                  <a:pt x="17349" y="6595"/>
                </a:lnTo>
                <a:lnTo>
                  <a:pt x="17325" y="6668"/>
                </a:lnTo>
                <a:lnTo>
                  <a:pt x="17325" y="6741"/>
                </a:lnTo>
                <a:lnTo>
                  <a:pt x="17374" y="6790"/>
                </a:lnTo>
                <a:lnTo>
                  <a:pt x="17422" y="6814"/>
                </a:lnTo>
                <a:lnTo>
                  <a:pt x="17641" y="6765"/>
                </a:lnTo>
                <a:lnTo>
                  <a:pt x="17860" y="6717"/>
                </a:lnTo>
                <a:lnTo>
                  <a:pt x="18274" y="6595"/>
                </a:lnTo>
                <a:lnTo>
                  <a:pt x="18639" y="6473"/>
                </a:lnTo>
                <a:lnTo>
                  <a:pt x="18761" y="6644"/>
                </a:lnTo>
                <a:lnTo>
                  <a:pt x="18493" y="6717"/>
                </a:lnTo>
                <a:lnTo>
                  <a:pt x="18250" y="6814"/>
                </a:lnTo>
                <a:lnTo>
                  <a:pt x="18006" y="6960"/>
                </a:lnTo>
                <a:lnTo>
                  <a:pt x="17812" y="7130"/>
                </a:lnTo>
                <a:lnTo>
                  <a:pt x="17787" y="7155"/>
                </a:lnTo>
                <a:lnTo>
                  <a:pt x="17787" y="7179"/>
                </a:lnTo>
                <a:lnTo>
                  <a:pt x="17812" y="7252"/>
                </a:lnTo>
                <a:lnTo>
                  <a:pt x="17860" y="7276"/>
                </a:lnTo>
                <a:lnTo>
                  <a:pt x="17933" y="7276"/>
                </a:lnTo>
                <a:lnTo>
                  <a:pt x="18177" y="7179"/>
                </a:lnTo>
                <a:lnTo>
                  <a:pt x="18444" y="7130"/>
                </a:lnTo>
                <a:lnTo>
                  <a:pt x="18955" y="7033"/>
                </a:lnTo>
                <a:lnTo>
                  <a:pt x="19004" y="7106"/>
                </a:lnTo>
                <a:lnTo>
                  <a:pt x="18785" y="7155"/>
                </a:lnTo>
                <a:lnTo>
                  <a:pt x="18566" y="7203"/>
                </a:lnTo>
                <a:lnTo>
                  <a:pt x="18371" y="7301"/>
                </a:lnTo>
                <a:lnTo>
                  <a:pt x="18177" y="7398"/>
                </a:lnTo>
                <a:lnTo>
                  <a:pt x="18177" y="7447"/>
                </a:lnTo>
                <a:lnTo>
                  <a:pt x="18177" y="7471"/>
                </a:lnTo>
                <a:lnTo>
                  <a:pt x="18201" y="7471"/>
                </a:lnTo>
                <a:lnTo>
                  <a:pt x="18396" y="7495"/>
                </a:lnTo>
                <a:lnTo>
                  <a:pt x="18590" y="7495"/>
                </a:lnTo>
                <a:lnTo>
                  <a:pt x="18955" y="7447"/>
                </a:lnTo>
                <a:lnTo>
                  <a:pt x="19126" y="7422"/>
                </a:lnTo>
                <a:lnTo>
                  <a:pt x="19174" y="7544"/>
                </a:lnTo>
                <a:lnTo>
                  <a:pt x="18980" y="7568"/>
                </a:lnTo>
                <a:lnTo>
                  <a:pt x="18761" y="7617"/>
                </a:lnTo>
                <a:lnTo>
                  <a:pt x="18444" y="7714"/>
                </a:lnTo>
                <a:lnTo>
                  <a:pt x="18396" y="7763"/>
                </a:lnTo>
                <a:lnTo>
                  <a:pt x="18371" y="7836"/>
                </a:lnTo>
                <a:lnTo>
                  <a:pt x="18371" y="7909"/>
                </a:lnTo>
                <a:lnTo>
                  <a:pt x="18396" y="7933"/>
                </a:lnTo>
                <a:lnTo>
                  <a:pt x="18444" y="7957"/>
                </a:lnTo>
                <a:lnTo>
                  <a:pt x="18809" y="7982"/>
                </a:lnTo>
                <a:lnTo>
                  <a:pt x="19296" y="7982"/>
                </a:lnTo>
                <a:lnTo>
                  <a:pt x="19320" y="8201"/>
                </a:lnTo>
                <a:lnTo>
                  <a:pt x="19272" y="8201"/>
                </a:lnTo>
                <a:lnTo>
                  <a:pt x="19101" y="8176"/>
                </a:lnTo>
                <a:lnTo>
                  <a:pt x="18907" y="8201"/>
                </a:lnTo>
                <a:lnTo>
                  <a:pt x="18736" y="8225"/>
                </a:lnTo>
                <a:lnTo>
                  <a:pt x="18566" y="8274"/>
                </a:lnTo>
                <a:lnTo>
                  <a:pt x="18542" y="8298"/>
                </a:lnTo>
                <a:lnTo>
                  <a:pt x="18517" y="8322"/>
                </a:lnTo>
                <a:lnTo>
                  <a:pt x="18493" y="8420"/>
                </a:lnTo>
                <a:lnTo>
                  <a:pt x="18542" y="8468"/>
                </a:lnTo>
                <a:lnTo>
                  <a:pt x="18566" y="8493"/>
                </a:lnTo>
                <a:lnTo>
                  <a:pt x="18907" y="8493"/>
                </a:lnTo>
                <a:lnTo>
                  <a:pt x="19223" y="8517"/>
                </a:lnTo>
                <a:lnTo>
                  <a:pt x="19345" y="8541"/>
                </a:lnTo>
                <a:lnTo>
                  <a:pt x="19345" y="8833"/>
                </a:lnTo>
                <a:lnTo>
                  <a:pt x="19199" y="8785"/>
                </a:lnTo>
                <a:lnTo>
                  <a:pt x="18882" y="8785"/>
                </a:lnTo>
                <a:lnTo>
                  <a:pt x="18736" y="8809"/>
                </a:lnTo>
                <a:lnTo>
                  <a:pt x="18688" y="8833"/>
                </a:lnTo>
                <a:lnTo>
                  <a:pt x="18663" y="8858"/>
                </a:lnTo>
                <a:lnTo>
                  <a:pt x="18663" y="8931"/>
                </a:lnTo>
                <a:lnTo>
                  <a:pt x="18688" y="9004"/>
                </a:lnTo>
                <a:lnTo>
                  <a:pt x="18712" y="9004"/>
                </a:lnTo>
                <a:lnTo>
                  <a:pt x="18761" y="9028"/>
                </a:lnTo>
                <a:lnTo>
                  <a:pt x="18882" y="9028"/>
                </a:lnTo>
                <a:lnTo>
                  <a:pt x="19028" y="9077"/>
                </a:lnTo>
                <a:lnTo>
                  <a:pt x="19150" y="9125"/>
                </a:lnTo>
                <a:lnTo>
                  <a:pt x="19296" y="9174"/>
                </a:lnTo>
                <a:lnTo>
                  <a:pt x="19199" y="9466"/>
                </a:lnTo>
                <a:lnTo>
                  <a:pt x="18980" y="9417"/>
                </a:lnTo>
                <a:lnTo>
                  <a:pt x="18736" y="9417"/>
                </a:lnTo>
                <a:lnTo>
                  <a:pt x="18688" y="9442"/>
                </a:lnTo>
                <a:lnTo>
                  <a:pt x="18663" y="9466"/>
                </a:lnTo>
                <a:lnTo>
                  <a:pt x="18663" y="9515"/>
                </a:lnTo>
                <a:lnTo>
                  <a:pt x="18663" y="9563"/>
                </a:lnTo>
                <a:lnTo>
                  <a:pt x="18663" y="9612"/>
                </a:lnTo>
                <a:lnTo>
                  <a:pt x="18712" y="9636"/>
                </a:lnTo>
                <a:lnTo>
                  <a:pt x="18736" y="9661"/>
                </a:lnTo>
                <a:lnTo>
                  <a:pt x="18907" y="9709"/>
                </a:lnTo>
                <a:lnTo>
                  <a:pt x="19053" y="9758"/>
                </a:lnTo>
                <a:lnTo>
                  <a:pt x="18955" y="9928"/>
                </a:lnTo>
                <a:lnTo>
                  <a:pt x="18834" y="10099"/>
                </a:lnTo>
                <a:lnTo>
                  <a:pt x="18663" y="10074"/>
                </a:lnTo>
                <a:lnTo>
                  <a:pt x="18444" y="10074"/>
                </a:lnTo>
                <a:lnTo>
                  <a:pt x="18420" y="10099"/>
                </a:lnTo>
                <a:lnTo>
                  <a:pt x="18396" y="10172"/>
                </a:lnTo>
                <a:lnTo>
                  <a:pt x="18420" y="10220"/>
                </a:lnTo>
                <a:lnTo>
                  <a:pt x="18444" y="10245"/>
                </a:lnTo>
                <a:lnTo>
                  <a:pt x="18493" y="10245"/>
                </a:lnTo>
                <a:lnTo>
                  <a:pt x="18663" y="10269"/>
                </a:lnTo>
                <a:lnTo>
                  <a:pt x="18542" y="10391"/>
                </a:lnTo>
                <a:lnTo>
                  <a:pt x="18371" y="10512"/>
                </a:lnTo>
                <a:lnTo>
                  <a:pt x="18274" y="10464"/>
                </a:lnTo>
                <a:lnTo>
                  <a:pt x="18225" y="10439"/>
                </a:lnTo>
                <a:lnTo>
                  <a:pt x="18152" y="10439"/>
                </a:lnTo>
                <a:lnTo>
                  <a:pt x="18104" y="10488"/>
                </a:lnTo>
                <a:lnTo>
                  <a:pt x="18079" y="10537"/>
                </a:lnTo>
                <a:lnTo>
                  <a:pt x="18079" y="10610"/>
                </a:lnTo>
                <a:lnTo>
                  <a:pt x="18104" y="10658"/>
                </a:lnTo>
                <a:lnTo>
                  <a:pt x="17739" y="10829"/>
                </a:lnTo>
                <a:lnTo>
                  <a:pt x="17349" y="10950"/>
                </a:lnTo>
                <a:lnTo>
                  <a:pt x="16960" y="11023"/>
                </a:lnTo>
                <a:lnTo>
                  <a:pt x="16546" y="11096"/>
                </a:lnTo>
                <a:lnTo>
                  <a:pt x="16133" y="11121"/>
                </a:lnTo>
                <a:lnTo>
                  <a:pt x="15719" y="11145"/>
                </a:lnTo>
                <a:lnTo>
                  <a:pt x="14916" y="11169"/>
                </a:lnTo>
                <a:lnTo>
                  <a:pt x="13140" y="11194"/>
                </a:lnTo>
                <a:lnTo>
                  <a:pt x="12264" y="11242"/>
                </a:lnTo>
                <a:lnTo>
                  <a:pt x="11364" y="11340"/>
                </a:lnTo>
                <a:lnTo>
                  <a:pt x="10244" y="11461"/>
                </a:lnTo>
                <a:lnTo>
                  <a:pt x="9125" y="11559"/>
                </a:lnTo>
                <a:lnTo>
                  <a:pt x="8565" y="11583"/>
                </a:lnTo>
                <a:lnTo>
                  <a:pt x="8006" y="11583"/>
                </a:lnTo>
                <a:lnTo>
                  <a:pt x="7446" y="11559"/>
                </a:lnTo>
                <a:lnTo>
                  <a:pt x="6862" y="11510"/>
                </a:lnTo>
                <a:lnTo>
                  <a:pt x="5086" y="11364"/>
                </a:lnTo>
                <a:lnTo>
                  <a:pt x="4210" y="11242"/>
                </a:lnTo>
                <a:lnTo>
                  <a:pt x="3772" y="11169"/>
                </a:lnTo>
                <a:lnTo>
                  <a:pt x="3334" y="11072"/>
                </a:lnTo>
                <a:lnTo>
                  <a:pt x="2993" y="10999"/>
                </a:lnTo>
                <a:lnTo>
                  <a:pt x="2653" y="10877"/>
                </a:lnTo>
                <a:lnTo>
                  <a:pt x="2336" y="10756"/>
                </a:lnTo>
                <a:lnTo>
                  <a:pt x="2020" y="10610"/>
                </a:lnTo>
                <a:lnTo>
                  <a:pt x="1704" y="10439"/>
                </a:lnTo>
                <a:lnTo>
                  <a:pt x="1436" y="10245"/>
                </a:lnTo>
                <a:lnTo>
                  <a:pt x="1168" y="10001"/>
                </a:lnTo>
                <a:lnTo>
                  <a:pt x="949" y="9734"/>
                </a:lnTo>
                <a:lnTo>
                  <a:pt x="852" y="9588"/>
                </a:lnTo>
                <a:lnTo>
                  <a:pt x="779" y="9417"/>
                </a:lnTo>
                <a:lnTo>
                  <a:pt x="706" y="9271"/>
                </a:lnTo>
                <a:lnTo>
                  <a:pt x="657" y="9101"/>
                </a:lnTo>
                <a:lnTo>
                  <a:pt x="633" y="8931"/>
                </a:lnTo>
                <a:lnTo>
                  <a:pt x="609" y="8760"/>
                </a:lnTo>
                <a:lnTo>
                  <a:pt x="633" y="8420"/>
                </a:lnTo>
                <a:lnTo>
                  <a:pt x="682" y="8103"/>
                </a:lnTo>
                <a:lnTo>
                  <a:pt x="803" y="7763"/>
                </a:lnTo>
                <a:lnTo>
                  <a:pt x="949" y="7447"/>
                </a:lnTo>
                <a:lnTo>
                  <a:pt x="1120" y="7155"/>
                </a:lnTo>
                <a:lnTo>
                  <a:pt x="1387" y="6814"/>
                </a:lnTo>
                <a:lnTo>
                  <a:pt x="1679" y="6498"/>
                </a:lnTo>
                <a:lnTo>
                  <a:pt x="1996" y="6230"/>
                </a:lnTo>
                <a:lnTo>
                  <a:pt x="2336" y="5962"/>
                </a:lnTo>
                <a:lnTo>
                  <a:pt x="2336" y="5962"/>
                </a:lnTo>
                <a:lnTo>
                  <a:pt x="2117" y="6279"/>
                </a:lnTo>
                <a:lnTo>
                  <a:pt x="1898" y="6571"/>
                </a:lnTo>
                <a:lnTo>
                  <a:pt x="1874" y="6644"/>
                </a:lnTo>
                <a:lnTo>
                  <a:pt x="1898" y="6717"/>
                </a:lnTo>
                <a:lnTo>
                  <a:pt x="1947" y="6765"/>
                </a:lnTo>
                <a:lnTo>
                  <a:pt x="2044" y="6765"/>
                </a:lnTo>
                <a:lnTo>
                  <a:pt x="2117" y="6741"/>
                </a:lnTo>
                <a:lnTo>
                  <a:pt x="2190" y="6692"/>
                </a:lnTo>
                <a:lnTo>
                  <a:pt x="2336" y="6595"/>
                </a:lnTo>
                <a:lnTo>
                  <a:pt x="2458" y="6449"/>
                </a:lnTo>
                <a:lnTo>
                  <a:pt x="2555" y="6303"/>
                </a:lnTo>
                <a:lnTo>
                  <a:pt x="2847" y="5987"/>
                </a:lnTo>
                <a:lnTo>
                  <a:pt x="3164" y="5695"/>
                </a:lnTo>
                <a:lnTo>
                  <a:pt x="3188" y="5646"/>
                </a:lnTo>
                <a:lnTo>
                  <a:pt x="3212" y="5646"/>
                </a:lnTo>
                <a:lnTo>
                  <a:pt x="3091" y="5792"/>
                </a:lnTo>
                <a:lnTo>
                  <a:pt x="2847" y="6133"/>
                </a:lnTo>
                <a:lnTo>
                  <a:pt x="2774" y="6303"/>
                </a:lnTo>
                <a:lnTo>
                  <a:pt x="2677" y="6498"/>
                </a:lnTo>
                <a:lnTo>
                  <a:pt x="2677" y="6546"/>
                </a:lnTo>
                <a:lnTo>
                  <a:pt x="2726" y="6546"/>
                </a:lnTo>
                <a:lnTo>
                  <a:pt x="2896" y="6449"/>
                </a:lnTo>
                <a:lnTo>
                  <a:pt x="3066" y="6327"/>
                </a:lnTo>
                <a:lnTo>
                  <a:pt x="3212" y="6206"/>
                </a:lnTo>
                <a:lnTo>
                  <a:pt x="3334" y="6035"/>
                </a:lnTo>
                <a:lnTo>
                  <a:pt x="3480" y="5889"/>
                </a:lnTo>
                <a:lnTo>
                  <a:pt x="3626" y="5695"/>
                </a:lnTo>
                <a:lnTo>
                  <a:pt x="3650" y="5719"/>
                </a:lnTo>
                <a:lnTo>
                  <a:pt x="3699" y="5816"/>
                </a:lnTo>
                <a:lnTo>
                  <a:pt x="3577" y="5938"/>
                </a:lnTo>
                <a:lnTo>
                  <a:pt x="3456" y="6108"/>
                </a:lnTo>
                <a:lnTo>
                  <a:pt x="3407" y="6230"/>
                </a:lnTo>
                <a:lnTo>
                  <a:pt x="3407" y="6327"/>
                </a:lnTo>
                <a:lnTo>
                  <a:pt x="3407" y="6352"/>
                </a:lnTo>
                <a:lnTo>
                  <a:pt x="3456" y="6376"/>
                </a:lnTo>
                <a:lnTo>
                  <a:pt x="3529" y="6376"/>
                </a:lnTo>
                <a:lnTo>
                  <a:pt x="3626" y="6327"/>
                </a:lnTo>
                <a:lnTo>
                  <a:pt x="3772" y="6206"/>
                </a:lnTo>
                <a:lnTo>
                  <a:pt x="3869" y="6108"/>
                </a:lnTo>
                <a:lnTo>
                  <a:pt x="3967" y="6157"/>
                </a:lnTo>
                <a:lnTo>
                  <a:pt x="4064" y="6181"/>
                </a:lnTo>
                <a:lnTo>
                  <a:pt x="4186" y="6157"/>
                </a:lnTo>
                <a:lnTo>
                  <a:pt x="4283" y="6084"/>
                </a:lnTo>
                <a:lnTo>
                  <a:pt x="4307" y="6035"/>
                </a:lnTo>
                <a:lnTo>
                  <a:pt x="4307" y="5987"/>
                </a:lnTo>
                <a:lnTo>
                  <a:pt x="4137" y="5719"/>
                </a:lnTo>
                <a:lnTo>
                  <a:pt x="4015" y="5403"/>
                </a:lnTo>
                <a:lnTo>
                  <a:pt x="3918" y="5062"/>
                </a:lnTo>
                <a:lnTo>
                  <a:pt x="3845" y="4697"/>
                </a:lnTo>
                <a:lnTo>
                  <a:pt x="3821" y="4356"/>
                </a:lnTo>
                <a:lnTo>
                  <a:pt x="3821" y="3991"/>
                </a:lnTo>
                <a:lnTo>
                  <a:pt x="3845" y="3651"/>
                </a:lnTo>
                <a:lnTo>
                  <a:pt x="3894" y="3334"/>
                </a:lnTo>
                <a:lnTo>
                  <a:pt x="3942" y="3115"/>
                </a:lnTo>
                <a:lnTo>
                  <a:pt x="4015" y="2896"/>
                </a:lnTo>
                <a:lnTo>
                  <a:pt x="4113" y="2677"/>
                </a:lnTo>
                <a:lnTo>
                  <a:pt x="4210" y="2483"/>
                </a:lnTo>
                <a:lnTo>
                  <a:pt x="4332" y="2288"/>
                </a:lnTo>
                <a:lnTo>
                  <a:pt x="4478" y="2093"/>
                </a:lnTo>
                <a:lnTo>
                  <a:pt x="4599" y="1923"/>
                </a:lnTo>
                <a:lnTo>
                  <a:pt x="4770" y="1753"/>
                </a:lnTo>
                <a:lnTo>
                  <a:pt x="5110" y="1461"/>
                </a:lnTo>
                <a:lnTo>
                  <a:pt x="5475" y="1193"/>
                </a:lnTo>
                <a:lnTo>
                  <a:pt x="5865" y="974"/>
                </a:lnTo>
                <a:lnTo>
                  <a:pt x="6303" y="828"/>
                </a:lnTo>
                <a:lnTo>
                  <a:pt x="6716" y="706"/>
                </a:lnTo>
                <a:lnTo>
                  <a:pt x="7179" y="633"/>
                </a:lnTo>
                <a:lnTo>
                  <a:pt x="7008" y="731"/>
                </a:lnTo>
                <a:lnTo>
                  <a:pt x="6789" y="852"/>
                </a:lnTo>
                <a:lnTo>
                  <a:pt x="6546" y="998"/>
                </a:lnTo>
                <a:lnTo>
                  <a:pt x="6424" y="1071"/>
                </a:lnTo>
                <a:lnTo>
                  <a:pt x="6327" y="1169"/>
                </a:lnTo>
                <a:lnTo>
                  <a:pt x="6278" y="1266"/>
                </a:lnTo>
                <a:lnTo>
                  <a:pt x="6230" y="1363"/>
                </a:lnTo>
                <a:lnTo>
                  <a:pt x="6254" y="1412"/>
                </a:lnTo>
                <a:lnTo>
                  <a:pt x="6303" y="1461"/>
                </a:lnTo>
                <a:lnTo>
                  <a:pt x="6400" y="1485"/>
                </a:lnTo>
                <a:lnTo>
                  <a:pt x="6522" y="1461"/>
                </a:lnTo>
                <a:lnTo>
                  <a:pt x="6643" y="1436"/>
                </a:lnTo>
                <a:lnTo>
                  <a:pt x="6765" y="1363"/>
                </a:lnTo>
                <a:lnTo>
                  <a:pt x="7033" y="1217"/>
                </a:lnTo>
                <a:lnTo>
                  <a:pt x="7203" y="1096"/>
                </a:lnTo>
                <a:lnTo>
                  <a:pt x="7811" y="779"/>
                </a:lnTo>
                <a:lnTo>
                  <a:pt x="7982" y="682"/>
                </a:lnTo>
                <a:lnTo>
                  <a:pt x="8055" y="633"/>
                </a:lnTo>
                <a:lnTo>
                  <a:pt x="8128" y="560"/>
                </a:lnTo>
                <a:close/>
                <a:moveTo>
                  <a:pt x="7933" y="1"/>
                </a:moveTo>
                <a:lnTo>
                  <a:pt x="7349" y="49"/>
                </a:lnTo>
                <a:lnTo>
                  <a:pt x="6789" y="147"/>
                </a:lnTo>
                <a:lnTo>
                  <a:pt x="6254" y="268"/>
                </a:lnTo>
                <a:lnTo>
                  <a:pt x="5767" y="439"/>
                </a:lnTo>
                <a:lnTo>
                  <a:pt x="5524" y="536"/>
                </a:lnTo>
                <a:lnTo>
                  <a:pt x="5281" y="658"/>
                </a:lnTo>
                <a:lnTo>
                  <a:pt x="5062" y="804"/>
                </a:lnTo>
                <a:lnTo>
                  <a:pt x="4843" y="950"/>
                </a:lnTo>
                <a:lnTo>
                  <a:pt x="4624" y="1120"/>
                </a:lnTo>
                <a:lnTo>
                  <a:pt x="4429" y="1315"/>
                </a:lnTo>
                <a:lnTo>
                  <a:pt x="4259" y="1509"/>
                </a:lnTo>
                <a:lnTo>
                  <a:pt x="4088" y="1728"/>
                </a:lnTo>
                <a:lnTo>
                  <a:pt x="3942" y="1947"/>
                </a:lnTo>
                <a:lnTo>
                  <a:pt x="3796" y="2166"/>
                </a:lnTo>
                <a:lnTo>
                  <a:pt x="3675" y="2410"/>
                </a:lnTo>
                <a:lnTo>
                  <a:pt x="3577" y="2653"/>
                </a:lnTo>
                <a:lnTo>
                  <a:pt x="3480" y="2896"/>
                </a:lnTo>
                <a:lnTo>
                  <a:pt x="3407" y="3164"/>
                </a:lnTo>
                <a:lnTo>
                  <a:pt x="3358" y="3407"/>
                </a:lnTo>
                <a:lnTo>
                  <a:pt x="3310" y="3675"/>
                </a:lnTo>
                <a:lnTo>
                  <a:pt x="3310" y="3870"/>
                </a:lnTo>
                <a:lnTo>
                  <a:pt x="3334" y="4210"/>
                </a:lnTo>
                <a:lnTo>
                  <a:pt x="3383" y="4624"/>
                </a:lnTo>
                <a:lnTo>
                  <a:pt x="3480" y="5086"/>
                </a:lnTo>
                <a:lnTo>
                  <a:pt x="3285" y="5086"/>
                </a:lnTo>
                <a:lnTo>
                  <a:pt x="3115" y="5111"/>
                </a:lnTo>
                <a:lnTo>
                  <a:pt x="2726" y="5184"/>
                </a:lnTo>
                <a:lnTo>
                  <a:pt x="2409" y="5305"/>
                </a:lnTo>
                <a:lnTo>
                  <a:pt x="2166" y="5427"/>
                </a:lnTo>
                <a:lnTo>
                  <a:pt x="1825" y="5622"/>
                </a:lnTo>
                <a:lnTo>
                  <a:pt x="1485" y="5889"/>
                </a:lnTo>
                <a:lnTo>
                  <a:pt x="1193" y="6157"/>
                </a:lnTo>
                <a:lnTo>
                  <a:pt x="901" y="6473"/>
                </a:lnTo>
                <a:lnTo>
                  <a:pt x="657" y="6814"/>
                </a:lnTo>
                <a:lnTo>
                  <a:pt x="439" y="7179"/>
                </a:lnTo>
                <a:lnTo>
                  <a:pt x="268" y="7544"/>
                </a:lnTo>
                <a:lnTo>
                  <a:pt x="122" y="7909"/>
                </a:lnTo>
                <a:lnTo>
                  <a:pt x="25" y="8274"/>
                </a:lnTo>
                <a:lnTo>
                  <a:pt x="1" y="8614"/>
                </a:lnTo>
                <a:lnTo>
                  <a:pt x="1" y="8931"/>
                </a:lnTo>
                <a:lnTo>
                  <a:pt x="74" y="9247"/>
                </a:lnTo>
                <a:lnTo>
                  <a:pt x="171" y="9539"/>
                </a:lnTo>
                <a:lnTo>
                  <a:pt x="293" y="9807"/>
                </a:lnTo>
                <a:lnTo>
                  <a:pt x="487" y="10074"/>
                </a:lnTo>
                <a:lnTo>
                  <a:pt x="682" y="10318"/>
                </a:lnTo>
                <a:lnTo>
                  <a:pt x="925" y="10561"/>
                </a:lnTo>
                <a:lnTo>
                  <a:pt x="1168" y="10756"/>
                </a:lnTo>
                <a:lnTo>
                  <a:pt x="1436" y="10950"/>
                </a:lnTo>
                <a:lnTo>
                  <a:pt x="1728" y="11121"/>
                </a:lnTo>
                <a:lnTo>
                  <a:pt x="2020" y="11267"/>
                </a:lnTo>
                <a:lnTo>
                  <a:pt x="2336" y="11413"/>
                </a:lnTo>
                <a:lnTo>
                  <a:pt x="2628" y="11534"/>
                </a:lnTo>
                <a:lnTo>
                  <a:pt x="2945" y="11632"/>
                </a:lnTo>
                <a:lnTo>
                  <a:pt x="3334" y="11729"/>
                </a:lnTo>
                <a:lnTo>
                  <a:pt x="3723" y="11802"/>
                </a:lnTo>
                <a:lnTo>
                  <a:pt x="4526" y="11924"/>
                </a:lnTo>
                <a:lnTo>
                  <a:pt x="6132" y="12070"/>
                </a:lnTo>
                <a:lnTo>
                  <a:pt x="7276" y="12167"/>
                </a:lnTo>
                <a:lnTo>
                  <a:pt x="7836" y="12191"/>
                </a:lnTo>
                <a:lnTo>
                  <a:pt x="8395" y="12216"/>
                </a:lnTo>
                <a:lnTo>
                  <a:pt x="8955" y="12191"/>
                </a:lnTo>
                <a:lnTo>
                  <a:pt x="9514" y="12167"/>
                </a:lnTo>
                <a:lnTo>
                  <a:pt x="10098" y="12118"/>
                </a:lnTo>
                <a:lnTo>
                  <a:pt x="10658" y="12070"/>
                </a:lnTo>
                <a:lnTo>
                  <a:pt x="11583" y="11948"/>
                </a:lnTo>
                <a:lnTo>
                  <a:pt x="12507" y="11875"/>
                </a:lnTo>
                <a:lnTo>
                  <a:pt x="13432" y="11826"/>
                </a:lnTo>
                <a:lnTo>
                  <a:pt x="14357" y="11802"/>
                </a:lnTo>
                <a:lnTo>
                  <a:pt x="15208" y="11802"/>
                </a:lnTo>
                <a:lnTo>
                  <a:pt x="16060" y="11753"/>
                </a:lnTo>
                <a:lnTo>
                  <a:pt x="16498" y="11729"/>
                </a:lnTo>
                <a:lnTo>
                  <a:pt x="16911" y="11656"/>
                </a:lnTo>
                <a:lnTo>
                  <a:pt x="17325" y="11583"/>
                </a:lnTo>
                <a:lnTo>
                  <a:pt x="17739" y="11486"/>
                </a:lnTo>
                <a:lnTo>
                  <a:pt x="18079" y="11364"/>
                </a:lnTo>
                <a:lnTo>
                  <a:pt x="18396" y="11218"/>
                </a:lnTo>
                <a:lnTo>
                  <a:pt x="18688" y="11048"/>
                </a:lnTo>
                <a:lnTo>
                  <a:pt x="18931" y="10853"/>
                </a:lnTo>
                <a:lnTo>
                  <a:pt x="19174" y="10634"/>
                </a:lnTo>
                <a:lnTo>
                  <a:pt x="19369" y="10415"/>
                </a:lnTo>
                <a:lnTo>
                  <a:pt x="19539" y="10147"/>
                </a:lnTo>
                <a:lnTo>
                  <a:pt x="19685" y="9880"/>
                </a:lnTo>
                <a:lnTo>
                  <a:pt x="19807" y="9588"/>
                </a:lnTo>
                <a:lnTo>
                  <a:pt x="19904" y="9296"/>
                </a:lnTo>
                <a:lnTo>
                  <a:pt x="19953" y="8979"/>
                </a:lnTo>
                <a:lnTo>
                  <a:pt x="19977" y="8663"/>
                </a:lnTo>
                <a:lnTo>
                  <a:pt x="19977" y="8322"/>
                </a:lnTo>
                <a:lnTo>
                  <a:pt x="19953" y="8006"/>
                </a:lnTo>
                <a:lnTo>
                  <a:pt x="19880" y="7665"/>
                </a:lnTo>
                <a:lnTo>
                  <a:pt x="19783" y="7325"/>
                </a:lnTo>
                <a:lnTo>
                  <a:pt x="19710" y="7057"/>
                </a:lnTo>
                <a:lnTo>
                  <a:pt x="19588" y="6790"/>
                </a:lnTo>
                <a:lnTo>
                  <a:pt x="19442" y="6546"/>
                </a:lnTo>
                <a:lnTo>
                  <a:pt x="19296" y="6303"/>
                </a:lnTo>
                <a:lnTo>
                  <a:pt x="19126" y="6060"/>
                </a:lnTo>
                <a:lnTo>
                  <a:pt x="18955" y="5865"/>
                </a:lnTo>
                <a:lnTo>
                  <a:pt x="18761" y="5670"/>
                </a:lnTo>
                <a:lnTo>
                  <a:pt x="18542" y="5476"/>
                </a:lnTo>
                <a:lnTo>
                  <a:pt x="18323" y="5330"/>
                </a:lnTo>
                <a:lnTo>
                  <a:pt x="18104" y="5208"/>
                </a:lnTo>
                <a:lnTo>
                  <a:pt x="17860" y="5086"/>
                </a:lnTo>
                <a:lnTo>
                  <a:pt x="17593" y="5013"/>
                </a:lnTo>
                <a:lnTo>
                  <a:pt x="17325" y="4965"/>
                </a:lnTo>
                <a:lnTo>
                  <a:pt x="17057" y="4940"/>
                </a:lnTo>
                <a:lnTo>
                  <a:pt x="16790" y="4965"/>
                </a:lnTo>
                <a:lnTo>
                  <a:pt x="16522" y="5013"/>
                </a:lnTo>
                <a:lnTo>
                  <a:pt x="16522" y="4794"/>
                </a:lnTo>
                <a:lnTo>
                  <a:pt x="16522" y="4600"/>
                </a:lnTo>
                <a:lnTo>
                  <a:pt x="16473" y="4381"/>
                </a:lnTo>
                <a:lnTo>
                  <a:pt x="16425" y="4186"/>
                </a:lnTo>
                <a:lnTo>
                  <a:pt x="16352" y="3991"/>
                </a:lnTo>
                <a:lnTo>
                  <a:pt x="16279" y="3797"/>
                </a:lnTo>
                <a:lnTo>
                  <a:pt x="16182" y="3602"/>
                </a:lnTo>
                <a:lnTo>
                  <a:pt x="16060" y="3407"/>
                </a:lnTo>
                <a:lnTo>
                  <a:pt x="15792" y="3067"/>
                </a:lnTo>
                <a:lnTo>
                  <a:pt x="15500" y="2750"/>
                </a:lnTo>
                <a:lnTo>
                  <a:pt x="15184" y="2483"/>
                </a:lnTo>
                <a:lnTo>
                  <a:pt x="14843" y="2239"/>
                </a:lnTo>
                <a:lnTo>
                  <a:pt x="14673" y="2142"/>
                </a:lnTo>
                <a:lnTo>
                  <a:pt x="14478" y="2045"/>
                </a:lnTo>
                <a:lnTo>
                  <a:pt x="14284" y="1972"/>
                </a:lnTo>
                <a:lnTo>
                  <a:pt x="14089" y="1899"/>
                </a:lnTo>
                <a:lnTo>
                  <a:pt x="13870" y="1850"/>
                </a:lnTo>
                <a:lnTo>
                  <a:pt x="13651" y="1801"/>
                </a:lnTo>
                <a:lnTo>
                  <a:pt x="13432" y="1777"/>
                </a:lnTo>
                <a:lnTo>
                  <a:pt x="13213" y="1777"/>
                </a:lnTo>
                <a:lnTo>
                  <a:pt x="12994" y="1801"/>
                </a:lnTo>
                <a:lnTo>
                  <a:pt x="12775" y="1826"/>
                </a:lnTo>
                <a:lnTo>
                  <a:pt x="12580" y="1899"/>
                </a:lnTo>
                <a:lnTo>
                  <a:pt x="12386" y="1972"/>
                </a:lnTo>
                <a:lnTo>
                  <a:pt x="12215" y="2069"/>
                </a:lnTo>
                <a:lnTo>
                  <a:pt x="12069" y="2191"/>
                </a:lnTo>
                <a:lnTo>
                  <a:pt x="11923" y="2361"/>
                </a:lnTo>
                <a:lnTo>
                  <a:pt x="11802" y="2531"/>
                </a:lnTo>
                <a:lnTo>
                  <a:pt x="11656" y="2239"/>
                </a:lnTo>
                <a:lnTo>
                  <a:pt x="11485" y="1947"/>
                </a:lnTo>
                <a:lnTo>
                  <a:pt x="11291" y="1680"/>
                </a:lnTo>
                <a:lnTo>
                  <a:pt x="11072" y="1412"/>
                </a:lnTo>
                <a:lnTo>
                  <a:pt x="10828" y="1169"/>
                </a:lnTo>
                <a:lnTo>
                  <a:pt x="10585" y="925"/>
                </a:lnTo>
                <a:lnTo>
                  <a:pt x="10317" y="731"/>
                </a:lnTo>
                <a:lnTo>
                  <a:pt x="10050" y="536"/>
                </a:lnTo>
                <a:lnTo>
                  <a:pt x="9806" y="390"/>
                </a:lnTo>
                <a:lnTo>
                  <a:pt x="9563" y="268"/>
                </a:lnTo>
                <a:lnTo>
                  <a:pt x="9320" y="195"/>
                </a:lnTo>
                <a:lnTo>
                  <a:pt x="9052" y="122"/>
                </a:lnTo>
                <a:lnTo>
                  <a:pt x="8784" y="74"/>
                </a:lnTo>
                <a:lnTo>
                  <a:pt x="8492" y="25"/>
                </a:lnTo>
                <a:lnTo>
                  <a:pt x="8225" y="1"/>
                </a:lnTo>
                <a:close/>
              </a:path>
            </a:pathLst>
          </a:custGeom>
          <a:solidFill>
            <a:srgbClr val="6FA8D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5451089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9" name="Овал 8"/>
          <p:cNvSpPr/>
          <p:nvPr/>
        </p:nvSpPr>
        <p:spPr>
          <a:xfrm flipH="1">
            <a:off x="356213" y="1351280"/>
            <a:ext cx="3693161" cy="3688079"/>
          </a:xfrm>
          <a:prstGeom prst="ellipse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b="1" dirty="0" smtClean="0"/>
              <a:t>Использование в ДОО содержательных пространств реализации родительских инициатив</a:t>
            </a:r>
            <a:endParaRPr lang="ru-RU" dirty="0"/>
          </a:p>
        </p:txBody>
      </p:sp>
      <p:grpSp>
        <p:nvGrpSpPr>
          <p:cNvPr id="10" name="Group 14">
            <a:extLst>
              <a:ext uri="{FF2B5EF4-FFF2-40B4-BE49-F238E27FC236}">
                <a16:creationId xmlns:a16="http://schemas.microsoft.com/office/drawing/2014/main" xmlns="" id="{9FFA1363-7359-4FA6-B2CA-232DE26F1130}"/>
              </a:ext>
            </a:extLst>
          </p:cNvPr>
          <p:cNvGrpSpPr/>
          <p:nvPr/>
        </p:nvGrpSpPr>
        <p:grpSpPr>
          <a:xfrm>
            <a:off x="3204824" y="921681"/>
            <a:ext cx="683611" cy="681608"/>
            <a:chOff x="5318252" y="1756926"/>
            <a:chExt cx="1106726" cy="1103481"/>
          </a:xfrm>
        </p:grpSpPr>
        <p:sp>
          <p:nvSpPr>
            <p:cNvPr id="11" name="Oval 62">
              <a:extLst>
                <a:ext uri="{FF2B5EF4-FFF2-40B4-BE49-F238E27FC236}">
                  <a16:creationId xmlns:a16="http://schemas.microsoft.com/office/drawing/2014/main" xmlns="" id="{1BDE6B91-7ECB-4AAF-9F51-52D635635F6D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5318252" y="1756926"/>
              <a:ext cx="1106726" cy="1103481"/>
            </a:xfrm>
            <a:prstGeom prst="ellipse">
              <a:avLst/>
            </a:prstGeom>
            <a:ln>
              <a:headEnd/>
              <a:tailEnd/>
            </a:ln>
            <a:extLst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" name="Freeform 112">
              <a:extLst>
                <a:ext uri="{FF2B5EF4-FFF2-40B4-BE49-F238E27FC236}">
                  <a16:creationId xmlns:a16="http://schemas.microsoft.com/office/drawing/2014/main" xmlns="" id="{869041B2-75B9-4413-8EF8-1937B4942598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541629" y="2140488"/>
              <a:ext cx="659972" cy="336356"/>
            </a:xfrm>
            <a:custGeom>
              <a:avLst/>
              <a:gdLst>
                <a:gd name="T0" fmla="*/ 412 w 412"/>
                <a:gd name="T1" fmla="*/ 76 h 211"/>
                <a:gd name="T2" fmla="*/ 407 w 412"/>
                <a:gd name="T3" fmla="*/ 0 h 211"/>
                <a:gd name="T4" fmla="*/ 330 w 412"/>
                <a:gd name="T5" fmla="*/ 11 h 211"/>
                <a:gd name="T6" fmla="*/ 361 w 412"/>
                <a:gd name="T7" fmla="*/ 36 h 211"/>
                <a:gd name="T8" fmla="*/ 283 w 412"/>
                <a:gd name="T9" fmla="*/ 133 h 211"/>
                <a:gd name="T10" fmla="*/ 276 w 412"/>
                <a:gd name="T11" fmla="*/ 132 h 211"/>
                <a:gd name="T12" fmla="*/ 253 w 412"/>
                <a:gd name="T13" fmla="*/ 136 h 211"/>
                <a:gd name="T14" fmla="*/ 201 w 412"/>
                <a:gd name="T15" fmla="*/ 91 h 211"/>
                <a:gd name="T16" fmla="*/ 203 w 412"/>
                <a:gd name="T17" fmla="*/ 82 h 211"/>
                <a:gd name="T18" fmla="*/ 169 w 412"/>
                <a:gd name="T19" fmla="*/ 39 h 211"/>
                <a:gd name="T20" fmla="*/ 140 w 412"/>
                <a:gd name="T21" fmla="*/ 47 h 211"/>
                <a:gd name="T22" fmla="*/ 125 w 412"/>
                <a:gd name="T23" fmla="*/ 73 h 211"/>
                <a:gd name="T24" fmla="*/ 126 w 412"/>
                <a:gd name="T25" fmla="*/ 87 h 211"/>
                <a:gd name="T26" fmla="*/ 63 w 412"/>
                <a:gd name="T27" fmla="*/ 130 h 211"/>
                <a:gd name="T28" fmla="*/ 46 w 412"/>
                <a:gd name="T29" fmla="*/ 123 h 211"/>
                <a:gd name="T30" fmla="*/ 17 w 412"/>
                <a:gd name="T31" fmla="*/ 132 h 211"/>
                <a:gd name="T32" fmla="*/ 2 w 412"/>
                <a:gd name="T33" fmla="*/ 158 h 211"/>
                <a:gd name="T34" fmla="*/ 33 w 412"/>
                <a:gd name="T35" fmla="*/ 201 h 211"/>
                <a:gd name="T36" fmla="*/ 37 w 412"/>
                <a:gd name="T37" fmla="*/ 202 h 211"/>
                <a:gd name="T38" fmla="*/ 80 w 412"/>
                <a:gd name="T39" fmla="*/ 167 h 211"/>
                <a:gd name="T40" fmla="*/ 79 w 412"/>
                <a:gd name="T41" fmla="*/ 153 h 211"/>
                <a:gd name="T42" fmla="*/ 142 w 412"/>
                <a:gd name="T43" fmla="*/ 111 h 211"/>
                <a:gd name="T44" fmla="*/ 156 w 412"/>
                <a:gd name="T45" fmla="*/ 116 h 211"/>
                <a:gd name="T46" fmla="*/ 160 w 412"/>
                <a:gd name="T47" fmla="*/ 117 h 211"/>
                <a:gd name="T48" fmla="*/ 183 w 412"/>
                <a:gd name="T49" fmla="*/ 113 h 211"/>
                <a:gd name="T50" fmla="*/ 234 w 412"/>
                <a:gd name="T51" fmla="*/ 157 h 211"/>
                <a:gd name="T52" fmla="*/ 232 w 412"/>
                <a:gd name="T53" fmla="*/ 166 h 211"/>
                <a:gd name="T54" fmla="*/ 263 w 412"/>
                <a:gd name="T55" fmla="*/ 209 h 211"/>
                <a:gd name="T56" fmla="*/ 266 w 412"/>
                <a:gd name="T57" fmla="*/ 210 h 211"/>
                <a:gd name="T58" fmla="*/ 295 w 412"/>
                <a:gd name="T59" fmla="*/ 202 h 211"/>
                <a:gd name="T60" fmla="*/ 310 w 412"/>
                <a:gd name="T61" fmla="*/ 175 h 211"/>
                <a:gd name="T62" fmla="*/ 305 w 412"/>
                <a:gd name="T63" fmla="*/ 152 h 211"/>
                <a:gd name="T64" fmla="*/ 383 w 412"/>
                <a:gd name="T65" fmla="*/ 53 h 211"/>
                <a:gd name="T66" fmla="*/ 412 w 412"/>
                <a:gd name="T67" fmla="*/ 76 h 211"/>
                <a:gd name="T68" fmla="*/ 38 w 412"/>
                <a:gd name="T69" fmla="*/ 189 h 211"/>
                <a:gd name="T70" fmla="*/ 14 w 412"/>
                <a:gd name="T71" fmla="*/ 159 h 211"/>
                <a:gd name="T72" fmla="*/ 24 w 412"/>
                <a:gd name="T73" fmla="*/ 141 h 211"/>
                <a:gd name="T74" fmla="*/ 44 w 412"/>
                <a:gd name="T75" fmla="*/ 136 h 211"/>
                <a:gd name="T76" fmla="*/ 47 w 412"/>
                <a:gd name="T77" fmla="*/ 136 h 211"/>
                <a:gd name="T78" fmla="*/ 68 w 412"/>
                <a:gd name="T79" fmla="*/ 166 h 211"/>
                <a:gd name="T80" fmla="*/ 38 w 412"/>
                <a:gd name="T81" fmla="*/ 189 h 211"/>
                <a:gd name="T82" fmla="*/ 161 w 412"/>
                <a:gd name="T83" fmla="*/ 105 h 211"/>
                <a:gd name="T84" fmla="*/ 137 w 412"/>
                <a:gd name="T85" fmla="*/ 75 h 211"/>
                <a:gd name="T86" fmla="*/ 147 w 412"/>
                <a:gd name="T87" fmla="*/ 57 h 211"/>
                <a:gd name="T88" fmla="*/ 167 w 412"/>
                <a:gd name="T89" fmla="*/ 51 h 211"/>
                <a:gd name="T90" fmla="*/ 170 w 412"/>
                <a:gd name="T91" fmla="*/ 52 h 211"/>
                <a:gd name="T92" fmla="*/ 191 w 412"/>
                <a:gd name="T93" fmla="*/ 81 h 211"/>
                <a:gd name="T94" fmla="*/ 161 w 412"/>
                <a:gd name="T95" fmla="*/ 105 h 211"/>
                <a:gd name="T96" fmla="*/ 288 w 412"/>
                <a:gd name="T97" fmla="*/ 192 h 211"/>
                <a:gd name="T98" fmla="*/ 268 w 412"/>
                <a:gd name="T99" fmla="*/ 198 h 211"/>
                <a:gd name="T100" fmla="*/ 244 w 412"/>
                <a:gd name="T101" fmla="*/ 168 h 211"/>
                <a:gd name="T102" fmla="*/ 254 w 412"/>
                <a:gd name="T103" fmla="*/ 150 h 211"/>
                <a:gd name="T104" fmla="*/ 274 w 412"/>
                <a:gd name="T105" fmla="*/ 144 h 211"/>
                <a:gd name="T106" fmla="*/ 277 w 412"/>
                <a:gd name="T107" fmla="*/ 144 h 211"/>
                <a:gd name="T108" fmla="*/ 298 w 412"/>
                <a:gd name="T109" fmla="*/ 174 h 211"/>
                <a:gd name="T110" fmla="*/ 288 w 412"/>
                <a:gd name="T111" fmla="*/ 192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12" h="211">
                  <a:moveTo>
                    <a:pt x="412" y="76"/>
                  </a:moveTo>
                  <a:cubicBezTo>
                    <a:pt x="407" y="0"/>
                    <a:pt x="407" y="0"/>
                    <a:pt x="407" y="0"/>
                  </a:cubicBezTo>
                  <a:cubicBezTo>
                    <a:pt x="330" y="11"/>
                    <a:pt x="330" y="11"/>
                    <a:pt x="330" y="11"/>
                  </a:cubicBezTo>
                  <a:cubicBezTo>
                    <a:pt x="361" y="36"/>
                    <a:pt x="361" y="36"/>
                    <a:pt x="361" y="36"/>
                  </a:cubicBezTo>
                  <a:cubicBezTo>
                    <a:pt x="283" y="133"/>
                    <a:pt x="283" y="133"/>
                    <a:pt x="283" y="133"/>
                  </a:cubicBezTo>
                  <a:cubicBezTo>
                    <a:pt x="281" y="133"/>
                    <a:pt x="278" y="132"/>
                    <a:pt x="276" y="132"/>
                  </a:cubicBezTo>
                  <a:cubicBezTo>
                    <a:pt x="268" y="131"/>
                    <a:pt x="260" y="132"/>
                    <a:pt x="253" y="136"/>
                  </a:cubicBezTo>
                  <a:cubicBezTo>
                    <a:pt x="201" y="91"/>
                    <a:pt x="201" y="91"/>
                    <a:pt x="201" y="91"/>
                  </a:cubicBezTo>
                  <a:cubicBezTo>
                    <a:pt x="202" y="88"/>
                    <a:pt x="203" y="85"/>
                    <a:pt x="203" y="82"/>
                  </a:cubicBezTo>
                  <a:cubicBezTo>
                    <a:pt x="206" y="61"/>
                    <a:pt x="191" y="41"/>
                    <a:pt x="169" y="39"/>
                  </a:cubicBezTo>
                  <a:cubicBezTo>
                    <a:pt x="158" y="37"/>
                    <a:pt x="148" y="40"/>
                    <a:pt x="140" y="47"/>
                  </a:cubicBezTo>
                  <a:cubicBezTo>
                    <a:pt x="132" y="53"/>
                    <a:pt x="126" y="63"/>
                    <a:pt x="125" y="73"/>
                  </a:cubicBezTo>
                  <a:cubicBezTo>
                    <a:pt x="125" y="78"/>
                    <a:pt x="125" y="83"/>
                    <a:pt x="126" y="87"/>
                  </a:cubicBezTo>
                  <a:cubicBezTo>
                    <a:pt x="63" y="130"/>
                    <a:pt x="63" y="130"/>
                    <a:pt x="63" y="130"/>
                  </a:cubicBezTo>
                  <a:cubicBezTo>
                    <a:pt x="58" y="127"/>
                    <a:pt x="52" y="124"/>
                    <a:pt x="46" y="123"/>
                  </a:cubicBezTo>
                  <a:cubicBezTo>
                    <a:pt x="35" y="122"/>
                    <a:pt x="25" y="125"/>
                    <a:pt x="17" y="132"/>
                  </a:cubicBezTo>
                  <a:cubicBezTo>
                    <a:pt x="8" y="138"/>
                    <a:pt x="3" y="147"/>
                    <a:pt x="2" y="158"/>
                  </a:cubicBezTo>
                  <a:cubicBezTo>
                    <a:pt x="0" y="178"/>
                    <a:pt x="13" y="197"/>
                    <a:pt x="33" y="201"/>
                  </a:cubicBezTo>
                  <a:cubicBezTo>
                    <a:pt x="34" y="201"/>
                    <a:pt x="35" y="201"/>
                    <a:pt x="37" y="202"/>
                  </a:cubicBezTo>
                  <a:cubicBezTo>
                    <a:pt x="58" y="204"/>
                    <a:pt x="78" y="189"/>
                    <a:pt x="80" y="167"/>
                  </a:cubicBezTo>
                  <a:cubicBezTo>
                    <a:pt x="81" y="162"/>
                    <a:pt x="80" y="158"/>
                    <a:pt x="79" y="153"/>
                  </a:cubicBezTo>
                  <a:cubicBezTo>
                    <a:pt x="142" y="111"/>
                    <a:pt x="142" y="111"/>
                    <a:pt x="142" y="111"/>
                  </a:cubicBezTo>
                  <a:cubicBezTo>
                    <a:pt x="146" y="113"/>
                    <a:pt x="151" y="115"/>
                    <a:pt x="156" y="116"/>
                  </a:cubicBezTo>
                  <a:cubicBezTo>
                    <a:pt x="157" y="117"/>
                    <a:pt x="158" y="117"/>
                    <a:pt x="160" y="117"/>
                  </a:cubicBezTo>
                  <a:cubicBezTo>
                    <a:pt x="168" y="118"/>
                    <a:pt x="176" y="116"/>
                    <a:pt x="183" y="113"/>
                  </a:cubicBezTo>
                  <a:cubicBezTo>
                    <a:pt x="234" y="157"/>
                    <a:pt x="234" y="157"/>
                    <a:pt x="234" y="157"/>
                  </a:cubicBezTo>
                  <a:cubicBezTo>
                    <a:pt x="233" y="160"/>
                    <a:pt x="232" y="163"/>
                    <a:pt x="232" y="166"/>
                  </a:cubicBezTo>
                  <a:cubicBezTo>
                    <a:pt x="229" y="186"/>
                    <a:pt x="243" y="205"/>
                    <a:pt x="263" y="209"/>
                  </a:cubicBezTo>
                  <a:cubicBezTo>
                    <a:pt x="264" y="210"/>
                    <a:pt x="265" y="210"/>
                    <a:pt x="266" y="210"/>
                  </a:cubicBezTo>
                  <a:cubicBezTo>
                    <a:pt x="277" y="211"/>
                    <a:pt x="287" y="208"/>
                    <a:pt x="295" y="202"/>
                  </a:cubicBezTo>
                  <a:cubicBezTo>
                    <a:pt x="304" y="195"/>
                    <a:pt x="309" y="186"/>
                    <a:pt x="310" y="175"/>
                  </a:cubicBezTo>
                  <a:cubicBezTo>
                    <a:pt x="311" y="167"/>
                    <a:pt x="309" y="159"/>
                    <a:pt x="305" y="152"/>
                  </a:cubicBezTo>
                  <a:cubicBezTo>
                    <a:pt x="383" y="53"/>
                    <a:pt x="383" y="53"/>
                    <a:pt x="383" y="53"/>
                  </a:cubicBezTo>
                  <a:lnTo>
                    <a:pt x="412" y="76"/>
                  </a:lnTo>
                  <a:close/>
                  <a:moveTo>
                    <a:pt x="38" y="189"/>
                  </a:moveTo>
                  <a:cubicBezTo>
                    <a:pt x="23" y="187"/>
                    <a:pt x="13" y="174"/>
                    <a:pt x="14" y="159"/>
                  </a:cubicBezTo>
                  <a:cubicBezTo>
                    <a:pt x="15" y="152"/>
                    <a:pt x="19" y="146"/>
                    <a:pt x="24" y="141"/>
                  </a:cubicBezTo>
                  <a:cubicBezTo>
                    <a:pt x="30" y="137"/>
                    <a:pt x="37" y="135"/>
                    <a:pt x="44" y="136"/>
                  </a:cubicBezTo>
                  <a:cubicBezTo>
                    <a:pt x="45" y="136"/>
                    <a:pt x="46" y="136"/>
                    <a:pt x="47" y="136"/>
                  </a:cubicBezTo>
                  <a:cubicBezTo>
                    <a:pt x="61" y="139"/>
                    <a:pt x="70" y="152"/>
                    <a:pt x="68" y="166"/>
                  </a:cubicBezTo>
                  <a:cubicBezTo>
                    <a:pt x="66" y="180"/>
                    <a:pt x="53" y="191"/>
                    <a:pt x="38" y="189"/>
                  </a:cubicBezTo>
                  <a:close/>
                  <a:moveTo>
                    <a:pt x="161" y="105"/>
                  </a:moveTo>
                  <a:cubicBezTo>
                    <a:pt x="146" y="103"/>
                    <a:pt x="136" y="89"/>
                    <a:pt x="137" y="75"/>
                  </a:cubicBezTo>
                  <a:cubicBezTo>
                    <a:pt x="138" y="68"/>
                    <a:pt x="142" y="61"/>
                    <a:pt x="147" y="57"/>
                  </a:cubicBezTo>
                  <a:cubicBezTo>
                    <a:pt x="153" y="52"/>
                    <a:pt x="160" y="50"/>
                    <a:pt x="167" y="51"/>
                  </a:cubicBezTo>
                  <a:cubicBezTo>
                    <a:pt x="168" y="51"/>
                    <a:pt x="169" y="51"/>
                    <a:pt x="170" y="52"/>
                  </a:cubicBezTo>
                  <a:cubicBezTo>
                    <a:pt x="184" y="54"/>
                    <a:pt x="193" y="67"/>
                    <a:pt x="191" y="81"/>
                  </a:cubicBezTo>
                  <a:cubicBezTo>
                    <a:pt x="189" y="96"/>
                    <a:pt x="176" y="106"/>
                    <a:pt x="161" y="105"/>
                  </a:cubicBezTo>
                  <a:close/>
                  <a:moveTo>
                    <a:pt x="288" y="192"/>
                  </a:moveTo>
                  <a:cubicBezTo>
                    <a:pt x="282" y="196"/>
                    <a:pt x="275" y="198"/>
                    <a:pt x="268" y="198"/>
                  </a:cubicBezTo>
                  <a:cubicBezTo>
                    <a:pt x="253" y="196"/>
                    <a:pt x="242" y="182"/>
                    <a:pt x="244" y="168"/>
                  </a:cubicBezTo>
                  <a:cubicBezTo>
                    <a:pt x="245" y="160"/>
                    <a:pt x="249" y="154"/>
                    <a:pt x="254" y="150"/>
                  </a:cubicBezTo>
                  <a:cubicBezTo>
                    <a:pt x="260" y="145"/>
                    <a:pt x="267" y="143"/>
                    <a:pt x="274" y="144"/>
                  </a:cubicBezTo>
                  <a:cubicBezTo>
                    <a:pt x="275" y="144"/>
                    <a:pt x="276" y="144"/>
                    <a:pt x="277" y="144"/>
                  </a:cubicBezTo>
                  <a:cubicBezTo>
                    <a:pt x="290" y="147"/>
                    <a:pt x="299" y="160"/>
                    <a:pt x="298" y="174"/>
                  </a:cubicBezTo>
                  <a:cubicBezTo>
                    <a:pt x="297" y="181"/>
                    <a:pt x="293" y="188"/>
                    <a:pt x="288" y="192"/>
                  </a:cubicBezTo>
                  <a:close/>
                </a:path>
              </a:pathLst>
            </a:custGeom>
            <a:ln/>
            <a:extLst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13" name="Group 14">
            <a:extLst>
              <a:ext uri="{FF2B5EF4-FFF2-40B4-BE49-F238E27FC236}">
                <a16:creationId xmlns:a16="http://schemas.microsoft.com/office/drawing/2014/main" xmlns="" id="{9FFA1363-7359-4FA6-B2CA-232DE26F1130}"/>
              </a:ext>
            </a:extLst>
          </p:cNvPr>
          <p:cNvGrpSpPr/>
          <p:nvPr/>
        </p:nvGrpSpPr>
        <p:grpSpPr>
          <a:xfrm>
            <a:off x="3643882" y="4320997"/>
            <a:ext cx="683611" cy="681608"/>
            <a:chOff x="5318252" y="1756926"/>
            <a:chExt cx="1106726" cy="1103481"/>
          </a:xfrm>
        </p:grpSpPr>
        <p:sp>
          <p:nvSpPr>
            <p:cNvPr id="14" name="Oval 62">
              <a:extLst>
                <a:ext uri="{FF2B5EF4-FFF2-40B4-BE49-F238E27FC236}">
                  <a16:creationId xmlns:a16="http://schemas.microsoft.com/office/drawing/2014/main" xmlns="" id="{1BDE6B91-7ECB-4AAF-9F51-52D635635F6D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5318252" y="1756926"/>
              <a:ext cx="1106726" cy="1103481"/>
            </a:xfrm>
            <a:prstGeom prst="ellipse">
              <a:avLst/>
            </a:prstGeom>
            <a:ln>
              <a:headEnd/>
              <a:tailEnd/>
            </a:ln>
            <a:extLst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" name="Freeform 112">
              <a:extLst>
                <a:ext uri="{FF2B5EF4-FFF2-40B4-BE49-F238E27FC236}">
                  <a16:creationId xmlns:a16="http://schemas.microsoft.com/office/drawing/2014/main" xmlns="" id="{869041B2-75B9-4413-8EF8-1937B4942598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541629" y="2140488"/>
              <a:ext cx="659972" cy="336356"/>
            </a:xfrm>
            <a:custGeom>
              <a:avLst/>
              <a:gdLst>
                <a:gd name="T0" fmla="*/ 412 w 412"/>
                <a:gd name="T1" fmla="*/ 76 h 211"/>
                <a:gd name="T2" fmla="*/ 407 w 412"/>
                <a:gd name="T3" fmla="*/ 0 h 211"/>
                <a:gd name="T4" fmla="*/ 330 w 412"/>
                <a:gd name="T5" fmla="*/ 11 h 211"/>
                <a:gd name="T6" fmla="*/ 361 w 412"/>
                <a:gd name="T7" fmla="*/ 36 h 211"/>
                <a:gd name="T8" fmla="*/ 283 w 412"/>
                <a:gd name="T9" fmla="*/ 133 h 211"/>
                <a:gd name="T10" fmla="*/ 276 w 412"/>
                <a:gd name="T11" fmla="*/ 132 h 211"/>
                <a:gd name="T12" fmla="*/ 253 w 412"/>
                <a:gd name="T13" fmla="*/ 136 h 211"/>
                <a:gd name="T14" fmla="*/ 201 w 412"/>
                <a:gd name="T15" fmla="*/ 91 h 211"/>
                <a:gd name="T16" fmla="*/ 203 w 412"/>
                <a:gd name="T17" fmla="*/ 82 h 211"/>
                <a:gd name="T18" fmla="*/ 169 w 412"/>
                <a:gd name="T19" fmla="*/ 39 h 211"/>
                <a:gd name="T20" fmla="*/ 140 w 412"/>
                <a:gd name="T21" fmla="*/ 47 h 211"/>
                <a:gd name="T22" fmla="*/ 125 w 412"/>
                <a:gd name="T23" fmla="*/ 73 h 211"/>
                <a:gd name="T24" fmla="*/ 126 w 412"/>
                <a:gd name="T25" fmla="*/ 87 h 211"/>
                <a:gd name="T26" fmla="*/ 63 w 412"/>
                <a:gd name="T27" fmla="*/ 130 h 211"/>
                <a:gd name="T28" fmla="*/ 46 w 412"/>
                <a:gd name="T29" fmla="*/ 123 h 211"/>
                <a:gd name="T30" fmla="*/ 17 w 412"/>
                <a:gd name="T31" fmla="*/ 132 h 211"/>
                <a:gd name="T32" fmla="*/ 2 w 412"/>
                <a:gd name="T33" fmla="*/ 158 h 211"/>
                <a:gd name="T34" fmla="*/ 33 w 412"/>
                <a:gd name="T35" fmla="*/ 201 h 211"/>
                <a:gd name="T36" fmla="*/ 37 w 412"/>
                <a:gd name="T37" fmla="*/ 202 h 211"/>
                <a:gd name="T38" fmla="*/ 80 w 412"/>
                <a:gd name="T39" fmla="*/ 167 h 211"/>
                <a:gd name="T40" fmla="*/ 79 w 412"/>
                <a:gd name="T41" fmla="*/ 153 h 211"/>
                <a:gd name="T42" fmla="*/ 142 w 412"/>
                <a:gd name="T43" fmla="*/ 111 h 211"/>
                <a:gd name="T44" fmla="*/ 156 w 412"/>
                <a:gd name="T45" fmla="*/ 116 h 211"/>
                <a:gd name="T46" fmla="*/ 160 w 412"/>
                <a:gd name="T47" fmla="*/ 117 h 211"/>
                <a:gd name="T48" fmla="*/ 183 w 412"/>
                <a:gd name="T49" fmla="*/ 113 h 211"/>
                <a:gd name="T50" fmla="*/ 234 w 412"/>
                <a:gd name="T51" fmla="*/ 157 h 211"/>
                <a:gd name="T52" fmla="*/ 232 w 412"/>
                <a:gd name="T53" fmla="*/ 166 h 211"/>
                <a:gd name="T54" fmla="*/ 263 w 412"/>
                <a:gd name="T55" fmla="*/ 209 h 211"/>
                <a:gd name="T56" fmla="*/ 266 w 412"/>
                <a:gd name="T57" fmla="*/ 210 h 211"/>
                <a:gd name="T58" fmla="*/ 295 w 412"/>
                <a:gd name="T59" fmla="*/ 202 h 211"/>
                <a:gd name="T60" fmla="*/ 310 w 412"/>
                <a:gd name="T61" fmla="*/ 175 h 211"/>
                <a:gd name="T62" fmla="*/ 305 w 412"/>
                <a:gd name="T63" fmla="*/ 152 h 211"/>
                <a:gd name="T64" fmla="*/ 383 w 412"/>
                <a:gd name="T65" fmla="*/ 53 h 211"/>
                <a:gd name="T66" fmla="*/ 412 w 412"/>
                <a:gd name="T67" fmla="*/ 76 h 211"/>
                <a:gd name="T68" fmla="*/ 38 w 412"/>
                <a:gd name="T69" fmla="*/ 189 h 211"/>
                <a:gd name="T70" fmla="*/ 14 w 412"/>
                <a:gd name="T71" fmla="*/ 159 h 211"/>
                <a:gd name="T72" fmla="*/ 24 w 412"/>
                <a:gd name="T73" fmla="*/ 141 h 211"/>
                <a:gd name="T74" fmla="*/ 44 w 412"/>
                <a:gd name="T75" fmla="*/ 136 h 211"/>
                <a:gd name="T76" fmla="*/ 47 w 412"/>
                <a:gd name="T77" fmla="*/ 136 h 211"/>
                <a:gd name="T78" fmla="*/ 68 w 412"/>
                <a:gd name="T79" fmla="*/ 166 h 211"/>
                <a:gd name="T80" fmla="*/ 38 w 412"/>
                <a:gd name="T81" fmla="*/ 189 h 211"/>
                <a:gd name="T82" fmla="*/ 161 w 412"/>
                <a:gd name="T83" fmla="*/ 105 h 211"/>
                <a:gd name="T84" fmla="*/ 137 w 412"/>
                <a:gd name="T85" fmla="*/ 75 h 211"/>
                <a:gd name="T86" fmla="*/ 147 w 412"/>
                <a:gd name="T87" fmla="*/ 57 h 211"/>
                <a:gd name="T88" fmla="*/ 167 w 412"/>
                <a:gd name="T89" fmla="*/ 51 h 211"/>
                <a:gd name="T90" fmla="*/ 170 w 412"/>
                <a:gd name="T91" fmla="*/ 52 h 211"/>
                <a:gd name="T92" fmla="*/ 191 w 412"/>
                <a:gd name="T93" fmla="*/ 81 h 211"/>
                <a:gd name="T94" fmla="*/ 161 w 412"/>
                <a:gd name="T95" fmla="*/ 105 h 211"/>
                <a:gd name="T96" fmla="*/ 288 w 412"/>
                <a:gd name="T97" fmla="*/ 192 h 211"/>
                <a:gd name="T98" fmla="*/ 268 w 412"/>
                <a:gd name="T99" fmla="*/ 198 h 211"/>
                <a:gd name="T100" fmla="*/ 244 w 412"/>
                <a:gd name="T101" fmla="*/ 168 h 211"/>
                <a:gd name="T102" fmla="*/ 254 w 412"/>
                <a:gd name="T103" fmla="*/ 150 h 211"/>
                <a:gd name="T104" fmla="*/ 274 w 412"/>
                <a:gd name="T105" fmla="*/ 144 h 211"/>
                <a:gd name="T106" fmla="*/ 277 w 412"/>
                <a:gd name="T107" fmla="*/ 144 h 211"/>
                <a:gd name="T108" fmla="*/ 298 w 412"/>
                <a:gd name="T109" fmla="*/ 174 h 211"/>
                <a:gd name="T110" fmla="*/ 288 w 412"/>
                <a:gd name="T111" fmla="*/ 192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12" h="211">
                  <a:moveTo>
                    <a:pt x="412" y="76"/>
                  </a:moveTo>
                  <a:cubicBezTo>
                    <a:pt x="407" y="0"/>
                    <a:pt x="407" y="0"/>
                    <a:pt x="407" y="0"/>
                  </a:cubicBezTo>
                  <a:cubicBezTo>
                    <a:pt x="330" y="11"/>
                    <a:pt x="330" y="11"/>
                    <a:pt x="330" y="11"/>
                  </a:cubicBezTo>
                  <a:cubicBezTo>
                    <a:pt x="361" y="36"/>
                    <a:pt x="361" y="36"/>
                    <a:pt x="361" y="36"/>
                  </a:cubicBezTo>
                  <a:cubicBezTo>
                    <a:pt x="283" y="133"/>
                    <a:pt x="283" y="133"/>
                    <a:pt x="283" y="133"/>
                  </a:cubicBezTo>
                  <a:cubicBezTo>
                    <a:pt x="281" y="133"/>
                    <a:pt x="278" y="132"/>
                    <a:pt x="276" y="132"/>
                  </a:cubicBezTo>
                  <a:cubicBezTo>
                    <a:pt x="268" y="131"/>
                    <a:pt x="260" y="132"/>
                    <a:pt x="253" y="136"/>
                  </a:cubicBezTo>
                  <a:cubicBezTo>
                    <a:pt x="201" y="91"/>
                    <a:pt x="201" y="91"/>
                    <a:pt x="201" y="91"/>
                  </a:cubicBezTo>
                  <a:cubicBezTo>
                    <a:pt x="202" y="88"/>
                    <a:pt x="203" y="85"/>
                    <a:pt x="203" y="82"/>
                  </a:cubicBezTo>
                  <a:cubicBezTo>
                    <a:pt x="206" y="61"/>
                    <a:pt x="191" y="41"/>
                    <a:pt x="169" y="39"/>
                  </a:cubicBezTo>
                  <a:cubicBezTo>
                    <a:pt x="158" y="37"/>
                    <a:pt x="148" y="40"/>
                    <a:pt x="140" y="47"/>
                  </a:cubicBezTo>
                  <a:cubicBezTo>
                    <a:pt x="132" y="53"/>
                    <a:pt x="126" y="63"/>
                    <a:pt x="125" y="73"/>
                  </a:cubicBezTo>
                  <a:cubicBezTo>
                    <a:pt x="125" y="78"/>
                    <a:pt x="125" y="83"/>
                    <a:pt x="126" y="87"/>
                  </a:cubicBezTo>
                  <a:cubicBezTo>
                    <a:pt x="63" y="130"/>
                    <a:pt x="63" y="130"/>
                    <a:pt x="63" y="130"/>
                  </a:cubicBezTo>
                  <a:cubicBezTo>
                    <a:pt x="58" y="127"/>
                    <a:pt x="52" y="124"/>
                    <a:pt x="46" y="123"/>
                  </a:cubicBezTo>
                  <a:cubicBezTo>
                    <a:pt x="35" y="122"/>
                    <a:pt x="25" y="125"/>
                    <a:pt x="17" y="132"/>
                  </a:cubicBezTo>
                  <a:cubicBezTo>
                    <a:pt x="8" y="138"/>
                    <a:pt x="3" y="147"/>
                    <a:pt x="2" y="158"/>
                  </a:cubicBezTo>
                  <a:cubicBezTo>
                    <a:pt x="0" y="178"/>
                    <a:pt x="13" y="197"/>
                    <a:pt x="33" y="201"/>
                  </a:cubicBezTo>
                  <a:cubicBezTo>
                    <a:pt x="34" y="201"/>
                    <a:pt x="35" y="201"/>
                    <a:pt x="37" y="202"/>
                  </a:cubicBezTo>
                  <a:cubicBezTo>
                    <a:pt x="58" y="204"/>
                    <a:pt x="78" y="189"/>
                    <a:pt x="80" y="167"/>
                  </a:cubicBezTo>
                  <a:cubicBezTo>
                    <a:pt x="81" y="162"/>
                    <a:pt x="80" y="158"/>
                    <a:pt x="79" y="153"/>
                  </a:cubicBezTo>
                  <a:cubicBezTo>
                    <a:pt x="142" y="111"/>
                    <a:pt x="142" y="111"/>
                    <a:pt x="142" y="111"/>
                  </a:cubicBezTo>
                  <a:cubicBezTo>
                    <a:pt x="146" y="113"/>
                    <a:pt x="151" y="115"/>
                    <a:pt x="156" y="116"/>
                  </a:cubicBezTo>
                  <a:cubicBezTo>
                    <a:pt x="157" y="117"/>
                    <a:pt x="158" y="117"/>
                    <a:pt x="160" y="117"/>
                  </a:cubicBezTo>
                  <a:cubicBezTo>
                    <a:pt x="168" y="118"/>
                    <a:pt x="176" y="116"/>
                    <a:pt x="183" y="113"/>
                  </a:cubicBezTo>
                  <a:cubicBezTo>
                    <a:pt x="234" y="157"/>
                    <a:pt x="234" y="157"/>
                    <a:pt x="234" y="157"/>
                  </a:cubicBezTo>
                  <a:cubicBezTo>
                    <a:pt x="233" y="160"/>
                    <a:pt x="232" y="163"/>
                    <a:pt x="232" y="166"/>
                  </a:cubicBezTo>
                  <a:cubicBezTo>
                    <a:pt x="229" y="186"/>
                    <a:pt x="243" y="205"/>
                    <a:pt x="263" y="209"/>
                  </a:cubicBezTo>
                  <a:cubicBezTo>
                    <a:pt x="264" y="210"/>
                    <a:pt x="265" y="210"/>
                    <a:pt x="266" y="210"/>
                  </a:cubicBezTo>
                  <a:cubicBezTo>
                    <a:pt x="277" y="211"/>
                    <a:pt x="287" y="208"/>
                    <a:pt x="295" y="202"/>
                  </a:cubicBezTo>
                  <a:cubicBezTo>
                    <a:pt x="304" y="195"/>
                    <a:pt x="309" y="186"/>
                    <a:pt x="310" y="175"/>
                  </a:cubicBezTo>
                  <a:cubicBezTo>
                    <a:pt x="311" y="167"/>
                    <a:pt x="309" y="159"/>
                    <a:pt x="305" y="152"/>
                  </a:cubicBezTo>
                  <a:cubicBezTo>
                    <a:pt x="383" y="53"/>
                    <a:pt x="383" y="53"/>
                    <a:pt x="383" y="53"/>
                  </a:cubicBezTo>
                  <a:lnTo>
                    <a:pt x="412" y="76"/>
                  </a:lnTo>
                  <a:close/>
                  <a:moveTo>
                    <a:pt x="38" y="189"/>
                  </a:moveTo>
                  <a:cubicBezTo>
                    <a:pt x="23" y="187"/>
                    <a:pt x="13" y="174"/>
                    <a:pt x="14" y="159"/>
                  </a:cubicBezTo>
                  <a:cubicBezTo>
                    <a:pt x="15" y="152"/>
                    <a:pt x="19" y="146"/>
                    <a:pt x="24" y="141"/>
                  </a:cubicBezTo>
                  <a:cubicBezTo>
                    <a:pt x="30" y="137"/>
                    <a:pt x="37" y="135"/>
                    <a:pt x="44" y="136"/>
                  </a:cubicBezTo>
                  <a:cubicBezTo>
                    <a:pt x="45" y="136"/>
                    <a:pt x="46" y="136"/>
                    <a:pt x="47" y="136"/>
                  </a:cubicBezTo>
                  <a:cubicBezTo>
                    <a:pt x="61" y="139"/>
                    <a:pt x="70" y="152"/>
                    <a:pt x="68" y="166"/>
                  </a:cubicBezTo>
                  <a:cubicBezTo>
                    <a:pt x="66" y="180"/>
                    <a:pt x="53" y="191"/>
                    <a:pt x="38" y="189"/>
                  </a:cubicBezTo>
                  <a:close/>
                  <a:moveTo>
                    <a:pt x="161" y="105"/>
                  </a:moveTo>
                  <a:cubicBezTo>
                    <a:pt x="146" y="103"/>
                    <a:pt x="136" y="89"/>
                    <a:pt x="137" y="75"/>
                  </a:cubicBezTo>
                  <a:cubicBezTo>
                    <a:pt x="138" y="68"/>
                    <a:pt x="142" y="61"/>
                    <a:pt x="147" y="57"/>
                  </a:cubicBezTo>
                  <a:cubicBezTo>
                    <a:pt x="153" y="52"/>
                    <a:pt x="160" y="50"/>
                    <a:pt x="167" y="51"/>
                  </a:cubicBezTo>
                  <a:cubicBezTo>
                    <a:pt x="168" y="51"/>
                    <a:pt x="169" y="51"/>
                    <a:pt x="170" y="52"/>
                  </a:cubicBezTo>
                  <a:cubicBezTo>
                    <a:pt x="184" y="54"/>
                    <a:pt x="193" y="67"/>
                    <a:pt x="191" y="81"/>
                  </a:cubicBezTo>
                  <a:cubicBezTo>
                    <a:pt x="189" y="96"/>
                    <a:pt x="176" y="106"/>
                    <a:pt x="161" y="105"/>
                  </a:cubicBezTo>
                  <a:close/>
                  <a:moveTo>
                    <a:pt x="288" y="192"/>
                  </a:moveTo>
                  <a:cubicBezTo>
                    <a:pt x="282" y="196"/>
                    <a:pt x="275" y="198"/>
                    <a:pt x="268" y="198"/>
                  </a:cubicBezTo>
                  <a:cubicBezTo>
                    <a:pt x="253" y="196"/>
                    <a:pt x="242" y="182"/>
                    <a:pt x="244" y="168"/>
                  </a:cubicBezTo>
                  <a:cubicBezTo>
                    <a:pt x="245" y="160"/>
                    <a:pt x="249" y="154"/>
                    <a:pt x="254" y="150"/>
                  </a:cubicBezTo>
                  <a:cubicBezTo>
                    <a:pt x="260" y="145"/>
                    <a:pt x="267" y="143"/>
                    <a:pt x="274" y="144"/>
                  </a:cubicBezTo>
                  <a:cubicBezTo>
                    <a:pt x="275" y="144"/>
                    <a:pt x="276" y="144"/>
                    <a:pt x="277" y="144"/>
                  </a:cubicBezTo>
                  <a:cubicBezTo>
                    <a:pt x="290" y="147"/>
                    <a:pt x="299" y="160"/>
                    <a:pt x="298" y="174"/>
                  </a:cubicBezTo>
                  <a:cubicBezTo>
                    <a:pt x="297" y="181"/>
                    <a:pt x="293" y="188"/>
                    <a:pt x="288" y="192"/>
                  </a:cubicBezTo>
                  <a:close/>
                </a:path>
              </a:pathLst>
            </a:custGeom>
            <a:ln/>
            <a:extLst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19" name="Group 14">
            <a:extLst>
              <a:ext uri="{FF2B5EF4-FFF2-40B4-BE49-F238E27FC236}">
                <a16:creationId xmlns:a16="http://schemas.microsoft.com/office/drawing/2014/main" xmlns="" id="{9FFA1363-7359-4FA6-B2CA-232DE26F1130}"/>
              </a:ext>
            </a:extLst>
          </p:cNvPr>
          <p:cNvGrpSpPr/>
          <p:nvPr/>
        </p:nvGrpSpPr>
        <p:grpSpPr>
          <a:xfrm>
            <a:off x="3996217" y="1901663"/>
            <a:ext cx="683611" cy="681608"/>
            <a:chOff x="5318252" y="1756926"/>
            <a:chExt cx="1106726" cy="1103481"/>
          </a:xfrm>
        </p:grpSpPr>
        <p:sp>
          <p:nvSpPr>
            <p:cNvPr id="20" name="Oval 62">
              <a:extLst>
                <a:ext uri="{FF2B5EF4-FFF2-40B4-BE49-F238E27FC236}">
                  <a16:creationId xmlns:a16="http://schemas.microsoft.com/office/drawing/2014/main" xmlns="" id="{1BDE6B91-7ECB-4AAF-9F51-52D635635F6D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5318252" y="1756926"/>
              <a:ext cx="1106726" cy="1103481"/>
            </a:xfrm>
            <a:prstGeom prst="ellipse">
              <a:avLst/>
            </a:prstGeom>
            <a:ln>
              <a:headEnd/>
              <a:tailEnd/>
            </a:ln>
            <a:extLst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" name="Freeform 112">
              <a:extLst>
                <a:ext uri="{FF2B5EF4-FFF2-40B4-BE49-F238E27FC236}">
                  <a16:creationId xmlns:a16="http://schemas.microsoft.com/office/drawing/2014/main" xmlns="" id="{869041B2-75B9-4413-8EF8-1937B4942598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541629" y="2140488"/>
              <a:ext cx="659972" cy="336356"/>
            </a:xfrm>
            <a:custGeom>
              <a:avLst/>
              <a:gdLst>
                <a:gd name="T0" fmla="*/ 412 w 412"/>
                <a:gd name="T1" fmla="*/ 76 h 211"/>
                <a:gd name="T2" fmla="*/ 407 w 412"/>
                <a:gd name="T3" fmla="*/ 0 h 211"/>
                <a:gd name="T4" fmla="*/ 330 w 412"/>
                <a:gd name="T5" fmla="*/ 11 h 211"/>
                <a:gd name="T6" fmla="*/ 361 w 412"/>
                <a:gd name="T7" fmla="*/ 36 h 211"/>
                <a:gd name="T8" fmla="*/ 283 w 412"/>
                <a:gd name="T9" fmla="*/ 133 h 211"/>
                <a:gd name="T10" fmla="*/ 276 w 412"/>
                <a:gd name="T11" fmla="*/ 132 h 211"/>
                <a:gd name="T12" fmla="*/ 253 w 412"/>
                <a:gd name="T13" fmla="*/ 136 h 211"/>
                <a:gd name="T14" fmla="*/ 201 w 412"/>
                <a:gd name="T15" fmla="*/ 91 h 211"/>
                <a:gd name="T16" fmla="*/ 203 w 412"/>
                <a:gd name="T17" fmla="*/ 82 h 211"/>
                <a:gd name="T18" fmla="*/ 169 w 412"/>
                <a:gd name="T19" fmla="*/ 39 h 211"/>
                <a:gd name="T20" fmla="*/ 140 w 412"/>
                <a:gd name="T21" fmla="*/ 47 h 211"/>
                <a:gd name="T22" fmla="*/ 125 w 412"/>
                <a:gd name="T23" fmla="*/ 73 h 211"/>
                <a:gd name="T24" fmla="*/ 126 w 412"/>
                <a:gd name="T25" fmla="*/ 87 h 211"/>
                <a:gd name="T26" fmla="*/ 63 w 412"/>
                <a:gd name="T27" fmla="*/ 130 h 211"/>
                <a:gd name="T28" fmla="*/ 46 w 412"/>
                <a:gd name="T29" fmla="*/ 123 h 211"/>
                <a:gd name="T30" fmla="*/ 17 w 412"/>
                <a:gd name="T31" fmla="*/ 132 h 211"/>
                <a:gd name="T32" fmla="*/ 2 w 412"/>
                <a:gd name="T33" fmla="*/ 158 h 211"/>
                <a:gd name="T34" fmla="*/ 33 w 412"/>
                <a:gd name="T35" fmla="*/ 201 h 211"/>
                <a:gd name="T36" fmla="*/ 37 w 412"/>
                <a:gd name="T37" fmla="*/ 202 h 211"/>
                <a:gd name="T38" fmla="*/ 80 w 412"/>
                <a:gd name="T39" fmla="*/ 167 h 211"/>
                <a:gd name="T40" fmla="*/ 79 w 412"/>
                <a:gd name="T41" fmla="*/ 153 h 211"/>
                <a:gd name="T42" fmla="*/ 142 w 412"/>
                <a:gd name="T43" fmla="*/ 111 h 211"/>
                <a:gd name="T44" fmla="*/ 156 w 412"/>
                <a:gd name="T45" fmla="*/ 116 h 211"/>
                <a:gd name="T46" fmla="*/ 160 w 412"/>
                <a:gd name="T47" fmla="*/ 117 h 211"/>
                <a:gd name="T48" fmla="*/ 183 w 412"/>
                <a:gd name="T49" fmla="*/ 113 h 211"/>
                <a:gd name="T50" fmla="*/ 234 w 412"/>
                <a:gd name="T51" fmla="*/ 157 h 211"/>
                <a:gd name="T52" fmla="*/ 232 w 412"/>
                <a:gd name="T53" fmla="*/ 166 h 211"/>
                <a:gd name="T54" fmla="*/ 263 w 412"/>
                <a:gd name="T55" fmla="*/ 209 h 211"/>
                <a:gd name="T56" fmla="*/ 266 w 412"/>
                <a:gd name="T57" fmla="*/ 210 h 211"/>
                <a:gd name="T58" fmla="*/ 295 w 412"/>
                <a:gd name="T59" fmla="*/ 202 h 211"/>
                <a:gd name="T60" fmla="*/ 310 w 412"/>
                <a:gd name="T61" fmla="*/ 175 h 211"/>
                <a:gd name="T62" fmla="*/ 305 w 412"/>
                <a:gd name="T63" fmla="*/ 152 h 211"/>
                <a:gd name="T64" fmla="*/ 383 w 412"/>
                <a:gd name="T65" fmla="*/ 53 h 211"/>
                <a:gd name="T66" fmla="*/ 412 w 412"/>
                <a:gd name="T67" fmla="*/ 76 h 211"/>
                <a:gd name="T68" fmla="*/ 38 w 412"/>
                <a:gd name="T69" fmla="*/ 189 h 211"/>
                <a:gd name="T70" fmla="*/ 14 w 412"/>
                <a:gd name="T71" fmla="*/ 159 h 211"/>
                <a:gd name="T72" fmla="*/ 24 w 412"/>
                <a:gd name="T73" fmla="*/ 141 h 211"/>
                <a:gd name="T74" fmla="*/ 44 w 412"/>
                <a:gd name="T75" fmla="*/ 136 h 211"/>
                <a:gd name="T76" fmla="*/ 47 w 412"/>
                <a:gd name="T77" fmla="*/ 136 h 211"/>
                <a:gd name="T78" fmla="*/ 68 w 412"/>
                <a:gd name="T79" fmla="*/ 166 h 211"/>
                <a:gd name="T80" fmla="*/ 38 w 412"/>
                <a:gd name="T81" fmla="*/ 189 h 211"/>
                <a:gd name="T82" fmla="*/ 161 w 412"/>
                <a:gd name="T83" fmla="*/ 105 h 211"/>
                <a:gd name="T84" fmla="*/ 137 w 412"/>
                <a:gd name="T85" fmla="*/ 75 h 211"/>
                <a:gd name="T86" fmla="*/ 147 w 412"/>
                <a:gd name="T87" fmla="*/ 57 h 211"/>
                <a:gd name="T88" fmla="*/ 167 w 412"/>
                <a:gd name="T89" fmla="*/ 51 h 211"/>
                <a:gd name="T90" fmla="*/ 170 w 412"/>
                <a:gd name="T91" fmla="*/ 52 h 211"/>
                <a:gd name="T92" fmla="*/ 191 w 412"/>
                <a:gd name="T93" fmla="*/ 81 h 211"/>
                <a:gd name="T94" fmla="*/ 161 w 412"/>
                <a:gd name="T95" fmla="*/ 105 h 211"/>
                <a:gd name="T96" fmla="*/ 288 w 412"/>
                <a:gd name="T97" fmla="*/ 192 h 211"/>
                <a:gd name="T98" fmla="*/ 268 w 412"/>
                <a:gd name="T99" fmla="*/ 198 h 211"/>
                <a:gd name="T100" fmla="*/ 244 w 412"/>
                <a:gd name="T101" fmla="*/ 168 h 211"/>
                <a:gd name="T102" fmla="*/ 254 w 412"/>
                <a:gd name="T103" fmla="*/ 150 h 211"/>
                <a:gd name="T104" fmla="*/ 274 w 412"/>
                <a:gd name="T105" fmla="*/ 144 h 211"/>
                <a:gd name="T106" fmla="*/ 277 w 412"/>
                <a:gd name="T107" fmla="*/ 144 h 211"/>
                <a:gd name="T108" fmla="*/ 298 w 412"/>
                <a:gd name="T109" fmla="*/ 174 h 211"/>
                <a:gd name="T110" fmla="*/ 288 w 412"/>
                <a:gd name="T111" fmla="*/ 192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12" h="211">
                  <a:moveTo>
                    <a:pt x="412" y="76"/>
                  </a:moveTo>
                  <a:cubicBezTo>
                    <a:pt x="407" y="0"/>
                    <a:pt x="407" y="0"/>
                    <a:pt x="407" y="0"/>
                  </a:cubicBezTo>
                  <a:cubicBezTo>
                    <a:pt x="330" y="11"/>
                    <a:pt x="330" y="11"/>
                    <a:pt x="330" y="11"/>
                  </a:cubicBezTo>
                  <a:cubicBezTo>
                    <a:pt x="361" y="36"/>
                    <a:pt x="361" y="36"/>
                    <a:pt x="361" y="36"/>
                  </a:cubicBezTo>
                  <a:cubicBezTo>
                    <a:pt x="283" y="133"/>
                    <a:pt x="283" y="133"/>
                    <a:pt x="283" y="133"/>
                  </a:cubicBezTo>
                  <a:cubicBezTo>
                    <a:pt x="281" y="133"/>
                    <a:pt x="278" y="132"/>
                    <a:pt x="276" y="132"/>
                  </a:cubicBezTo>
                  <a:cubicBezTo>
                    <a:pt x="268" y="131"/>
                    <a:pt x="260" y="132"/>
                    <a:pt x="253" y="136"/>
                  </a:cubicBezTo>
                  <a:cubicBezTo>
                    <a:pt x="201" y="91"/>
                    <a:pt x="201" y="91"/>
                    <a:pt x="201" y="91"/>
                  </a:cubicBezTo>
                  <a:cubicBezTo>
                    <a:pt x="202" y="88"/>
                    <a:pt x="203" y="85"/>
                    <a:pt x="203" y="82"/>
                  </a:cubicBezTo>
                  <a:cubicBezTo>
                    <a:pt x="206" y="61"/>
                    <a:pt x="191" y="41"/>
                    <a:pt x="169" y="39"/>
                  </a:cubicBezTo>
                  <a:cubicBezTo>
                    <a:pt x="158" y="37"/>
                    <a:pt x="148" y="40"/>
                    <a:pt x="140" y="47"/>
                  </a:cubicBezTo>
                  <a:cubicBezTo>
                    <a:pt x="132" y="53"/>
                    <a:pt x="126" y="63"/>
                    <a:pt x="125" y="73"/>
                  </a:cubicBezTo>
                  <a:cubicBezTo>
                    <a:pt x="125" y="78"/>
                    <a:pt x="125" y="83"/>
                    <a:pt x="126" y="87"/>
                  </a:cubicBezTo>
                  <a:cubicBezTo>
                    <a:pt x="63" y="130"/>
                    <a:pt x="63" y="130"/>
                    <a:pt x="63" y="130"/>
                  </a:cubicBezTo>
                  <a:cubicBezTo>
                    <a:pt x="58" y="127"/>
                    <a:pt x="52" y="124"/>
                    <a:pt x="46" y="123"/>
                  </a:cubicBezTo>
                  <a:cubicBezTo>
                    <a:pt x="35" y="122"/>
                    <a:pt x="25" y="125"/>
                    <a:pt x="17" y="132"/>
                  </a:cubicBezTo>
                  <a:cubicBezTo>
                    <a:pt x="8" y="138"/>
                    <a:pt x="3" y="147"/>
                    <a:pt x="2" y="158"/>
                  </a:cubicBezTo>
                  <a:cubicBezTo>
                    <a:pt x="0" y="178"/>
                    <a:pt x="13" y="197"/>
                    <a:pt x="33" y="201"/>
                  </a:cubicBezTo>
                  <a:cubicBezTo>
                    <a:pt x="34" y="201"/>
                    <a:pt x="35" y="201"/>
                    <a:pt x="37" y="202"/>
                  </a:cubicBezTo>
                  <a:cubicBezTo>
                    <a:pt x="58" y="204"/>
                    <a:pt x="78" y="189"/>
                    <a:pt x="80" y="167"/>
                  </a:cubicBezTo>
                  <a:cubicBezTo>
                    <a:pt x="81" y="162"/>
                    <a:pt x="80" y="158"/>
                    <a:pt x="79" y="153"/>
                  </a:cubicBezTo>
                  <a:cubicBezTo>
                    <a:pt x="142" y="111"/>
                    <a:pt x="142" y="111"/>
                    <a:pt x="142" y="111"/>
                  </a:cubicBezTo>
                  <a:cubicBezTo>
                    <a:pt x="146" y="113"/>
                    <a:pt x="151" y="115"/>
                    <a:pt x="156" y="116"/>
                  </a:cubicBezTo>
                  <a:cubicBezTo>
                    <a:pt x="157" y="117"/>
                    <a:pt x="158" y="117"/>
                    <a:pt x="160" y="117"/>
                  </a:cubicBezTo>
                  <a:cubicBezTo>
                    <a:pt x="168" y="118"/>
                    <a:pt x="176" y="116"/>
                    <a:pt x="183" y="113"/>
                  </a:cubicBezTo>
                  <a:cubicBezTo>
                    <a:pt x="234" y="157"/>
                    <a:pt x="234" y="157"/>
                    <a:pt x="234" y="157"/>
                  </a:cubicBezTo>
                  <a:cubicBezTo>
                    <a:pt x="233" y="160"/>
                    <a:pt x="232" y="163"/>
                    <a:pt x="232" y="166"/>
                  </a:cubicBezTo>
                  <a:cubicBezTo>
                    <a:pt x="229" y="186"/>
                    <a:pt x="243" y="205"/>
                    <a:pt x="263" y="209"/>
                  </a:cubicBezTo>
                  <a:cubicBezTo>
                    <a:pt x="264" y="210"/>
                    <a:pt x="265" y="210"/>
                    <a:pt x="266" y="210"/>
                  </a:cubicBezTo>
                  <a:cubicBezTo>
                    <a:pt x="277" y="211"/>
                    <a:pt x="287" y="208"/>
                    <a:pt x="295" y="202"/>
                  </a:cubicBezTo>
                  <a:cubicBezTo>
                    <a:pt x="304" y="195"/>
                    <a:pt x="309" y="186"/>
                    <a:pt x="310" y="175"/>
                  </a:cubicBezTo>
                  <a:cubicBezTo>
                    <a:pt x="311" y="167"/>
                    <a:pt x="309" y="159"/>
                    <a:pt x="305" y="152"/>
                  </a:cubicBezTo>
                  <a:cubicBezTo>
                    <a:pt x="383" y="53"/>
                    <a:pt x="383" y="53"/>
                    <a:pt x="383" y="53"/>
                  </a:cubicBezTo>
                  <a:lnTo>
                    <a:pt x="412" y="76"/>
                  </a:lnTo>
                  <a:close/>
                  <a:moveTo>
                    <a:pt x="38" y="189"/>
                  </a:moveTo>
                  <a:cubicBezTo>
                    <a:pt x="23" y="187"/>
                    <a:pt x="13" y="174"/>
                    <a:pt x="14" y="159"/>
                  </a:cubicBezTo>
                  <a:cubicBezTo>
                    <a:pt x="15" y="152"/>
                    <a:pt x="19" y="146"/>
                    <a:pt x="24" y="141"/>
                  </a:cubicBezTo>
                  <a:cubicBezTo>
                    <a:pt x="30" y="137"/>
                    <a:pt x="37" y="135"/>
                    <a:pt x="44" y="136"/>
                  </a:cubicBezTo>
                  <a:cubicBezTo>
                    <a:pt x="45" y="136"/>
                    <a:pt x="46" y="136"/>
                    <a:pt x="47" y="136"/>
                  </a:cubicBezTo>
                  <a:cubicBezTo>
                    <a:pt x="61" y="139"/>
                    <a:pt x="70" y="152"/>
                    <a:pt x="68" y="166"/>
                  </a:cubicBezTo>
                  <a:cubicBezTo>
                    <a:pt x="66" y="180"/>
                    <a:pt x="53" y="191"/>
                    <a:pt x="38" y="189"/>
                  </a:cubicBezTo>
                  <a:close/>
                  <a:moveTo>
                    <a:pt x="161" y="105"/>
                  </a:moveTo>
                  <a:cubicBezTo>
                    <a:pt x="146" y="103"/>
                    <a:pt x="136" y="89"/>
                    <a:pt x="137" y="75"/>
                  </a:cubicBezTo>
                  <a:cubicBezTo>
                    <a:pt x="138" y="68"/>
                    <a:pt x="142" y="61"/>
                    <a:pt x="147" y="57"/>
                  </a:cubicBezTo>
                  <a:cubicBezTo>
                    <a:pt x="153" y="52"/>
                    <a:pt x="160" y="50"/>
                    <a:pt x="167" y="51"/>
                  </a:cubicBezTo>
                  <a:cubicBezTo>
                    <a:pt x="168" y="51"/>
                    <a:pt x="169" y="51"/>
                    <a:pt x="170" y="52"/>
                  </a:cubicBezTo>
                  <a:cubicBezTo>
                    <a:pt x="184" y="54"/>
                    <a:pt x="193" y="67"/>
                    <a:pt x="191" y="81"/>
                  </a:cubicBezTo>
                  <a:cubicBezTo>
                    <a:pt x="189" y="96"/>
                    <a:pt x="176" y="106"/>
                    <a:pt x="161" y="105"/>
                  </a:cubicBezTo>
                  <a:close/>
                  <a:moveTo>
                    <a:pt x="288" y="192"/>
                  </a:moveTo>
                  <a:cubicBezTo>
                    <a:pt x="282" y="196"/>
                    <a:pt x="275" y="198"/>
                    <a:pt x="268" y="198"/>
                  </a:cubicBezTo>
                  <a:cubicBezTo>
                    <a:pt x="253" y="196"/>
                    <a:pt x="242" y="182"/>
                    <a:pt x="244" y="168"/>
                  </a:cubicBezTo>
                  <a:cubicBezTo>
                    <a:pt x="245" y="160"/>
                    <a:pt x="249" y="154"/>
                    <a:pt x="254" y="150"/>
                  </a:cubicBezTo>
                  <a:cubicBezTo>
                    <a:pt x="260" y="145"/>
                    <a:pt x="267" y="143"/>
                    <a:pt x="274" y="144"/>
                  </a:cubicBezTo>
                  <a:cubicBezTo>
                    <a:pt x="275" y="144"/>
                    <a:pt x="276" y="144"/>
                    <a:pt x="277" y="144"/>
                  </a:cubicBezTo>
                  <a:cubicBezTo>
                    <a:pt x="290" y="147"/>
                    <a:pt x="299" y="160"/>
                    <a:pt x="298" y="174"/>
                  </a:cubicBezTo>
                  <a:cubicBezTo>
                    <a:pt x="297" y="181"/>
                    <a:pt x="293" y="188"/>
                    <a:pt x="288" y="192"/>
                  </a:cubicBezTo>
                  <a:close/>
                </a:path>
              </a:pathLst>
            </a:custGeom>
            <a:ln/>
            <a:extLst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22" name="Group 14">
            <a:extLst>
              <a:ext uri="{FF2B5EF4-FFF2-40B4-BE49-F238E27FC236}">
                <a16:creationId xmlns:a16="http://schemas.microsoft.com/office/drawing/2014/main" xmlns="" id="{9FFA1363-7359-4FA6-B2CA-232DE26F1130}"/>
              </a:ext>
            </a:extLst>
          </p:cNvPr>
          <p:cNvGrpSpPr/>
          <p:nvPr/>
        </p:nvGrpSpPr>
        <p:grpSpPr>
          <a:xfrm>
            <a:off x="4228823" y="3111330"/>
            <a:ext cx="683611" cy="681608"/>
            <a:chOff x="5318252" y="1756926"/>
            <a:chExt cx="1106726" cy="1103481"/>
          </a:xfrm>
        </p:grpSpPr>
        <p:sp>
          <p:nvSpPr>
            <p:cNvPr id="23" name="Oval 62">
              <a:extLst>
                <a:ext uri="{FF2B5EF4-FFF2-40B4-BE49-F238E27FC236}">
                  <a16:creationId xmlns:a16="http://schemas.microsoft.com/office/drawing/2014/main" xmlns="" id="{1BDE6B91-7ECB-4AAF-9F51-52D635635F6D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5318252" y="1756926"/>
              <a:ext cx="1106726" cy="1103481"/>
            </a:xfrm>
            <a:prstGeom prst="ellipse">
              <a:avLst/>
            </a:prstGeom>
            <a:ln>
              <a:headEnd/>
              <a:tailEnd/>
            </a:ln>
            <a:extLst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" name="Freeform 112">
              <a:extLst>
                <a:ext uri="{FF2B5EF4-FFF2-40B4-BE49-F238E27FC236}">
                  <a16:creationId xmlns:a16="http://schemas.microsoft.com/office/drawing/2014/main" xmlns="" id="{869041B2-75B9-4413-8EF8-1937B4942598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541629" y="2140488"/>
              <a:ext cx="659972" cy="336356"/>
            </a:xfrm>
            <a:custGeom>
              <a:avLst/>
              <a:gdLst>
                <a:gd name="T0" fmla="*/ 412 w 412"/>
                <a:gd name="T1" fmla="*/ 76 h 211"/>
                <a:gd name="T2" fmla="*/ 407 w 412"/>
                <a:gd name="T3" fmla="*/ 0 h 211"/>
                <a:gd name="T4" fmla="*/ 330 w 412"/>
                <a:gd name="T5" fmla="*/ 11 h 211"/>
                <a:gd name="T6" fmla="*/ 361 w 412"/>
                <a:gd name="T7" fmla="*/ 36 h 211"/>
                <a:gd name="T8" fmla="*/ 283 w 412"/>
                <a:gd name="T9" fmla="*/ 133 h 211"/>
                <a:gd name="T10" fmla="*/ 276 w 412"/>
                <a:gd name="T11" fmla="*/ 132 h 211"/>
                <a:gd name="T12" fmla="*/ 253 w 412"/>
                <a:gd name="T13" fmla="*/ 136 h 211"/>
                <a:gd name="T14" fmla="*/ 201 w 412"/>
                <a:gd name="T15" fmla="*/ 91 h 211"/>
                <a:gd name="T16" fmla="*/ 203 w 412"/>
                <a:gd name="T17" fmla="*/ 82 h 211"/>
                <a:gd name="T18" fmla="*/ 169 w 412"/>
                <a:gd name="T19" fmla="*/ 39 h 211"/>
                <a:gd name="T20" fmla="*/ 140 w 412"/>
                <a:gd name="T21" fmla="*/ 47 h 211"/>
                <a:gd name="T22" fmla="*/ 125 w 412"/>
                <a:gd name="T23" fmla="*/ 73 h 211"/>
                <a:gd name="T24" fmla="*/ 126 w 412"/>
                <a:gd name="T25" fmla="*/ 87 h 211"/>
                <a:gd name="T26" fmla="*/ 63 w 412"/>
                <a:gd name="T27" fmla="*/ 130 h 211"/>
                <a:gd name="T28" fmla="*/ 46 w 412"/>
                <a:gd name="T29" fmla="*/ 123 h 211"/>
                <a:gd name="T30" fmla="*/ 17 w 412"/>
                <a:gd name="T31" fmla="*/ 132 h 211"/>
                <a:gd name="T32" fmla="*/ 2 w 412"/>
                <a:gd name="T33" fmla="*/ 158 h 211"/>
                <a:gd name="T34" fmla="*/ 33 w 412"/>
                <a:gd name="T35" fmla="*/ 201 h 211"/>
                <a:gd name="T36" fmla="*/ 37 w 412"/>
                <a:gd name="T37" fmla="*/ 202 h 211"/>
                <a:gd name="T38" fmla="*/ 80 w 412"/>
                <a:gd name="T39" fmla="*/ 167 h 211"/>
                <a:gd name="T40" fmla="*/ 79 w 412"/>
                <a:gd name="T41" fmla="*/ 153 h 211"/>
                <a:gd name="T42" fmla="*/ 142 w 412"/>
                <a:gd name="T43" fmla="*/ 111 h 211"/>
                <a:gd name="T44" fmla="*/ 156 w 412"/>
                <a:gd name="T45" fmla="*/ 116 h 211"/>
                <a:gd name="T46" fmla="*/ 160 w 412"/>
                <a:gd name="T47" fmla="*/ 117 h 211"/>
                <a:gd name="T48" fmla="*/ 183 w 412"/>
                <a:gd name="T49" fmla="*/ 113 h 211"/>
                <a:gd name="T50" fmla="*/ 234 w 412"/>
                <a:gd name="T51" fmla="*/ 157 h 211"/>
                <a:gd name="T52" fmla="*/ 232 w 412"/>
                <a:gd name="T53" fmla="*/ 166 h 211"/>
                <a:gd name="T54" fmla="*/ 263 w 412"/>
                <a:gd name="T55" fmla="*/ 209 h 211"/>
                <a:gd name="T56" fmla="*/ 266 w 412"/>
                <a:gd name="T57" fmla="*/ 210 h 211"/>
                <a:gd name="T58" fmla="*/ 295 w 412"/>
                <a:gd name="T59" fmla="*/ 202 h 211"/>
                <a:gd name="T60" fmla="*/ 310 w 412"/>
                <a:gd name="T61" fmla="*/ 175 h 211"/>
                <a:gd name="T62" fmla="*/ 305 w 412"/>
                <a:gd name="T63" fmla="*/ 152 h 211"/>
                <a:gd name="T64" fmla="*/ 383 w 412"/>
                <a:gd name="T65" fmla="*/ 53 h 211"/>
                <a:gd name="T66" fmla="*/ 412 w 412"/>
                <a:gd name="T67" fmla="*/ 76 h 211"/>
                <a:gd name="T68" fmla="*/ 38 w 412"/>
                <a:gd name="T69" fmla="*/ 189 h 211"/>
                <a:gd name="T70" fmla="*/ 14 w 412"/>
                <a:gd name="T71" fmla="*/ 159 h 211"/>
                <a:gd name="T72" fmla="*/ 24 w 412"/>
                <a:gd name="T73" fmla="*/ 141 h 211"/>
                <a:gd name="T74" fmla="*/ 44 w 412"/>
                <a:gd name="T75" fmla="*/ 136 h 211"/>
                <a:gd name="T76" fmla="*/ 47 w 412"/>
                <a:gd name="T77" fmla="*/ 136 h 211"/>
                <a:gd name="T78" fmla="*/ 68 w 412"/>
                <a:gd name="T79" fmla="*/ 166 h 211"/>
                <a:gd name="T80" fmla="*/ 38 w 412"/>
                <a:gd name="T81" fmla="*/ 189 h 211"/>
                <a:gd name="T82" fmla="*/ 161 w 412"/>
                <a:gd name="T83" fmla="*/ 105 h 211"/>
                <a:gd name="T84" fmla="*/ 137 w 412"/>
                <a:gd name="T85" fmla="*/ 75 h 211"/>
                <a:gd name="T86" fmla="*/ 147 w 412"/>
                <a:gd name="T87" fmla="*/ 57 h 211"/>
                <a:gd name="T88" fmla="*/ 167 w 412"/>
                <a:gd name="T89" fmla="*/ 51 h 211"/>
                <a:gd name="T90" fmla="*/ 170 w 412"/>
                <a:gd name="T91" fmla="*/ 52 h 211"/>
                <a:gd name="T92" fmla="*/ 191 w 412"/>
                <a:gd name="T93" fmla="*/ 81 h 211"/>
                <a:gd name="T94" fmla="*/ 161 w 412"/>
                <a:gd name="T95" fmla="*/ 105 h 211"/>
                <a:gd name="T96" fmla="*/ 288 w 412"/>
                <a:gd name="T97" fmla="*/ 192 h 211"/>
                <a:gd name="T98" fmla="*/ 268 w 412"/>
                <a:gd name="T99" fmla="*/ 198 h 211"/>
                <a:gd name="T100" fmla="*/ 244 w 412"/>
                <a:gd name="T101" fmla="*/ 168 h 211"/>
                <a:gd name="T102" fmla="*/ 254 w 412"/>
                <a:gd name="T103" fmla="*/ 150 h 211"/>
                <a:gd name="T104" fmla="*/ 274 w 412"/>
                <a:gd name="T105" fmla="*/ 144 h 211"/>
                <a:gd name="T106" fmla="*/ 277 w 412"/>
                <a:gd name="T107" fmla="*/ 144 h 211"/>
                <a:gd name="T108" fmla="*/ 298 w 412"/>
                <a:gd name="T109" fmla="*/ 174 h 211"/>
                <a:gd name="T110" fmla="*/ 288 w 412"/>
                <a:gd name="T111" fmla="*/ 192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12" h="211">
                  <a:moveTo>
                    <a:pt x="412" y="76"/>
                  </a:moveTo>
                  <a:cubicBezTo>
                    <a:pt x="407" y="0"/>
                    <a:pt x="407" y="0"/>
                    <a:pt x="407" y="0"/>
                  </a:cubicBezTo>
                  <a:cubicBezTo>
                    <a:pt x="330" y="11"/>
                    <a:pt x="330" y="11"/>
                    <a:pt x="330" y="11"/>
                  </a:cubicBezTo>
                  <a:cubicBezTo>
                    <a:pt x="361" y="36"/>
                    <a:pt x="361" y="36"/>
                    <a:pt x="361" y="36"/>
                  </a:cubicBezTo>
                  <a:cubicBezTo>
                    <a:pt x="283" y="133"/>
                    <a:pt x="283" y="133"/>
                    <a:pt x="283" y="133"/>
                  </a:cubicBezTo>
                  <a:cubicBezTo>
                    <a:pt x="281" y="133"/>
                    <a:pt x="278" y="132"/>
                    <a:pt x="276" y="132"/>
                  </a:cubicBezTo>
                  <a:cubicBezTo>
                    <a:pt x="268" y="131"/>
                    <a:pt x="260" y="132"/>
                    <a:pt x="253" y="136"/>
                  </a:cubicBezTo>
                  <a:cubicBezTo>
                    <a:pt x="201" y="91"/>
                    <a:pt x="201" y="91"/>
                    <a:pt x="201" y="91"/>
                  </a:cubicBezTo>
                  <a:cubicBezTo>
                    <a:pt x="202" y="88"/>
                    <a:pt x="203" y="85"/>
                    <a:pt x="203" y="82"/>
                  </a:cubicBezTo>
                  <a:cubicBezTo>
                    <a:pt x="206" y="61"/>
                    <a:pt x="191" y="41"/>
                    <a:pt x="169" y="39"/>
                  </a:cubicBezTo>
                  <a:cubicBezTo>
                    <a:pt x="158" y="37"/>
                    <a:pt x="148" y="40"/>
                    <a:pt x="140" y="47"/>
                  </a:cubicBezTo>
                  <a:cubicBezTo>
                    <a:pt x="132" y="53"/>
                    <a:pt x="126" y="63"/>
                    <a:pt x="125" y="73"/>
                  </a:cubicBezTo>
                  <a:cubicBezTo>
                    <a:pt x="125" y="78"/>
                    <a:pt x="125" y="83"/>
                    <a:pt x="126" y="87"/>
                  </a:cubicBezTo>
                  <a:cubicBezTo>
                    <a:pt x="63" y="130"/>
                    <a:pt x="63" y="130"/>
                    <a:pt x="63" y="130"/>
                  </a:cubicBezTo>
                  <a:cubicBezTo>
                    <a:pt x="58" y="127"/>
                    <a:pt x="52" y="124"/>
                    <a:pt x="46" y="123"/>
                  </a:cubicBezTo>
                  <a:cubicBezTo>
                    <a:pt x="35" y="122"/>
                    <a:pt x="25" y="125"/>
                    <a:pt x="17" y="132"/>
                  </a:cubicBezTo>
                  <a:cubicBezTo>
                    <a:pt x="8" y="138"/>
                    <a:pt x="3" y="147"/>
                    <a:pt x="2" y="158"/>
                  </a:cubicBezTo>
                  <a:cubicBezTo>
                    <a:pt x="0" y="178"/>
                    <a:pt x="13" y="197"/>
                    <a:pt x="33" y="201"/>
                  </a:cubicBezTo>
                  <a:cubicBezTo>
                    <a:pt x="34" y="201"/>
                    <a:pt x="35" y="201"/>
                    <a:pt x="37" y="202"/>
                  </a:cubicBezTo>
                  <a:cubicBezTo>
                    <a:pt x="58" y="204"/>
                    <a:pt x="78" y="189"/>
                    <a:pt x="80" y="167"/>
                  </a:cubicBezTo>
                  <a:cubicBezTo>
                    <a:pt x="81" y="162"/>
                    <a:pt x="80" y="158"/>
                    <a:pt x="79" y="153"/>
                  </a:cubicBezTo>
                  <a:cubicBezTo>
                    <a:pt x="142" y="111"/>
                    <a:pt x="142" y="111"/>
                    <a:pt x="142" y="111"/>
                  </a:cubicBezTo>
                  <a:cubicBezTo>
                    <a:pt x="146" y="113"/>
                    <a:pt x="151" y="115"/>
                    <a:pt x="156" y="116"/>
                  </a:cubicBezTo>
                  <a:cubicBezTo>
                    <a:pt x="157" y="117"/>
                    <a:pt x="158" y="117"/>
                    <a:pt x="160" y="117"/>
                  </a:cubicBezTo>
                  <a:cubicBezTo>
                    <a:pt x="168" y="118"/>
                    <a:pt x="176" y="116"/>
                    <a:pt x="183" y="113"/>
                  </a:cubicBezTo>
                  <a:cubicBezTo>
                    <a:pt x="234" y="157"/>
                    <a:pt x="234" y="157"/>
                    <a:pt x="234" y="157"/>
                  </a:cubicBezTo>
                  <a:cubicBezTo>
                    <a:pt x="233" y="160"/>
                    <a:pt x="232" y="163"/>
                    <a:pt x="232" y="166"/>
                  </a:cubicBezTo>
                  <a:cubicBezTo>
                    <a:pt x="229" y="186"/>
                    <a:pt x="243" y="205"/>
                    <a:pt x="263" y="209"/>
                  </a:cubicBezTo>
                  <a:cubicBezTo>
                    <a:pt x="264" y="210"/>
                    <a:pt x="265" y="210"/>
                    <a:pt x="266" y="210"/>
                  </a:cubicBezTo>
                  <a:cubicBezTo>
                    <a:pt x="277" y="211"/>
                    <a:pt x="287" y="208"/>
                    <a:pt x="295" y="202"/>
                  </a:cubicBezTo>
                  <a:cubicBezTo>
                    <a:pt x="304" y="195"/>
                    <a:pt x="309" y="186"/>
                    <a:pt x="310" y="175"/>
                  </a:cubicBezTo>
                  <a:cubicBezTo>
                    <a:pt x="311" y="167"/>
                    <a:pt x="309" y="159"/>
                    <a:pt x="305" y="152"/>
                  </a:cubicBezTo>
                  <a:cubicBezTo>
                    <a:pt x="383" y="53"/>
                    <a:pt x="383" y="53"/>
                    <a:pt x="383" y="53"/>
                  </a:cubicBezTo>
                  <a:lnTo>
                    <a:pt x="412" y="76"/>
                  </a:lnTo>
                  <a:close/>
                  <a:moveTo>
                    <a:pt x="38" y="189"/>
                  </a:moveTo>
                  <a:cubicBezTo>
                    <a:pt x="23" y="187"/>
                    <a:pt x="13" y="174"/>
                    <a:pt x="14" y="159"/>
                  </a:cubicBezTo>
                  <a:cubicBezTo>
                    <a:pt x="15" y="152"/>
                    <a:pt x="19" y="146"/>
                    <a:pt x="24" y="141"/>
                  </a:cubicBezTo>
                  <a:cubicBezTo>
                    <a:pt x="30" y="137"/>
                    <a:pt x="37" y="135"/>
                    <a:pt x="44" y="136"/>
                  </a:cubicBezTo>
                  <a:cubicBezTo>
                    <a:pt x="45" y="136"/>
                    <a:pt x="46" y="136"/>
                    <a:pt x="47" y="136"/>
                  </a:cubicBezTo>
                  <a:cubicBezTo>
                    <a:pt x="61" y="139"/>
                    <a:pt x="70" y="152"/>
                    <a:pt x="68" y="166"/>
                  </a:cubicBezTo>
                  <a:cubicBezTo>
                    <a:pt x="66" y="180"/>
                    <a:pt x="53" y="191"/>
                    <a:pt x="38" y="189"/>
                  </a:cubicBezTo>
                  <a:close/>
                  <a:moveTo>
                    <a:pt x="161" y="105"/>
                  </a:moveTo>
                  <a:cubicBezTo>
                    <a:pt x="146" y="103"/>
                    <a:pt x="136" y="89"/>
                    <a:pt x="137" y="75"/>
                  </a:cubicBezTo>
                  <a:cubicBezTo>
                    <a:pt x="138" y="68"/>
                    <a:pt x="142" y="61"/>
                    <a:pt x="147" y="57"/>
                  </a:cubicBezTo>
                  <a:cubicBezTo>
                    <a:pt x="153" y="52"/>
                    <a:pt x="160" y="50"/>
                    <a:pt x="167" y="51"/>
                  </a:cubicBezTo>
                  <a:cubicBezTo>
                    <a:pt x="168" y="51"/>
                    <a:pt x="169" y="51"/>
                    <a:pt x="170" y="52"/>
                  </a:cubicBezTo>
                  <a:cubicBezTo>
                    <a:pt x="184" y="54"/>
                    <a:pt x="193" y="67"/>
                    <a:pt x="191" y="81"/>
                  </a:cubicBezTo>
                  <a:cubicBezTo>
                    <a:pt x="189" y="96"/>
                    <a:pt x="176" y="106"/>
                    <a:pt x="161" y="105"/>
                  </a:cubicBezTo>
                  <a:close/>
                  <a:moveTo>
                    <a:pt x="288" y="192"/>
                  </a:moveTo>
                  <a:cubicBezTo>
                    <a:pt x="282" y="196"/>
                    <a:pt x="275" y="198"/>
                    <a:pt x="268" y="198"/>
                  </a:cubicBezTo>
                  <a:cubicBezTo>
                    <a:pt x="253" y="196"/>
                    <a:pt x="242" y="182"/>
                    <a:pt x="244" y="168"/>
                  </a:cubicBezTo>
                  <a:cubicBezTo>
                    <a:pt x="245" y="160"/>
                    <a:pt x="249" y="154"/>
                    <a:pt x="254" y="150"/>
                  </a:cubicBezTo>
                  <a:cubicBezTo>
                    <a:pt x="260" y="145"/>
                    <a:pt x="267" y="143"/>
                    <a:pt x="274" y="144"/>
                  </a:cubicBezTo>
                  <a:cubicBezTo>
                    <a:pt x="275" y="144"/>
                    <a:pt x="276" y="144"/>
                    <a:pt x="277" y="144"/>
                  </a:cubicBezTo>
                  <a:cubicBezTo>
                    <a:pt x="290" y="147"/>
                    <a:pt x="299" y="160"/>
                    <a:pt x="298" y="174"/>
                  </a:cubicBezTo>
                  <a:cubicBezTo>
                    <a:pt x="297" y="181"/>
                    <a:pt x="293" y="188"/>
                    <a:pt x="288" y="192"/>
                  </a:cubicBezTo>
                  <a:close/>
                </a:path>
              </a:pathLst>
            </a:custGeom>
            <a:ln/>
            <a:extLst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25" name="Group 14">
            <a:extLst>
              <a:ext uri="{FF2B5EF4-FFF2-40B4-BE49-F238E27FC236}">
                <a16:creationId xmlns:a16="http://schemas.microsoft.com/office/drawing/2014/main" xmlns="" id="{9FFA1363-7359-4FA6-B2CA-232DE26F1130}"/>
              </a:ext>
            </a:extLst>
          </p:cNvPr>
          <p:cNvGrpSpPr/>
          <p:nvPr/>
        </p:nvGrpSpPr>
        <p:grpSpPr>
          <a:xfrm>
            <a:off x="2621280" y="5002605"/>
            <a:ext cx="683611" cy="681608"/>
            <a:chOff x="5318252" y="1756926"/>
            <a:chExt cx="1106726" cy="1103481"/>
          </a:xfrm>
        </p:grpSpPr>
        <p:sp>
          <p:nvSpPr>
            <p:cNvPr id="26" name="Oval 62">
              <a:extLst>
                <a:ext uri="{FF2B5EF4-FFF2-40B4-BE49-F238E27FC236}">
                  <a16:creationId xmlns:a16="http://schemas.microsoft.com/office/drawing/2014/main" xmlns="" id="{1BDE6B91-7ECB-4AAF-9F51-52D635635F6D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5318252" y="1756926"/>
              <a:ext cx="1106726" cy="1103481"/>
            </a:xfrm>
            <a:prstGeom prst="ellipse">
              <a:avLst/>
            </a:prstGeom>
            <a:ln>
              <a:headEnd/>
              <a:tailEnd/>
            </a:ln>
            <a:extLst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" name="Freeform 112">
              <a:extLst>
                <a:ext uri="{FF2B5EF4-FFF2-40B4-BE49-F238E27FC236}">
                  <a16:creationId xmlns:a16="http://schemas.microsoft.com/office/drawing/2014/main" xmlns="" id="{869041B2-75B9-4413-8EF8-1937B4942598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541629" y="2140488"/>
              <a:ext cx="659972" cy="336356"/>
            </a:xfrm>
            <a:custGeom>
              <a:avLst/>
              <a:gdLst>
                <a:gd name="T0" fmla="*/ 412 w 412"/>
                <a:gd name="T1" fmla="*/ 76 h 211"/>
                <a:gd name="T2" fmla="*/ 407 w 412"/>
                <a:gd name="T3" fmla="*/ 0 h 211"/>
                <a:gd name="T4" fmla="*/ 330 w 412"/>
                <a:gd name="T5" fmla="*/ 11 h 211"/>
                <a:gd name="T6" fmla="*/ 361 w 412"/>
                <a:gd name="T7" fmla="*/ 36 h 211"/>
                <a:gd name="T8" fmla="*/ 283 w 412"/>
                <a:gd name="T9" fmla="*/ 133 h 211"/>
                <a:gd name="T10" fmla="*/ 276 w 412"/>
                <a:gd name="T11" fmla="*/ 132 h 211"/>
                <a:gd name="T12" fmla="*/ 253 w 412"/>
                <a:gd name="T13" fmla="*/ 136 h 211"/>
                <a:gd name="T14" fmla="*/ 201 w 412"/>
                <a:gd name="T15" fmla="*/ 91 h 211"/>
                <a:gd name="T16" fmla="*/ 203 w 412"/>
                <a:gd name="T17" fmla="*/ 82 h 211"/>
                <a:gd name="T18" fmla="*/ 169 w 412"/>
                <a:gd name="T19" fmla="*/ 39 h 211"/>
                <a:gd name="T20" fmla="*/ 140 w 412"/>
                <a:gd name="T21" fmla="*/ 47 h 211"/>
                <a:gd name="T22" fmla="*/ 125 w 412"/>
                <a:gd name="T23" fmla="*/ 73 h 211"/>
                <a:gd name="T24" fmla="*/ 126 w 412"/>
                <a:gd name="T25" fmla="*/ 87 h 211"/>
                <a:gd name="T26" fmla="*/ 63 w 412"/>
                <a:gd name="T27" fmla="*/ 130 h 211"/>
                <a:gd name="T28" fmla="*/ 46 w 412"/>
                <a:gd name="T29" fmla="*/ 123 h 211"/>
                <a:gd name="T30" fmla="*/ 17 w 412"/>
                <a:gd name="T31" fmla="*/ 132 h 211"/>
                <a:gd name="T32" fmla="*/ 2 w 412"/>
                <a:gd name="T33" fmla="*/ 158 h 211"/>
                <a:gd name="T34" fmla="*/ 33 w 412"/>
                <a:gd name="T35" fmla="*/ 201 h 211"/>
                <a:gd name="T36" fmla="*/ 37 w 412"/>
                <a:gd name="T37" fmla="*/ 202 h 211"/>
                <a:gd name="T38" fmla="*/ 80 w 412"/>
                <a:gd name="T39" fmla="*/ 167 h 211"/>
                <a:gd name="T40" fmla="*/ 79 w 412"/>
                <a:gd name="T41" fmla="*/ 153 h 211"/>
                <a:gd name="T42" fmla="*/ 142 w 412"/>
                <a:gd name="T43" fmla="*/ 111 h 211"/>
                <a:gd name="T44" fmla="*/ 156 w 412"/>
                <a:gd name="T45" fmla="*/ 116 h 211"/>
                <a:gd name="T46" fmla="*/ 160 w 412"/>
                <a:gd name="T47" fmla="*/ 117 h 211"/>
                <a:gd name="T48" fmla="*/ 183 w 412"/>
                <a:gd name="T49" fmla="*/ 113 h 211"/>
                <a:gd name="T50" fmla="*/ 234 w 412"/>
                <a:gd name="T51" fmla="*/ 157 h 211"/>
                <a:gd name="T52" fmla="*/ 232 w 412"/>
                <a:gd name="T53" fmla="*/ 166 h 211"/>
                <a:gd name="T54" fmla="*/ 263 w 412"/>
                <a:gd name="T55" fmla="*/ 209 h 211"/>
                <a:gd name="T56" fmla="*/ 266 w 412"/>
                <a:gd name="T57" fmla="*/ 210 h 211"/>
                <a:gd name="T58" fmla="*/ 295 w 412"/>
                <a:gd name="T59" fmla="*/ 202 h 211"/>
                <a:gd name="T60" fmla="*/ 310 w 412"/>
                <a:gd name="T61" fmla="*/ 175 h 211"/>
                <a:gd name="T62" fmla="*/ 305 w 412"/>
                <a:gd name="T63" fmla="*/ 152 h 211"/>
                <a:gd name="T64" fmla="*/ 383 w 412"/>
                <a:gd name="T65" fmla="*/ 53 h 211"/>
                <a:gd name="T66" fmla="*/ 412 w 412"/>
                <a:gd name="T67" fmla="*/ 76 h 211"/>
                <a:gd name="T68" fmla="*/ 38 w 412"/>
                <a:gd name="T69" fmla="*/ 189 h 211"/>
                <a:gd name="T70" fmla="*/ 14 w 412"/>
                <a:gd name="T71" fmla="*/ 159 h 211"/>
                <a:gd name="T72" fmla="*/ 24 w 412"/>
                <a:gd name="T73" fmla="*/ 141 h 211"/>
                <a:gd name="T74" fmla="*/ 44 w 412"/>
                <a:gd name="T75" fmla="*/ 136 h 211"/>
                <a:gd name="T76" fmla="*/ 47 w 412"/>
                <a:gd name="T77" fmla="*/ 136 h 211"/>
                <a:gd name="T78" fmla="*/ 68 w 412"/>
                <a:gd name="T79" fmla="*/ 166 h 211"/>
                <a:gd name="T80" fmla="*/ 38 w 412"/>
                <a:gd name="T81" fmla="*/ 189 h 211"/>
                <a:gd name="T82" fmla="*/ 161 w 412"/>
                <a:gd name="T83" fmla="*/ 105 h 211"/>
                <a:gd name="T84" fmla="*/ 137 w 412"/>
                <a:gd name="T85" fmla="*/ 75 h 211"/>
                <a:gd name="T86" fmla="*/ 147 w 412"/>
                <a:gd name="T87" fmla="*/ 57 h 211"/>
                <a:gd name="T88" fmla="*/ 167 w 412"/>
                <a:gd name="T89" fmla="*/ 51 h 211"/>
                <a:gd name="T90" fmla="*/ 170 w 412"/>
                <a:gd name="T91" fmla="*/ 52 h 211"/>
                <a:gd name="T92" fmla="*/ 191 w 412"/>
                <a:gd name="T93" fmla="*/ 81 h 211"/>
                <a:gd name="T94" fmla="*/ 161 w 412"/>
                <a:gd name="T95" fmla="*/ 105 h 211"/>
                <a:gd name="T96" fmla="*/ 288 w 412"/>
                <a:gd name="T97" fmla="*/ 192 h 211"/>
                <a:gd name="T98" fmla="*/ 268 w 412"/>
                <a:gd name="T99" fmla="*/ 198 h 211"/>
                <a:gd name="T100" fmla="*/ 244 w 412"/>
                <a:gd name="T101" fmla="*/ 168 h 211"/>
                <a:gd name="T102" fmla="*/ 254 w 412"/>
                <a:gd name="T103" fmla="*/ 150 h 211"/>
                <a:gd name="T104" fmla="*/ 274 w 412"/>
                <a:gd name="T105" fmla="*/ 144 h 211"/>
                <a:gd name="T106" fmla="*/ 277 w 412"/>
                <a:gd name="T107" fmla="*/ 144 h 211"/>
                <a:gd name="T108" fmla="*/ 298 w 412"/>
                <a:gd name="T109" fmla="*/ 174 h 211"/>
                <a:gd name="T110" fmla="*/ 288 w 412"/>
                <a:gd name="T111" fmla="*/ 192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12" h="211">
                  <a:moveTo>
                    <a:pt x="412" y="76"/>
                  </a:moveTo>
                  <a:cubicBezTo>
                    <a:pt x="407" y="0"/>
                    <a:pt x="407" y="0"/>
                    <a:pt x="407" y="0"/>
                  </a:cubicBezTo>
                  <a:cubicBezTo>
                    <a:pt x="330" y="11"/>
                    <a:pt x="330" y="11"/>
                    <a:pt x="330" y="11"/>
                  </a:cubicBezTo>
                  <a:cubicBezTo>
                    <a:pt x="361" y="36"/>
                    <a:pt x="361" y="36"/>
                    <a:pt x="361" y="36"/>
                  </a:cubicBezTo>
                  <a:cubicBezTo>
                    <a:pt x="283" y="133"/>
                    <a:pt x="283" y="133"/>
                    <a:pt x="283" y="133"/>
                  </a:cubicBezTo>
                  <a:cubicBezTo>
                    <a:pt x="281" y="133"/>
                    <a:pt x="278" y="132"/>
                    <a:pt x="276" y="132"/>
                  </a:cubicBezTo>
                  <a:cubicBezTo>
                    <a:pt x="268" y="131"/>
                    <a:pt x="260" y="132"/>
                    <a:pt x="253" y="136"/>
                  </a:cubicBezTo>
                  <a:cubicBezTo>
                    <a:pt x="201" y="91"/>
                    <a:pt x="201" y="91"/>
                    <a:pt x="201" y="91"/>
                  </a:cubicBezTo>
                  <a:cubicBezTo>
                    <a:pt x="202" y="88"/>
                    <a:pt x="203" y="85"/>
                    <a:pt x="203" y="82"/>
                  </a:cubicBezTo>
                  <a:cubicBezTo>
                    <a:pt x="206" y="61"/>
                    <a:pt x="191" y="41"/>
                    <a:pt x="169" y="39"/>
                  </a:cubicBezTo>
                  <a:cubicBezTo>
                    <a:pt x="158" y="37"/>
                    <a:pt x="148" y="40"/>
                    <a:pt x="140" y="47"/>
                  </a:cubicBezTo>
                  <a:cubicBezTo>
                    <a:pt x="132" y="53"/>
                    <a:pt x="126" y="63"/>
                    <a:pt x="125" y="73"/>
                  </a:cubicBezTo>
                  <a:cubicBezTo>
                    <a:pt x="125" y="78"/>
                    <a:pt x="125" y="83"/>
                    <a:pt x="126" y="87"/>
                  </a:cubicBezTo>
                  <a:cubicBezTo>
                    <a:pt x="63" y="130"/>
                    <a:pt x="63" y="130"/>
                    <a:pt x="63" y="130"/>
                  </a:cubicBezTo>
                  <a:cubicBezTo>
                    <a:pt x="58" y="127"/>
                    <a:pt x="52" y="124"/>
                    <a:pt x="46" y="123"/>
                  </a:cubicBezTo>
                  <a:cubicBezTo>
                    <a:pt x="35" y="122"/>
                    <a:pt x="25" y="125"/>
                    <a:pt x="17" y="132"/>
                  </a:cubicBezTo>
                  <a:cubicBezTo>
                    <a:pt x="8" y="138"/>
                    <a:pt x="3" y="147"/>
                    <a:pt x="2" y="158"/>
                  </a:cubicBezTo>
                  <a:cubicBezTo>
                    <a:pt x="0" y="178"/>
                    <a:pt x="13" y="197"/>
                    <a:pt x="33" y="201"/>
                  </a:cubicBezTo>
                  <a:cubicBezTo>
                    <a:pt x="34" y="201"/>
                    <a:pt x="35" y="201"/>
                    <a:pt x="37" y="202"/>
                  </a:cubicBezTo>
                  <a:cubicBezTo>
                    <a:pt x="58" y="204"/>
                    <a:pt x="78" y="189"/>
                    <a:pt x="80" y="167"/>
                  </a:cubicBezTo>
                  <a:cubicBezTo>
                    <a:pt x="81" y="162"/>
                    <a:pt x="80" y="158"/>
                    <a:pt x="79" y="153"/>
                  </a:cubicBezTo>
                  <a:cubicBezTo>
                    <a:pt x="142" y="111"/>
                    <a:pt x="142" y="111"/>
                    <a:pt x="142" y="111"/>
                  </a:cubicBezTo>
                  <a:cubicBezTo>
                    <a:pt x="146" y="113"/>
                    <a:pt x="151" y="115"/>
                    <a:pt x="156" y="116"/>
                  </a:cubicBezTo>
                  <a:cubicBezTo>
                    <a:pt x="157" y="117"/>
                    <a:pt x="158" y="117"/>
                    <a:pt x="160" y="117"/>
                  </a:cubicBezTo>
                  <a:cubicBezTo>
                    <a:pt x="168" y="118"/>
                    <a:pt x="176" y="116"/>
                    <a:pt x="183" y="113"/>
                  </a:cubicBezTo>
                  <a:cubicBezTo>
                    <a:pt x="234" y="157"/>
                    <a:pt x="234" y="157"/>
                    <a:pt x="234" y="157"/>
                  </a:cubicBezTo>
                  <a:cubicBezTo>
                    <a:pt x="233" y="160"/>
                    <a:pt x="232" y="163"/>
                    <a:pt x="232" y="166"/>
                  </a:cubicBezTo>
                  <a:cubicBezTo>
                    <a:pt x="229" y="186"/>
                    <a:pt x="243" y="205"/>
                    <a:pt x="263" y="209"/>
                  </a:cubicBezTo>
                  <a:cubicBezTo>
                    <a:pt x="264" y="210"/>
                    <a:pt x="265" y="210"/>
                    <a:pt x="266" y="210"/>
                  </a:cubicBezTo>
                  <a:cubicBezTo>
                    <a:pt x="277" y="211"/>
                    <a:pt x="287" y="208"/>
                    <a:pt x="295" y="202"/>
                  </a:cubicBezTo>
                  <a:cubicBezTo>
                    <a:pt x="304" y="195"/>
                    <a:pt x="309" y="186"/>
                    <a:pt x="310" y="175"/>
                  </a:cubicBezTo>
                  <a:cubicBezTo>
                    <a:pt x="311" y="167"/>
                    <a:pt x="309" y="159"/>
                    <a:pt x="305" y="152"/>
                  </a:cubicBezTo>
                  <a:cubicBezTo>
                    <a:pt x="383" y="53"/>
                    <a:pt x="383" y="53"/>
                    <a:pt x="383" y="53"/>
                  </a:cubicBezTo>
                  <a:lnTo>
                    <a:pt x="412" y="76"/>
                  </a:lnTo>
                  <a:close/>
                  <a:moveTo>
                    <a:pt x="38" y="189"/>
                  </a:moveTo>
                  <a:cubicBezTo>
                    <a:pt x="23" y="187"/>
                    <a:pt x="13" y="174"/>
                    <a:pt x="14" y="159"/>
                  </a:cubicBezTo>
                  <a:cubicBezTo>
                    <a:pt x="15" y="152"/>
                    <a:pt x="19" y="146"/>
                    <a:pt x="24" y="141"/>
                  </a:cubicBezTo>
                  <a:cubicBezTo>
                    <a:pt x="30" y="137"/>
                    <a:pt x="37" y="135"/>
                    <a:pt x="44" y="136"/>
                  </a:cubicBezTo>
                  <a:cubicBezTo>
                    <a:pt x="45" y="136"/>
                    <a:pt x="46" y="136"/>
                    <a:pt x="47" y="136"/>
                  </a:cubicBezTo>
                  <a:cubicBezTo>
                    <a:pt x="61" y="139"/>
                    <a:pt x="70" y="152"/>
                    <a:pt x="68" y="166"/>
                  </a:cubicBezTo>
                  <a:cubicBezTo>
                    <a:pt x="66" y="180"/>
                    <a:pt x="53" y="191"/>
                    <a:pt x="38" y="189"/>
                  </a:cubicBezTo>
                  <a:close/>
                  <a:moveTo>
                    <a:pt x="161" y="105"/>
                  </a:moveTo>
                  <a:cubicBezTo>
                    <a:pt x="146" y="103"/>
                    <a:pt x="136" y="89"/>
                    <a:pt x="137" y="75"/>
                  </a:cubicBezTo>
                  <a:cubicBezTo>
                    <a:pt x="138" y="68"/>
                    <a:pt x="142" y="61"/>
                    <a:pt x="147" y="57"/>
                  </a:cubicBezTo>
                  <a:cubicBezTo>
                    <a:pt x="153" y="52"/>
                    <a:pt x="160" y="50"/>
                    <a:pt x="167" y="51"/>
                  </a:cubicBezTo>
                  <a:cubicBezTo>
                    <a:pt x="168" y="51"/>
                    <a:pt x="169" y="51"/>
                    <a:pt x="170" y="52"/>
                  </a:cubicBezTo>
                  <a:cubicBezTo>
                    <a:pt x="184" y="54"/>
                    <a:pt x="193" y="67"/>
                    <a:pt x="191" y="81"/>
                  </a:cubicBezTo>
                  <a:cubicBezTo>
                    <a:pt x="189" y="96"/>
                    <a:pt x="176" y="106"/>
                    <a:pt x="161" y="105"/>
                  </a:cubicBezTo>
                  <a:close/>
                  <a:moveTo>
                    <a:pt x="288" y="192"/>
                  </a:moveTo>
                  <a:cubicBezTo>
                    <a:pt x="282" y="196"/>
                    <a:pt x="275" y="198"/>
                    <a:pt x="268" y="198"/>
                  </a:cubicBezTo>
                  <a:cubicBezTo>
                    <a:pt x="253" y="196"/>
                    <a:pt x="242" y="182"/>
                    <a:pt x="244" y="168"/>
                  </a:cubicBezTo>
                  <a:cubicBezTo>
                    <a:pt x="245" y="160"/>
                    <a:pt x="249" y="154"/>
                    <a:pt x="254" y="150"/>
                  </a:cubicBezTo>
                  <a:cubicBezTo>
                    <a:pt x="260" y="145"/>
                    <a:pt x="267" y="143"/>
                    <a:pt x="274" y="144"/>
                  </a:cubicBezTo>
                  <a:cubicBezTo>
                    <a:pt x="275" y="144"/>
                    <a:pt x="276" y="144"/>
                    <a:pt x="277" y="144"/>
                  </a:cubicBezTo>
                  <a:cubicBezTo>
                    <a:pt x="290" y="147"/>
                    <a:pt x="299" y="160"/>
                    <a:pt x="298" y="174"/>
                  </a:cubicBezTo>
                  <a:cubicBezTo>
                    <a:pt x="297" y="181"/>
                    <a:pt x="293" y="188"/>
                    <a:pt x="288" y="192"/>
                  </a:cubicBezTo>
                  <a:close/>
                </a:path>
              </a:pathLst>
            </a:custGeom>
            <a:ln/>
            <a:extLst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42" name="Прямоугольник 41"/>
          <p:cNvSpPr/>
          <p:nvPr/>
        </p:nvSpPr>
        <p:spPr>
          <a:xfrm>
            <a:off x="4804348" y="716998"/>
            <a:ext cx="6446047" cy="1298735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b="1" dirty="0" smtClean="0"/>
              <a:t>Деятельность </a:t>
            </a:r>
            <a:r>
              <a:rPr lang="ru-RU" b="1" dirty="0" smtClean="0"/>
              <a:t>Родительских </a:t>
            </a:r>
            <a:r>
              <a:rPr lang="ru-RU" b="1" dirty="0" smtClean="0"/>
              <a:t>клубов </a:t>
            </a:r>
          </a:p>
          <a:p>
            <a:pPr algn="ctr"/>
            <a:r>
              <a:rPr lang="ru-RU" dirty="0" smtClean="0"/>
              <a:t>(изготовление семейных фотоколлажей, семейные детско-взрослые проекты, совместные творческие выставки, досуги, развлечения, чаепития )</a:t>
            </a:r>
            <a:endParaRPr lang="ru-RU" dirty="0"/>
          </a:p>
        </p:txBody>
      </p:sp>
      <p:sp>
        <p:nvSpPr>
          <p:cNvPr id="43" name="Прямоугольник 42"/>
          <p:cNvSpPr/>
          <p:nvPr/>
        </p:nvSpPr>
        <p:spPr>
          <a:xfrm>
            <a:off x="5091883" y="2713637"/>
            <a:ext cx="6471920" cy="1061830"/>
          </a:xfrm>
          <a:prstGeom prst="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b="1" dirty="0" smtClean="0"/>
              <a:t>День родительского самоуправления  </a:t>
            </a:r>
          </a:p>
          <a:p>
            <a:pPr algn="ctr"/>
            <a:r>
              <a:rPr lang="ru-RU" dirty="0" smtClean="0"/>
              <a:t>«В мире дошкольного детства»</a:t>
            </a:r>
            <a:endParaRPr lang="ru-RU" dirty="0"/>
          </a:p>
        </p:txBody>
      </p:sp>
      <p:sp>
        <p:nvSpPr>
          <p:cNvPr id="44" name="Прямоугольник 43"/>
          <p:cNvSpPr/>
          <p:nvPr/>
        </p:nvSpPr>
        <p:spPr>
          <a:xfrm>
            <a:off x="4804347" y="4499696"/>
            <a:ext cx="6446047" cy="9431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b="1" dirty="0" smtClean="0"/>
              <a:t>Родительский журфикс </a:t>
            </a:r>
            <a:r>
              <a:rPr lang="ru-RU" dirty="0" smtClean="0"/>
              <a:t>«Воспитание наших детей»</a:t>
            </a:r>
            <a:endParaRPr lang="ru-RU" dirty="0"/>
          </a:p>
        </p:txBody>
      </p:sp>
      <p:sp>
        <p:nvSpPr>
          <p:cNvPr id="49" name="Google Shape;464;p40"/>
          <p:cNvSpPr/>
          <p:nvPr/>
        </p:nvSpPr>
        <p:spPr>
          <a:xfrm>
            <a:off x="272510" y="5218244"/>
            <a:ext cx="1104911" cy="1088368"/>
          </a:xfrm>
          <a:custGeom>
            <a:avLst/>
            <a:gdLst/>
            <a:ahLst/>
            <a:cxnLst/>
            <a:rect l="l" t="t" r="r" b="b"/>
            <a:pathLst>
              <a:path w="20975" h="20659" extrusionOk="0">
                <a:moveTo>
                  <a:pt x="10317" y="1704"/>
                </a:moveTo>
                <a:lnTo>
                  <a:pt x="10269" y="1728"/>
                </a:lnTo>
                <a:lnTo>
                  <a:pt x="10171" y="1825"/>
                </a:lnTo>
                <a:lnTo>
                  <a:pt x="10123" y="1947"/>
                </a:lnTo>
                <a:lnTo>
                  <a:pt x="10098" y="2069"/>
                </a:lnTo>
                <a:lnTo>
                  <a:pt x="10074" y="2190"/>
                </a:lnTo>
                <a:lnTo>
                  <a:pt x="10050" y="2336"/>
                </a:lnTo>
                <a:lnTo>
                  <a:pt x="10050" y="2482"/>
                </a:lnTo>
                <a:lnTo>
                  <a:pt x="10098" y="2653"/>
                </a:lnTo>
                <a:lnTo>
                  <a:pt x="10123" y="2701"/>
                </a:lnTo>
                <a:lnTo>
                  <a:pt x="10147" y="2774"/>
                </a:lnTo>
                <a:lnTo>
                  <a:pt x="10196" y="2799"/>
                </a:lnTo>
                <a:lnTo>
                  <a:pt x="10244" y="2823"/>
                </a:lnTo>
                <a:lnTo>
                  <a:pt x="10342" y="2823"/>
                </a:lnTo>
                <a:lnTo>
                  <a:pt x="10439" y="2774"/>
                </a:lnTo>
                <a:lnTo>
                  <a:pt x="10463" y="2726"/>
                </a:lnTo>
                <a:lnTo>
                  <a:pt x="10488" y="2677"/>
                </a:lnTo>
                <a:lnTo>
                  <a:pt x="10488" y="2580"/>
                </a:lnTo>
                <a:lnTo>
                  <a:pt x="10488" y="2482"/>
                </a:lnTo>
                <a:lnTo>
                  <a:pt x="10463" y="2263"/>
                </a:lnTo>
                <a:lnTo>
                  <a:pt x="10463" y="1850"/>
                </a:lnTo>
                <a:lnTo>
                  <a:pt x="10439" y="1777"/>
                </a:lnTo>
                <a:lnTo>
                  <a:pt x="10390" y="1728"/>
                </a:lnTo>
                <a:lnTo>
                  <a:pt x="10317" y="1704"/>
                </a:lnTo>
                <a:close/>
                <a:moveTo>
                  <a:pt x="8054" y="1"/>
                </a:moveTo>
                <a:lnTo>
                  <a:pt x="7981" y="25"/>
                </a:lnTo>
                <a:lnTo>
                  <a:pt x="7933" y="122"/>
                </a:lnTo>
                <a:lnTo>
                  <a:pt x="7908" y="220"/>
                </a:lnTo>
                <a:lnTo>
                  <a:pt x="7884" y="439"/>
                </a:lnTo>
                <a:lnTo>
                  <a:pt x="7908" y="852"/>
                </a:lnTo>
                <a:lnTo>
                  <a:pt x="7933" y="1071"/>
                </a:lnTo>
                <a:lnTo>
                  <a:pt x="7957" y="1290"/>
                </a:lnTo>
                <a:lnTo>
                  <a:pt x="8054" y="1704"/>
                </a:lnTo>
                <a:lnTo>
                  <a:pt x="8103" y="2044"/>
                </a:lnTo>
                <a:lnTo>
                  <a:pt x="8200" y="2458"/>
                </a:lnTo>
                <a:lnTo>
                  <a:pt x="8273" y="2653"/>
                </a:lnTo>
                <a:lnTo>
                  <a:pt x="8371" y="2823"/>
                </a:lnTo>
                <a:lnTo>
                  <a:pt x="8468" y="2969"/>
                </a:lnTo>
                <a:lnTo>
                  <a:pt x="8541" y="2993"/>
                </a:lnTo>
                <a:lnTo>
                  <a:pt x="8614" y="3042"/>
                </a:lnTo>
                <a:lnTo>
                  <a:pt x="8711" y="3042"/>
                </a:lnTo>
                <a:lnTo>
                  <a:pt x="8784" y="2993"/>
                </a:lnTo>
                <a:lnTo>
                  <a:pt x="8857" y="2920"/>
                </a:lnTo>
                <a:lnTo>
                  <a:pt x="8857" y="2847"/>
                </a:lnTo>
                <a:lnTo>
                  <a:pt x="8857" y="2726"/>
                </a:lnTo>
                <a:lnTo>
                  <a:pt x="8809" y="2604"/>
                </a:lnTo>
                <a:lnTo>
                  <a:pt x="8711" y="2385"/>
                </a:lnTo>
                <a:lnTo>
                  <a:pt x="8614" y="2044"/>
                </a:lnTo>
                <a:lnTo>
                  <a:pt x="8517" y="1704"/>
                </a:lnTo>
                <a:lnTo>
                  <a:pt x="8444" y="1290"/>
                </a:lnTo>
                <a:lnTo>
                  <a:pt x="8395" y="876"/>
                </a:lnTo>
                <a:lnTo>
                  <a:pt x="8322" y="487"/>
                </a:lnTo>
                <a:lnTo>
                  <a:pt x="8273" y="293"/>
                </a:lnTo>
                <a:lnTo>
                  <a:pt x="8225" y="98"/>
                </a:lnTo>
                <a:lnTo>
                  <a:pt x="8176" y="25"/>
                </a:lnTo>
                <a:lnTo>
                  <a:pt x="8103" y="1"/>
                </a:lnTo>
                <a:close/>
                <a:moveTo>
                  <a:pt x="12483" y="1"/>
                </a:moveTo>
                <a:lnTo>
                  <a:pt x="12337" y="122"/>
                </a:lnTo>
                <a:lnTo>
                  <a:pt x="12239" y="244"/>
                </a:lnTo>
                <a:lnTo>
                  <a:pt x="12142" y="414"/>
                </a:lnTo>
                <a:lnTo>
                  <a:pt x="12093" y="585"/>
                </a:lnTo>
                <a:lnTo>
                  <a:pt x="11996" y="949"/>
                </a:lnTo>
                <a:lnTo>
                  <a:pt x="11923" y="1290"/>
                </a:lnTo>
                <a:lnTo>
                  <a:pt x="11753" y="2166"/>
                </a:lnTo>
                <a:lnTo>
                  <a:pt x="11631" y="2531"/>
                </a:lnTo>
                <a:lnTo>
                  <a:pt x="11607" y="2701"/>
                </a:lnTo>
                <a:lnTo>
                  <a:pt x="11607" y="2799"/>
                </a:lnTo>
                <a:lnTo>
                  <a:pt x="11607" y="2872"/>
                </a:lnTo>
                <a:lnTo>
                  <a:pt x="11655" y="2969"/>
                </a:lnTo>
                <a:lnTo>
                  <a:pt x="11753" y="3018"/>
                </a:lnTo>
                <a:lnTo>
                  <a:pt x="11850" y="3042"/>
                </a:lnTo>
                <a:lnTo>
                  <a:pt x="11947" y="3018"/>
                </a:lnTo>
                <a:lnTo>
                  <a:pt x="12069" y="2920"/>
                </a:lnTo>
                <a:lnTo>
                  <a:pt x="12142" y="2774"/>
                </a:lnTo>
                <a:lnTo>
                  <a:pt x="12191" y="2604"/>
                </a:lnTo>
                <a:lnTo>
                  <a:pt x="12239" y="2434"/>
                </a:lnTo>
                <a:lnTo>
                  <a:pt x="12288" y="2069"/>
                </a:lnTo>
                <a:lnTo>
                  <a:pt x="12337" y="1752"/>
                </a:lnTo>
                <a:lnTo>
                  <a:pt x="12458" y="974"/>
                </a:lnTo>
                <a:lnTo>
                  <a:pt x="12556" y="585"/>
                </a:lnTo>
                <a:lnTo>
                  <a:pt x="12604" y="390"/>
                </a:lnTo>
                <a:lnTo>
                  <a:pt x="12677" y="220"/>
                </a:lnTo>
                <a:lnTo>
                  <a:pt x="12702" y="171"/>
                </a:lnTo>
                <a:lnTo>
                  <a:pt x="12702" y="122"/>
                </a:lnTo>
                <a:lnTo>
                  <a:pt x="12653" y="25"/>
                </a:lnTo>
                <a:lnTo>
                  <a:pt x="12629" y="1"/>
                </a:lnTo>
                <a:close/>
                <a:moveTo>
                  <a:pt x="14089" y="2507"/>
                </a:moveTo>
                <a:lnTo>
                  <a:pt x="13991" y="2555"/>
                </a:lnTo>
                <a:lnTo>
                  <a:pt x="13918" y="2628"/>
                </a:lnTo>
                <a:lnTo>
                  <a:pt x="13845" y="2726"/>
                </a:lnTo>
                <a:lnTo>
                  <a:pt x="13797" y="2847"/>
                </a:lnTo>
                <a:lnTo>
                  <a:pt x="13699" y="3066"/>
                </a:lnTo>
                <a:lnTo>
                  <a:pt x="13651" y="3212"/>
                </a:lnTo>
                <a:lnTo>
                  <a:pt x="13651" y="3334"/>
                </a:lnTo>
                <a:lnTo>
                  <a:pt x="13651" y="3383"/>
                </a:lnTo>
                <a:lnTo>
                  <a:pt x="13675" y="3431"/>
                </a:lnTo>
                <a:lnTo>
                  <a:pt x="13724" y="3456"/>
                </a:lnTo>
                <a:lnTo>
                  <a:pt x="13772" y="3480"/>
                </a:lnTo>
                <a:lnTo>
                  <a:pt x="13821" y="3504"/>
                </a:lnTo>
                <a:lnTo>
                  <a:pt x="13894" y="3480"/>
                </a:lnTo>
                <a:lnTo>
                  <a:pt x="13918" y="3456"/>
                </a:lnTo>
                <a:lnTo>
                  <a:pt x="13967" y="3407"/>
                </a:lnTo>
                <a:lnTo>
                  <a:pt x="14040" y="3212"/>
                </a:lnTo>
                <a:lnTo>
                  <a:pt x="14089" y="3018"/>
                </a:lnTo>
                <a:lnTo>
                  <a:pt x="14162" y="2799"/>
                </a:lnTo>
                <a:lnTo>
                  <a:pt x="14210" y="2701"/>
                </a:lnTo>
                <a:lnTo>
                  <a:pt x="14235" y="2604"/>
                </a:lnTo>
                <a:lnTo>
                  <a:pt x="14210" y="2555"/>
                </a:lnTo>
                <a:lnTo>
                  <a:pt x="14186" y="2531"/>
                </a:lnTo>
                <a:lnTo>
                  <a:pt x="14137" y="2507"/>
                </a:lnTo>
                <a:close/>
                <a:moveTo>
                  <a:pt x="6692" y="2385"/>
                </a:moveTo>
                <a:lnTo>
                  <a:pt x="6667" y="2409"/>
                </a:lnTo>
                <a:lnTo>
                  <a:pt x="6594" y="2507"/>
                </a:lnTo>
                <a:lnTo>
                  <a:pt x="6570" y="2628"/>
                </a:lnTo>
                <a:lnTo>
                  <a:pt x="6594" y="2774"/>
                </a:lnTo>
                <a:lnTo>
                  <a:pt x="6619" y="2920"/>
                </a:lnTo>
                <a:lnTo>
                  <a:pt x="6740" y="3188"/>
                </a:lnTo>
                <a:lnTo>
                  <a:pt x="6838" y="3431"/>
                </a:lnTo>
                <a:lnTo>
                  <a:pt x="6886" y="3504"/>
                </a:lnTo>
                <a:lnTo>
                  <a:pt x="6935" y="3553"/>
                </a:lnTo>
                <a:lnTo>
                  <a:pt x="7008" y="3553"/>
                </a:lnTo>
                <a:lnTo>
                  <a:pt x="7081" y="3529"/>
                </a:lnTo>
                <a:lnTo>
                  <a:pt x="7130" y="3504"/>
                </a:lnTo>
                <a:lnTo>
                  <a:pt x="7154" y="3456"/>
                </a:lnTo>
                <a:lnTo>
                  <a:pt x="7178" y="3383"/>
                </a:lnTo>
                <a:lnTo>
                  <a:pt x="7154" y="3310"/>
                </a:lnTo>
                <a:lnTo>
                  <a:pt x="6935" y="2823"/>
                </a:lnTo>
                <a:lnTo>
                  <a:pt x="6862" y="2604"/>
                </a:lnTo>
                <a:lnTo>
                  <a:pt x="6813" y="2507"/>
                </a:lnTo>
                <a:lnTo>
                  <a:pt x="6740" y="2409"/>
                </a:lnTo>
                <a:lnTo>
                  <a:pt x="6692" y="2385"/>
                </a:lnTo>
                <a:close/>
                <a:moveTo>
                  <a:pt x="16668" y="2020"/>
                </a:moveTo>
                <a:lnTo>
                  <a:pt x="16595" y="2044"/>
                </a:lnTo>
                <a:lnTo>
                  <a:pt x="16546" y="2093"/>
                </a:lnTo>
                <a:lnTo>
                  <a:pt x="16303" y="2409"/>
                </a:lnTo>
                <a:lnTo>
                  <a:pt x="16084" y="2726"/>
                </a:lnTo>
                <a:lnTo>
                  <a:pt x="15889" y="3042"/>
                </a:lnTo>
                <a:lnTo>
                  <a:pt x="15719" y="3383"/>
                </a:lnTo>
                <a:lnTo>
                  <a:pt x="15573" y="3626"/>
                </a:lnTo>
                <a:lnTo>
                  <a:pt x="15427" y="3894"/>
                </a:lnTo>
                <a:lnTo>
                  <a:pt x="15281" y="4137"/>
                </a:lnTo>
                <a:lnTo>
                  <a:pt x="15184" y="4380"/>
                </a:lnTo>
                <a:lnTo>
                  <a:pt x="15159" y="4453"/>
                </a:lnTo>
                <a:lnTo>
                  <a:pt x="15184" y="4502"/>
                </a:lnTo>
                <a:lnTo>
                  <a:pt x="15232" y="4575"/>
                </a:lnTo>
                <a:lnTo>
                  <a:pt x="15330" y="4624"/>
                </a:lnTo>
                <a:lnTo>
                  <a:pt x="15427" y="4624"/>
                </a:lnTo>
                <a:lnTo>
                  <a:pt x="15549" y="4575"/>
                </a:lnTo>
                <a:lnTo>
                  <a:pt x="15646" y="4502"/>
                </a:lnTo>
                <a:lnTo>
                  <a:pt x="15743" y="4380"/>
                </a:lnTo>
                <a:lnTo>
                  <a:pt x="15816" y="4259"/>
                </a:lnTo>
                <a:lnTo>
                  <a:pt x="15962" y="3991"/>
                </a:lnTo>
                <a:lnTo>
                  <a:pt x="16060" y="3723"/>
                </a:lnTo>
                <a:lnTo>
                  <a:pt x="16352" y="3091"/>
                </a:lnTo>
                <a:lnTo>
                  <a:pt x="16498" y="2872"/>
                </a:lnTo>
                <a:lnTo>
                  <a:pt x="16619" y="2677"/>
                </a:lnTo>
                <a:lnTo>
                  <a:pt x="16765" y="2458"/>
                </a:lnTo>
                <a:lnTo>
                  <a:pt x="16887" y="2239"/>
                </a:lnTo>
                <a:lnTo>
                  <a:pt x="16911" y="2166"/>
                </a:lnTo>
                <a:lnTo>
                  <a:pt x="16887" y="2117"/>
                </a:lnTo>
                <a:lnTo>
                  <a:pt x="16838" y="2069"/>
                </a:lnTo>
                <a:lnTo>
                  <a:pt x="16790" y="2044"/>
                </a:lnTo>
                <a:lnTo>
                  <a:pt x="16741" y="2020"/>
                </a:lnTo>
                <a:close/>
                <a:moveTo>
                  <a:pt x="3869" y="2020"/>
                </a:moveTo>
                <a:lnTo>
                  <a:pt x="3820" y="2044"/>
                </a:lnTo>
                <a:lnTo>
                  <a:pt x="3796" y="2044"/>
                </a:lnTo>
                <a:lnTo>
                  <a:pt x="3747" y="2093"/>
                </a:lnTo>
                <a:lnTo>
                  <a:pt x="3723" y="2190"/>
                </a:lnTo>
                <a:lnTo>
                  <a:pt x="3747" y="2263"/>
                </a:lnTo>
                <a:lnTo>
                  <a:pt x="3796" y="2312"/>
                </a:lnTo>
                <a:lnTo>
                  <a:pt x="3820" y="2385"/>
                </a:lnTo>
                <a:lnTo>
                  <a:pt x="3869" y="2531"/>
                </a:lnTo>
                <a:lnTo>
                  <a:pt x="3991" y="2799"/>
                </a:lnTo>
                <a:lnTo>
                  <a:pt x="4185" y="3188"/>
                </a:lnTo>
                <a:lnTo>
                  <a:pt x="4404" y="3577"/>
                </a:lnTo>
                <a:lnTo>
                  <a:pt x="4599" y="3869"/>
                </a:lnTo>
                <a:lnTo>
                  <a:pt x="4818" y="4161"/>
                </a:lnTo>
                <a:lnTo>
                  <a:pt x="5086" y="4405"/>
                </a:lnTo>
                <a:lnTo>
                  <a:pt x="5207" y="4526"/>
                </a:lnTo>
                <a:lnTo>
                  <a:pt x="5378" y="4624"/>
                </a:lnTo>
                <a:lnTo>
                  <a:pt x="5475" y="4648"/>
                </a:lnTo>
                <a:lnTo>
                  <a:pt x="5572" y="4648"/>
                </a:lnTo>
                <a:lnTo>
                  <a:pt x="5645" y="4599"/>
                </a:lnTo>
                <a:lnTo>
                  <a:pt x="5694" y="4526"/>
                </a:lnTo>
                <a:lnTo>
                  <a:pt x="5718" y="4453"/>
                </a:lnTo>
                <a:lnTo>
                  <a:pt x="5718" y="4356"/>
                </a:lnTo>
                <a:lnTo>
                  <a:pt x="5694" y="4283"/>
                </a:lnTo>
                <a:lnTo>
                  <a:pt x="5621" y="4210"/>
                </a:lnTo>
                <a:lnTo>
                  <a:pt x="5451" y="4088"/>
                </a:lnTo>
                <a:lnTo>
                  <a:pt x="5329" y="3991"/>
                </a:lnTo>
                <a:lnTo>
                  <a:pt x="5086" y="3723"/>
                </a:lnTo>
                <a:lnTo>
                  <a:pt x="4867" y="3431"/>
                </a:lnTo>
                <a:lnTo>
                  <a:pt x="4672" y="3139"/>
                </a:lnTo>
                <a:lnTo>
                  <a:pt x="4526" y="2847"/>
                </a:lnTo>
                <a:lnTo>
                  <a:pt x="4380" y="2580"/>
                </a:lnTo>
                <a:lnTo>
                  <a:pt x="4210" y="2288"/>
                </a:lnTo>
                <a:lnTo>
                  <a:pt x="4112" y="2166"/>
                </a:lnTo>
                <a:lnTo>
                  <a:pt x="4015" y="2069"/>
                </a:lnTo>
                <a:lnTo>
                  <a:pt x="3966" y="2044"/>
                </a:lnTo>
                <a:lnTo>
                  <a:pt x="3918" y="2020"/>
                </a:lnTo>
                <a:close/>
                <a:moveTo>
                  <a:pt x="3601" y="4843"/>
                </a:moveTo>
                <a:lnTo>
                  <a:pt x="3577" y="4891"/>
                </a:lnTo>
                <a:lnTo>
                  <a:pt x="3577" y="4916"/>
                </a:lnTo>
                <a:lnTo>
                  <a:pt x="3577" y="4964"/>
                </a:lnTo>
                <a:lnTo>
                  <a:pt x="3601" y="5062"/>
                </a:lnTo>
                <a:lnTo>
                  <a:pt x="3674" y="5135"/>
                </a:lnTo>
                <a:lnTo>
                  <a:pt x="3747" y="5183"/>
                </a:lnTo>
                <a:lnTo>
                  <a:pt x="3845" y="5281"/>
                </a:lnTo>
                <a:lnTo>
                  <a:pt x="3966" y="5354"/>
                </a:lnTo>
                <a:lnTo>
                  <a:pt x="4234" y="5500"/>
                </a:lnTo>
                <a:lnTo>
                  <a:pt x="4404" y="5500"/>
                </a:lnTo>
                <a:lnTo>
                  <a:pt x="4477" y="5451"/>
                </a:lnTo>
                <a:lnTo>
                  <a:pt x="4502" y="5402"/>
                </a:lnTo>
                <a:lnTo>
                  <a:pt x="4526" y="5329"/>
                </a:lnTo>
                <a:lnTo>
                  <a:pt x="4502" y="5256"/>
                </a:lnTo>
                <a:lnTo>
                  <a:pt x="4477" y="5183"/>
                </a:lnTo>
                <a:lnTo>
                  <a:pt x="4380" y="5135"/>
                </a:lnTo>
                <a:lnTo>
                  <a:pt x="4137" y="5013"/>
                </a:lnTo>
                <a:lnTo>
                  <a:pt x="3918" y="4891"/>
                </a:lnTo>
                <a:lnTo>
                  <a:pt x="3820" y="4867"/>
                </a:lnTo>
                <a:lnTo>
                  <a:pt x="3747" y="4843"/>
                </a:lnTo>
                <a:close/>
                <a:moveTo>
                  <a:pt x="17106" y="4891"/>
                </a:moveTo>
                <a:lnTo>
                  <a:pt x="16960" y="4940"/>
                </a:lnTo>
                <a:lnTo>
                  <a:pt x="16814" y="5037"/>
                </a:lnTo>
                <a:lnTo>
                  <a:pt x="16668" y="5159"/>
                </a:lnTo>
                <a:lnTo>
                  <a:pt x="16498" y="5305"/>
                </a:lnTo>
                <a:lnTo>
                  <a:pt x="16473" y="5354"/>
                </a:lnTo>
                <a:lnTo>
                  <a:pt x="16473" y="5402"/>
                </a:lnTo>
                <a:lnTo>
                  <a:pt x="16473" y="5451"/>
                </a:lnTo>
                <a:lnTo>
                  <a:pt x="16498" y="5500"/>
                </a:lnTo>
                <a:lnTo>
                  <a:pt x="16546" y="5524"/>
                </a:lnTo>
                <a:lnTo>
                  <a:pt x="16571" y="5548"/>
                </a:lnTo>
                <a:lnTo>
                  <a:pt x="16644" y="5548"/>
                </a:lnTo>
                <a:lnTo>
                  <a:pt x="16692" y="5524"/>
                </a:lnTo>
                <a:lnTo>
                  <a:pt x="16838" y="5402"/>
                </a:lnTo>
                <a:lnTo>
                  <a:pt x="17009" y="5256"/>
                </a:lnTo>
                <a:lnTo>
                  <a:pt x="17106" y="5135"/>
                </a:lnTo>
                <a:lnTo>
                  <a:pt x="17179" y="4964"/>
                </a:lnTo>
                <a:lnTo>
                  <a:pt x="17179" y="4940"/>
                </a:lnTo>
                <a:lnTo>
                  <a:pt x="17155" y="4916"/>
                </a:lnTo>
                <a:lnTo>
                  <a:pt x="17130" y="4891"/>
                </a:lnTo>
                <a:close/>
                <a:moveTo>
                  <a:pt x="19539" y="5500"/>
                </a:moveTo>
                <a:lnTo>
                  <a:pt x="19442" y="5524"/>
                </a:lnTo>
                <a:lnTo>
                  <a:pt x="19320" y="5548"/>
                </a:lnTo>
                <a:lnTo>
                  <a:pt x="19101" y="5646"/>
                </a:lnTo>
                <a:lnTo>
                  <a:pt x="18688" y="5865"/>
                </a:lnTo>
                <a:lnTo>
                  <a:pt x="18006" y="6157"/>
                </a:lnTo>
                <a:lnTo>
                  <a:pt x="17349" y="6497"/>
                </a:lnTo>
                <a:lnTo>
                  <a:pt x="17276" y="6546"/>
                </a:lnTo>
                <a:lnTo>
                  <a:pt x="17252" y="6619"/>
                </a:lnTo>
                <a:lnTo>
                  <a:pt x="17252" y="6692"/>
                </a:lnTo>
                <a:lnTo>
                  <a:pt x="17276" y="6765"/>
                </a:lnTo>
                <a:lnTo>
                  <a:pt x="17301" y="6814"/>
                </a:lnTo>
                <a:lnTo>
                  <a:pt x="17374" y="6862"/>
                </a:lnTo>
                <a:lnTo>
                  <a:pt x="17422" y="6887"/>
                </a:lnTo>
                <a:lnTo>
                  <a:pt x="17520" y="6887"/>
                </a:lnTo>
                <a:lnTo>
                  <a:pt x="18201" y="6595"/>
                </a:lnTo>
                <a:lnTo>
                  <a:pt x="18858" y="6303"/>
                </a:lnTo>
                <a:lnTo>
                  <a:pt x="19345" y="6132"/>
                </a:lnTo>
                <a:lnTo>
                  <a:pt x="19466" y="6084"/>
                </a:lnTo>
                <a:lnTo>
                  <a:pt x="19588" y="6011"/>
                </a:lnTo>
                <a:lnTo>
                  <a:pt x="19685" y="5938"/>
                </a:lnTo>
                <a:lnTo>
                  <a:pt x="19734" y="5865"/>
                </a:lnTo>
                <a:lnTo>
                  <a:pt x="19758" y="5792"/>
                </a:lnTo>
                <a:lnTo>
                  <a:pt x="19782" y="5743"/>
                </a:lnTo>
                <a:lnTo>
                  <a:pt x="19734" y="5621"/>
                </a:lnTo>
                <a:lnTo>
                  <a:pt x="19709" y="5573"/>
                </a:lnTo>
                <a:lnTo>
                  <a:pt x="19661" y="5548"/>
                </a:lnTo>
                <a:lnTo>
                  <a:pt x="19612" y="5524"/>
                </a:lnTo>
                <a:lnTo>
                  <a:pt x="19539" y="5500"/>
                </a:lnTo>
                <a:close/>
                <a:moveTo>
                  <a:pt x="998" y="5694"/>
                </a:moveTo>
                <a:lnTo>
                  <a:pt x="949" y="5719"/>
                </a:lnTo>
                <a:lnTo>
                  <a:pt x="925" y="5767"/>
                </a:lnTo>
                <a:lnTo>
                  <a:pt x="901" y="5865"/>
                </a:lnTo>
                <a:lnTo>
                  <a:pt x="925" y="5938"/>
                </a:lnTo>
                <a:lnTo>
                  <a:pt x="949" y="6011"/>
                </a:lnTo>
                <a:lnTo>
                  <a:pt x="1022" y="6084"/>
                </a:lnTo>
                <a:lnTo>
                  <a:pt x="1193" y="6230"/>
                </a:lnTo>
                <a:lnTo>
                  <a:pt x="1412" y="6327"/>
                </a:lnTo>
                <a:lnTo>
                  <a:pt x="1874" y="6522"/>
                </a:lnTo>
                <a:lnTo>
                  <a:pt x="2093" y="6595"/>
                </a:lnTo>
                <a:lnTo>
                  <a:pt x="2239" y="6643"/>
                </a:lnTo>
                <a:lnTo>
                  <a:pt x="2677" y="6887"/>
                </a:lnTo>
                <a:lnTo>
                  <a:pt x="3139" y="7130"/>
                </a:lnTo>
                <a:lnTo>
                  <a:pt x="3383" y="7276"/>
                </a:lnTo>
                <a:lnTo>
                  <a:pt x="3504" y="7325"/>
                </a:lnTo>
                <a:lnTo>
                  <a:pt x="3577" y="7325"/>
                </a:lnTo>
                <a:lnTo>
                  <a:pt x="3650" y="7300"/>
                </a:lnTo>
                <a:lnTo>
                  <a:pt x="3699" y="7252"/>
                </a:lnTo>
                <a:lnTo>
                  <a:pt x="3723" y="7203"/>
                </a:lnTo>
                <a:lnTo>
                  <a:pt x="3747" y="7130"/>
                </a:lnTo>
                <a:lnTo>
                  <a:pt x="3723" y="7057"/>
                </a:lnTo>
                <a:lnTo>
                  <a:pt x="3650" y="6935"/>
                </a:lnTo>
                <a:lnTo>
                  <a:pt x="3529" y="6814"/>
                </a:lnTo>
                <a:lnTo>
                  <a:pt x="3383" y="6692"/>
                </a:lnTo>
                <a:lnTo>
                  <a:pt x="3212" y="6595"/>
                </a:lnTo>
                <a:lnTo>
                  <a:pt x="2847" y="6424"/>
                </a:lnTo>
                <a:lnTo>
                  <a:pt x="2531" y="6278"/>
                </a:lnTo>
                <a:lnTo>
                  <a:pt x="2166" y="6108"/>
                </a:lnTo>
                <a:lnTo>
                  <a:pt x="1777" y="5962"/>
                </a:lnTo>
                <a:lnTo>
                  <a:pt x="1022" y="5694"/>
                </a:lnTo>
                <a:close/>
                <a:moveTo>
                  <a:pt x="18396" y="8274"/>
                </a:moveTo>
                <a:lnTo>
                  <a:pt x="18128" y="8298"/>
                </a:lnTo>
                <a:lnTo>
                  <a:pt x="17982" y="8322"/>
                </a:lnTo>
                <a:lnTo>
                  <a:pt x="17885" y="8371"/>
                </a:lnTo>
                <a:lnTo>
                  <a:pt x="17812" y="8420"/>
                </a:lnTo>
                <a:lnTo>
                  <a:pt x="17787" y="8468"/>
                </a:lnTo>
                <a:lnTo>
                  <a:pt x="17787" y="8541"/>
                </a:lnTo>
                <a:lnTo>
                  <a:pt x="17787" y="8590"/>
                </a:lnTo>
                <a:lnTo>
                  <a:pt x="17812" y="8663"/>
                </a:lnTo>
                <a:lnTo>
                  <a:pt x="17860" y="8712"/>
                </a:lnTo>
                <a:lnTo>
                  <a:pt x="17909" y="8736"/>
                </a:lnTo>
                <a:lnTo>
                  <a:pt x="17982" y="8736"/>
                </a:lnTo>
                <a:lnTo>
                  <a:pt x="18201" y="8712"/>
                </a:lnTo>
                <a:lnTo>
                  <a:pt x="18517" y="8663"/>
                </a:lnTo>
                <a:lnTo>
                  <a:pt x="18663" y="8590"/>
                </a:lnTo>
                <a:lnTo>
                  <a:pt x="18785" y="8541"/>
                </a:lnTo>
                <a:lnTo>
                  <a:pt x="18858" y="8468"/>
                </a:lnTo>
                <a:lnTo>
                  <a:pt x="18858" y="8420"/>
                </a:lnTo>
                <a:lnTo>
                  <a:pt x="18858" y="8395"/>
                </a:lnTo>
                <a:lnTo>
                  <a:pt x="18809" y="8347"/>
                </a:lnTo>
                <a:lnTo>
                  <a:pt x="18761" y="8322"/>
                </a:lnTo>
                <a:lnTo>
                  <a:pt x="18639" y="8274"/>
                </a:lnTo>
                <a:close/>
                <a:moveTo>
                  <a:pt x="2020" y="8201"/>
                </a:moveTo>
                <a:lnTo>
                  <a:pt x="1947" y="8225"/>
                </a:lnTo>
                <a:lnTo>
                  <a:pt x="1898" y="8249"/>
                </a:lnTo>
                <a:lnTo>
                  <a:pt x="1874" y="8274"/>
                </a:lnTo>
                <a:lnTo>
                  <a:pt x="1850" y="8322"/>
                </a:lnTo>
                <a:lnTo>
                  <a:pt x="1850" y="8395"/>
                </a:lnTo>
                <a:lnTo>
                  <a:pt x="1850" y="8444"/>
                </a:lnTo>
                <a:lnTo>
                  <a:pt x="1874" y="8493"/>
                </a:lnTo>
                <a:lnTo>
                  <a:pt x="1923" y="8517"/>
                </a:lnTo>
                <a:lnTo>
                  <a:pt x="2093" y="8614"/>
                </a:lnTo>
                <a:lnTo>
                  <a:pt x="2288" y="8687"/>
                </a:lnTo>
                <a:lnTo>
                  <a:pt x="2482" y="8736"/>
                </a:lnTo>
                <a:lnTo>
                  <a:pt x="2701" y="8760"/>
                </a:lnTo>
                <a:lnTo>
                  <a:pt x="2774" y="8760"/>
                </a:lnTo>
                <a:lnTo>
                  <a:pt x="2823" y="8712"/>
                </a:lnTo>
                <a:lnTo>
                  <a:pt x="2872" y="8663"/>
                </a:lnTo>
                <a:lnTo>
                  <a:pt x="2896" y="8590"/>
                </a:lnTo>
                <a:lnTo>
                  <a:pt x="2896" y="8517"/>
                </a:lnTo>
                <a:lnTo>
                  <a:pt x="2872" y="8444"/>
                </a:lnTo>
                <a:lnTo>
                  <a:pt x="2823" y="8395"/>
                </a:lnTo>
                <a:lnTo>
                  <a:pt x="2750" y="8347"/>
                </a:lnTo>
                <a:lnTo>
                  <a:pt x="2385" y="8274"/>
                </a:lnTo>
                <a:lnTo>
                  <a:pt x="2190" y="8225"/>
                </a:lnTo>
                <a:lnTo>
                  <a:pt x="2020" y="8201"/>
                </a:lnTo>
                <a:close/>
                <a:moveTo>
                  <a:pt x="18517" y="9904"/>
                </a:moveTo>
                <a:lnTo>
                  <a:pt x="18323" y="9928"/>
                </a:lnTo>
                <a:lnTo>
                  <a:pt x="18177" y="9952"/>
                </a:lnTo>
                <a:lnTo>
                  <a:pt x="18031" y="10050"/>
                </a:lnTo>
                <a:lnTo>
                  <a:pt x="18006" y="10074"/>
                </a:lnTo>
                <a:lnTo>
                  <a:pt x="18006" y="10123"/>
                </a:lnTo>
                <a:lnTo>
                  <a:pt x="18128" y="10220"/>
                </a:lnTo>
                <a:lnTo>
                  <a:pt x="18274" y="10293"/>
                </a:lnTo>
                <a:lnTo>
                  <a:pt x="18420" y="10317"/>
                </a:lnTo>
                <a:lnTo>
                  <a:pt x="18590" y="10342"/>
                </a:lnTo>
                <a:lnTo>
                  <a:pt x="18931" y="10366"/>
                </a:lnTo>
                <a:lnTo>
                  <a:pt x="19247" y="10366"/>
                </a:lnTo>
                <a:lnTo>
                  <a:pt x="19661" y="10390"/>
                </a:lnTo>
                <a:lnTo>
                  <a:pt x="20074" y="10415"/>
                </a:lnTo>
                <a:lnTo>
                  <a:pt x="20293" y="10415"/>
                </a:lnTo>
                <a:lnTo>
                  <a:pt x="20512" y="10390"/>
                </a:lnTo>
                <a:lnTo>
                  <a:pt x="20707" y="10366"/>
                </a:lnTo>
                <a:lnTo>
                  <a:pt x="20902" y="10293"/>
                </a:lnTo>
                <a:lnTo>
                  <a:pt x="20950" y="10269"/>
                </a:lnTo>
                <a:lnTo>
                  <a:pt x="20975" y="10220"/>
                </a:lnTo>
                <a:lnTo>
                  <a:pt x="20975" y="10123"/>
                </a:lnTo>
                <a:lnTo>
                  <a:pt x="20926" y="10050"/>
                </a:lnTo>
                <a:lnTo>
                  <a:pt x="20853" y="10001"/>
                </a:lnTo>
                <a:lnTo>
                  <a:pt x="20707" y="9952"/>
                </a:lnTo>
                <a:lnTo>
                  <a:pt x="20512" y="9904"/>
                </a:lnTo>
                <a:lnTo>
                  <a:pt x="20147" y="9904"/>
                </a:lnTo>
                <a:lnTo>
                  <a:pt x="19782" y="9928"/>
                </a:lnTo>
                <a:lnTo>
                  <a:pt x="19418" y="9952"/>
                </a:lnTo>
                <a:lnTo>
                  <a:pt x="19077" y="9928"/>
                </a:lnTo>
                <a:lnTo>
                  <a:pt x="18688" y="9904"/>
                </a:lnTo>
                <a:close/>
                <a:moveTo>
                  <a:pt x="365" y="10123"/>
                </a:moveTo>
                <a:lnTo>
                  <a:pt x="219" y="10147"/>
                </a:lnTo>
                <a:lnTo>
                  <a:pt x="98" y="10171"/>
                </a:lnTo>
                <a:lnTo>
                  <a:pt x="25" y="10220"/>
                </a:lnTo>
                <a:lnTo>
                  <a:pt x="0" y="10269"/>
                </a:lnTo>
                <a:lnTo>
                  <a:pt x="0" y="10317"/>
                </a:lnTo>
                <a:lnTo>
                  <a:pt x="25" y="10366"/>
                </a:lnTo>
                <a:lnTo>
                  <a:pt x="49" y="10415"/>
                </a:lnTo>
                <a:lnTo>
                  <a:pt x="146" y="10512"/>
                </a:lnTo>
                <a:lnTo>
                  <a:pt x="268" y="10561"/>
                </a:lnTo>
                <a:lnTo>
                  <a:pt x="414" y="10585"/>
                </a:lnTo>
                <a:lnTo>
                  <a:pt x="730" y="10609"/>
                </a:lnTo>
                <a:lnTo>
                  <a:pt x="974" y="10609"/>
                </a:lnTo>
                <a:lnTo>
                  <a:pt x="1923" y="10634"/>
                </a:lnTo>
                <a:lnTo>
                  <a:pt x="2847" y="10634"/>
                </a:lnTo>
                <a:lnTo>
                  <a:pt x="2945" y="10609"/>
                </a:lnTo>
                <a:lnTo>
                  <a:pt x="3018" y="10561"/>
                </a:lnTo>
                <a:lnTo>
                  <a:pt x="3066" y="10488"/>
                </a:lnTo>
                <a:lnTo>
                  <a:pt x="3066" y="10390"/>
                </a:lnTo>
                <a:lnTo>
                  <a:pt x="3066" y="10317"/>
                </a:lnTo>
                <a:lnTo>
                  <a:pt x="3018" y="10244"/>
                </a:lnTo>
                <a:lnTo>
                  <a:pt x="2945" y="10196"/>
                </a:lnTo>
                <a:lnTo>
                  <a:pt x="2847" y="10171"/>
                </a:lnTo>
                <a:lnTo>
                  <a:pt x="1850" y="10171"/>
                </a:lnTo>
                <a:lnTo>
                  <a:pt x="852" y="10147"/>
                </a:lnTo>
                <a:lnTo>
                  <a:pt x="657" y="10123"/>
                </a:lnTo>
                <a:close/>
                <a:moveTo>
                  <a:pt x="2677" y="11777"/>
                </a:moveTo>
                <a:lnTo>
                  <a:pt x="2409" y="11826"/>
                </a:lnTo>
                <a:lnTo>
                  <a:pt x="2288" y="11875"/>
                </a:lnTo>
                <a:lnTo>
                  <a:pt x="2166" y="11923"/>
                </a:lnTo>
                <a:lnTo>
                  <a:pt x="2069" y="11996"/>
                </a:lnTo>
                <a:lnTo>
                  <a:pt x="2020" y="12094"/>
                </a:lnTo>
                <a:lnTo>
                  <a:pt x="2020" y="12167"/>
                </a:lnTo>
                <a:lnTo>
                  <a:pt x="2069" y="12215"/>
                </a:lnTo>
                <a:lnTo>
                  <a:pt x="2190" y="12240"/>
                </a:lnTo>
                <a:lnTo>
                  <a:pt x="2312" y="12240"/>
                </a:lnTo>
                <a:lnTo>
                  <a:pt x="2580" y="12191"/>
                </a:lnTo>
                <a:lnTo>
                  <a:pt x="2872" y="12191"/>
                </a:lnTo>
                <a:lnTo>
                  <a:pt x="2993" y="12167"/>
                </a:lnTo>
                <a:lnTo>
                  <a:pt x="3066" y="12142"/>
                </a:lnTo>
                <a:lnTo>
                  <a:pt x="3115" y="12069"/>
                </a:lnTo>
                <a:lnTo>
                  <a:pt x="3139" y="12045"/>
                </a:lnTo>
                <a:lnTo>
                  <a:pt x="3139" y="11996"/>
                </a:lnTo>
                <a:lnTo>
                  <a:pt x="3115" y="11923"/>
                </a:lnTo>
                <a:lnTo>
                  <a:pt x="3091" y="11875"/>
                </a:lnTo>
                <a:lnTo>
                  <a:pt x="3066" y="11850"/>
                </a:lnTo>
                <a:lnTo>
                  <a:pt x="3018" y="11802"/>
                </a:lnTo>
                <a:lnTo>
                  <a:pt x="2920" y="11777"/>
                </a:lnTo>
                <a:close/>
                <a:moveTo>
                  <a:pt x="18006" y="11923"/>
                </a:moveTo>
                <a:lnTo>
                  <a:pt x="17860" y="11948"/>
                </a:lnTo>
                <a:lnTo>
                  <a:pt x="17812" y="11972"/>
                </a:lnTo>
                <a:lnTo>
                  <a:pt x="17763" y="11996"/>
                </a:lnTo>
                <a:lnTo>
                  <a:pt x="17763" y="12045"/>
                </a:lnTo>
                <a:lnTo>
                  <a:pt x="17763" y="12094"/>
                </a:lnTo>
                <a:lnTo>
                  <a:pt x="17787" y="12118"/>
                </a:lnTo>
                <a:lnTo>
                  <a:pt x="17860" y="12167"/>
                </a:lnTo>
                <a:lnTo>
                  <a:pt x="17933" y="12215"/>
                </a:lnTo>
                <a:lnTo>
                  <a:pt x="18006" y="12240"/>
                </a:lnTo>
                <a:lnTo>
                  <a:pt x="18152" y="12264"/>
                </a:lnTo>
                <a:lnTo>
                  <a:pt x="18444" y="12337"/>
                </a:lnTo>
                <a:lnTo>
                  <a:pt x="18761" y="12386"/>
                </a:lnTo>
                <a:lnTo>
                  <a:pt x="18834" y="12386"/>
                </a:lnTo>
                <a:lnTo>
                  <a:pt x="18882" y="12337"/>
                </a:lnTo>
                <a:lnTo>
                  <a:pt x="18931" y="12288"/>
                </a:lnTo>
                <a:lnTo>
                  <a:pt x="18955" y="12215"/>
                </a:lnTo>
                <a:lnTo>
                  <a:pt x="18931" y="12142"/>
                </a:lnTo>
                <a:lnTo>
                  <a:pt x="18931" y="12069"/>
                </a:lnTo>
                <a:lnTo>
                  <a:pt x="18882" y="12021"/>
                </a:lnTo>
                <a:lnTo>
                  <a:pt x="18809" y="11996"/>
                </a:lnTo>
                <a:lnTo>
                  <a:pt x="18566" y="11948"/>
                </a:lnTo>
                <a:lnTo>
                  <a:pt x="18201" y="11923"/>
                </a:lnTo>
                <a:close/>
                <a:moveTo>
                  <a:pt x="3358" y="13359"/>
                </a:moveTo>
                <a:lnTo>
                  <a:pt x="3261" y="13383"/>
                </a:lnTo>
                <a:lnTo>
                  <a:pt x="2434" y="13870"/>
                </a:lnTo>
                <a:lnTo>
                  <a:pt x="1582" y="14357"/>
                </a:lnTo>
                <a:lnTo>
                  <a:pt x="1241" y="14503"/>
                </a:lnTo>
                <a:lnTo>
                  <a:pt x="1095" y="14576"/>
                </a:lnTo>
                <a:lnTo>
                  <a:pt x="949" y="14697"/>
                </a:lnTo>
                <a:lnTo>
                  <a:pt x="925" y="14770"/>
                </a:lnTo>
                <a:lnTo>
                  <a:pt x="925" y="14843"/>
                </a:lnTo>
                <a:lnTo>
                  <a:pt x="949" y="14892"/>
                </a:lnTo>
                <a:lnTo>
                  <a:pt x="1022" y="14941"/>
                </a:lnTo>
                <a:lnTo>
                  <a:pt x="1120" y="14965"/>
                </a:lnTo>
                <a:lnTo>
                  <a:pt x="1217" y="14965"/>
                </a:lnTo>
                <a:lnTo>
                  <a:pt x="1412" y="14916"/>
                </a:lnTo>
                <a:lnTo>
                  <a:pt x="1606" y="14843"/>
                </a:lnTo>
                <a:lnTo>
                  <a:pt x="1801" y="14746"/>
                </a:lnTo>
                <a:lnTo>
                  <a:pt x="2239" y="14551"/>
                </a:lnTo>
                <a:lnTo>
                  <a:pt x="2677" y="14308"/>
                </a:lnTo>
                <a:lnTo>
                  <a:pt x="3504" y="13797"/>
                </a:lnTo>
                <a:lnTo>
                  <a:pt x="3577" y="13724"/>
                </a:lnTo>
                <a:lnTo>
                  <a:pt x="3626" y="13651"/>
                </a:lnTo>
                <a:lnTo>
                  <a:pt x="3626" y="13554"/>
                </a:lnTo>
                <a:lnTo>
                  <a:pt x="3577" y="13481"/>
                </a:lnTo>
                <a:lnTo>
                  <a:pt x="3529" y="13408"/>
                </a:lnTo>
                <a:lnTo>
                  <a:pt x="3456" y="13359"/>
                </a:lnTo>
                <a:close/>
                <a:moveTo>
                  <a:pt x="17325" y="13383"/>
                </a:moveTo>
                <a:lnTo>
                  <a:pt x="17179" y="13408"/>
                </a:lnTo>
                <a:lnTo>
                  <a:pt x="17130" y="13408"/>
                </a:lnTo>
                <a:lnTo>
                  <a:pt x="17130" y="13432"/>
                </a:lnTo>
                <a:lnTo>
                  <a:pt x="17130" y="13505"/>
                </a:lnTo>
                <a:lnTo>
                  <a:pt x="17252" y="13627"/>
                </a:lnTo>
                <a:lnTo>
                  <a:pt x="17398" y="13748"/>
                </a:lnTo>
                <a:lnTo>
                  <a:pt x="17690" y="13943"/>
                </a:lnTo>
                <a:lnTo>
                  <a:pt x="18006" y="14113"/>
                </a:lnTo>
                <a:lnTo>
                  <a:pt x="18323" y="14284"/>
                </a:lnTo>
                <a:lnTo>
                  <a:pt x="18907" y="14649"/>
                </a:lnTo>
                <a:lnTo>
                  <a:pt x="19199" y="14819"/>
                </a:lnTo>
                <a:lnTo>
                  <a:pt x="19515" y="14941"/>
                </a:lnTo>
                <a:lnTo>
                  <a:pt x="19612" y="14965"/>
                </a:lnTo>
                <a:lnTo>
                  <a:pt x="19709" y="14941"/>
                </a:lnTo>
                <a:lnTo>
                  <a:pt x="19758" y="14868"/>
                </a:lnTo>
                <a:lnTo>
                  <a:pt x="19807" y="14795"/>
                </a:lnTo>
                <a:lnTo>
                  <a:pt x="19807" y="14697"/>
                </a:lnTo>
                <a:lnTo>
                  <a:pt x="19782" y="14600"/>
                </a:lnTo>
                <a:lnTo>
                  <a:pt x="19734" y="14527"/>
                </a:lnTo>
                <a:lnTo>
                  <a:pt x="19636" y="14454"/>
                </a:lnTo>
                <a:lnTo>
                  <a:pt x="19272" y="14308"/>
                </a:lnTo>
                <a:lnTo>
                  <a:pt x="18931" y="14113"/>
                </a:lnTo>
                <a:lnTo>
                  <a:pt x="18590" y="13919"/>
                </a:lnTo>
                <a:lnTo>
                  <a:pt x="18250" y="13724"/>
                </a:lnTo>
                <a:lnTo>
                  <a:pt x="17982" y="13602"/>
                </a:lnTo>
                <a:lnTo>
                  <a:pt x="17739" y="13481"/>
                </a:lnTo>
                <a:lnTo>
                  <a:pt x="17593" y="13432"/>
                </a:lnTo>
                <a:lnTo>
                  <a:pt x="17447" y="13408"/>
                </a:lnTo>
                <a:lnTo>
                  <a:pt x="17325" y="13383"/>
                </a:lnTo>
                <a:close/>
                <a:moveTo>
                  <a:pt x="4234" y="14892"/>
                </a:moveTo>
                <a:lnTo>
                  <a:pt x="4161" y="14916"/>
                </a:lnTo>
                <a:lnTo>
                  <a:pt x="4088" y="14941"/>
                </a:lnTo>
                <a:lnTo>
                  <a:pt x="3942" y="15087"/>
                </a:lnTo>
                <a:lnTo>
                  <a:pt x="3820" y="15257"/>
                </a:lnTo>
                <a:lnTo>
                  <a:pt x="3723" y="15330"/>
                </a:lnTo>
                <a:lnTo>
                  <a:pt x="3650" y="15379"/>
                </a:lnTo>
                <a:lnTo>
                  <a:pt x="3650" y="15403"/>
                </a:lnTo>
                <a:lnTo>
                  <a:pt x="3601" y="15427"/>
                </a:lnTo>
                <a:lnTo>
                  <a:pt x="3577" y="15476"/>
                </a:lnTo>
                <a:lnTo>
                  <a:pt x="3553" y="15525"/>
                </a:lnTo>
                <a:lnTo>
                  <a:pt x="3553" y="15573"/>
                </a:lnTo>
                <a:lnTo>
                  <a:pt x="3577" y="15646"/>
                </a:lnTo>
                <a:lnTo>
                  <a:pt x="3626" y="15695"/>
                </a:lnTo>
                <a:lnTo>
                  <a:pt x="3699" y="15744"/>
                </a:lnTo>
                <a:lnTo>
                  <a:pt x="3772" y="15744"/>
                </a:lnTo>
                <a:lnTo>
                  <a:pt x="3845" y="15719"/>
                </a:lnTo>
                <a:lnTo>
                  <a:pt x="3991" y="15646"/>
                </a:lnTo>
                <a:lnTo>
                  <a:pt x="4088" y="15549"/>
                </a:lnTo>
                <a:lnTo>
                  <a:pt x="4258" y="15403"/>
                </a:lnTo>
                <a:lnTo>
                  <a:pt x="4429" y="15208"/>
                </a:lnTo>
                <a:lnTo>
                  <a:pt x="4453" y="15135"/>
                </a:lnTo>
                <a:lnTo>
                  <a:pt x="4453" y="15087"/>
                </a:lnTo>
                <a:lnTo>
                  <a:pt x="4429" y="15014"/>
                </a:lnTo>
                <a:lnTo>
                  <a:pt x="4380" y="14941"/>
                </a:lnTo>
                <a:lnTo>
                  <a:pt x="4307" y="14892"/>
                </a:lnTo>
                <a:close/>
                <a:moveTo>
                  <a:pt x="16376" y="14843"/>
                </a:moveTo>
                <a:lnTo>
                  <a:pt x="16303" y="14892"/>
                </a:lnTo>
                <a:lnTo>
                  <a:pt x="16279" y="14965"/>
                </a:lnTo>
                <a:lnTo>
                  <a:pt x="16303" y="15038"/>
                </a:lnTo>
                <a:lnTo>
                  <a:pt x="16400" y="15233"/>
                </a:lnTo>
                <a:lnTo>
                  <a:pt x="16522" y="15403"/>
                </a:lnTo>
                <a:lnTo>
                  <a:pt x="16668" y="15598"/>
                </a:lnTo>
                <a:lnTo>
                  <a:pt x="16765" y="15671"/>
                </a:lnTo>
                <a:lnTo>
                  <a:pt x="16863" y="15744"/>
                </a:lnTo>
                <a:lnTo>
                  <a:pt x="16936" y="15768"/>
                </a:lnTo>
                <a:lnTo>
                  <a:pt x="17009" y="15768"/>
                </a:lnTo>
                <a:lnTo>
                  <a:pt x="17082" y="15719"/>
                </a:lnTo>
                <a:lnTo>
                  <a:pt x="17130" y="15671"/>
                </a:lnTo>
                <a:lnTo>
                  <a:pt x="17155" y="15598"/>
                </a:lnTo>
                <a:lnTo>
                  <a:pt x="17155" y="15525"/>
                </a:lnTo>
                <a:lnTo>
                  <a:pt x="17130" y="15476"/>
                </a:lnTo>
                <a:lnTo>
                  <a:pt x="17057" y="15403"/>
                </a:lnTo>
                <a:lnTo>
                  <a:pt x="16911" y="15281"/>
                </a:lnTo>
                <a:lnTo>
                  <a:pt x="16790" y="15135"/>
                </a:lnTo>
                <a:lnTo>
                  <a:pt x="16644" y="14965"/>
                </a:lnTo>
                <a:lnTo>
                  <a:pt x="16546" y="14892"/>
                </a:lnTo>
                <a:lnTo>
                  <a:pt x="16449" y="14843"/>
                </a:lnTo>
                <a:close/>
                <a:moveTo>
                  <a:pt x="11169" y="3577"/>
                </a:moveTo>
                <a:lnTo>
                  <a:pt x="11582" y="3650"/>
                </a:lnTo>
                <a:lnTo>
                  <a:pt x="11996" y="3748"/>
                </a:lnTo>
                <a:lnTo>
                  <a:pt x="12410" y="3894"/>
                </a:lnTo>
                <a:lnTo>
                  <a:pt x="12799" y="4064"/>
                </a:lnTo>
                <a:lnTo>
                  <a:pt x="13188" y="4259"/>
                </a:lnTo>
                <a:lnTo>
                  <a:pt x="13578" y="4453"/>
                </a:lnTo>
                <a:lnTo>
                  <a:pt x="13943" y="4672"/>
                </a:lnTo>
                <a:lnTo>
                  <a:pt x="14235" y="4891"/>
                </a:lnTo>
                <a:lnTo>
                  <a:pt x="14502" y="5110"/>
                </a:lnTo>
                <a:lnTo>
                  <a:pt x="14770" y="5329"/>
                </a:lnTo>
                <a:lnTo>
                  <a:pt x="15038" y="5573"/>
                </a:lnTo>
                <a:lnTo>
                  <a:pt x="14989" y="5621"/>
                </a:lnTo>
                <a:lnTo>
                  <a:pt x="14916" y="5694"/>
                </a:lnTo>
                <a:lnTo>
                  <a:pt x="14916" y="5767"/>
                </a:lnTo>
                <a:lnTo>
                  <a:pt x="14892" y="5792"/>
                </a:lnTo>
                <a:lnTo>
                  <a:pt x="14892" y="5840"/>
                </a:lnTo>
                <a:lnTo>
                  <a:pt x="14940" y="5840"/>
                </a:lnTo>
                <a:lnTo>
                  <a:pt x="14989" y="5865"/>
                </a:lnTo>
                <a:lnTo>
                  <a:pt x="15086" y="5865"/>
                </a:lnTo>
                <a:lnTo>
                  <a:pt x="15159" y="5816"/>
                </a:lnTo>
                <a:lnTo>
                  <a:pt x="15232" y="5767"/>
                </a:lnTo>
                <a:lnTo>
                  <a:pt x="15354" y="5913"/>
                </a:lnTo>
                <a:lnTo>
                  <a:pt x="15257" y="5986"/>
                </a:lnTo>
                <a:lnTo>
                  <a:pt x="15208" y="6059"/>
                </a:lnTo>
                <a:lnTo>
                  <a:pt x="15159" y="6132"/>
                </a:lnTo>
                <a:lnTo>
                  <a:pt x="15184" y="6205"/>
                </a:lnTo>
                <a:lnTo>
                  <a:pt x="15208" y="6254"/>
                </a:lnTo>
                <a:lnTo>
                  <a:pt x="15330" y="6254"/>
                </a:lnTo>
                <a:lnTo>
                  <a:pt x="15427" y="6181"/>
                </a:lnTo>
                <a:lnTo>
                  <a:pt x="15524" y="6132"/>
                </a:lnTo>
                <a:lnTo>
                  <a:pt x="15719" y="6376"/>
                </a:lnTo>
                <a:lnTo>
                  <a:pt x="15695" y="6424"/>
                </a:lnTo>
                <a:lnTo>
                  <a:pt x="15573" y="6546"/>
                </a:lnTo>
                <a:lnTo>
                  <a:pt x="15549" y="6619"/>
                </a:lnTo>
                <a:lnTo>
                  <a:pt x="15524" y="6716"/>
                </a:lnTo>
                <a:lnTo>
                  <a:pt x="15549" y="6765"/>
                </a:lnTo>
                <a:lnTo>
                  <a:pt x="15597" y="6789"/>
                </a:lnTo>
                <a:lnTo>
                  <a:pt x="15768" y="6789"/>
                </a:lnTo>
                <a:lnTo>
                  <a:pt x="15865" y="6741"/>
                </a:lnTo>
                <a:lnTo>
                  <a:pt x="15914" y="6692"/>
                </a:lnTo>
                <a:lnTo>
                  <a:pt x="16060" y="6911"/>
                </a:lnTo>
                <a:lnTo>
                  <a:pt x="15962" y="7008"/>
                </a:lnTo>
                <a:lnTo>
                  <a:pt x="15889" y="7081"/>
                </a:lnTo>
                <a:lnTo>
                  <a:pt x="15841" y="7130"/>
                </a:lnTo>
                <a:lnTo>
                  <a:pt x="15841" y="7203"/>
                </a:lnTo>
                <a:lnTo>
                  <a:pt x="15865" y="7300"/>
                </a:lnTo>
                <a:lnTo>
                  <a:pt x="15914" y="7325"/>
                </a:lnTo>
                <a:lnTo>
                  <a:pt x="15962" y="7349"/>
                </a:lnTo>
                <a:lnTo>
                  <a:pt x="16060" y="7325"/>
                </a:lnTo>
                <a:lnTo>
                  <a:pt x="16157" y="7300"/>
                </a:lnTo>
                <a:lnTo>
                  <a:pt x="16254" y="7227"/>
                </a:lnTo>
                <a:lnTo>
                  <a:pt x="16400" y="7495"/>
                </a:lnTo>
                <a:lnTo>
                  <a:pt x="16327" y="7519"/>
                </a:lnTo>
                <a:lnTo>
                  <a:pt x="16254" y="7544"/>
                </a:lnTo>
                <a:lnTo>
                  <a:pt x="16157" y="7617"/>
                </a:lnTo>
                <a:lnTo>
                  <a:pt x="16060" y="7714"/>
                </a:lnTo>
                <a:lnTo>
                  <a:pt x="15987" y="7811"/>
                </a:lnTo>
                <a:lnTo>
                  <a:pt x="15938" y="7909"/>
                </a:lnTo>
                <a:lnTo>
                  <a:pt x="15938" y="7982"/>
                </a:lnTo>
                <a:lnTo>
                  <a:pt x="15962" y="8030"/>
                </a:lnTo>
                <a:lnTo>
                  <a:pt x="15987" y="8079"/>
                </a:lnTo>
                <a:lnTo>
                  <a:pt x="16060" y="8103"/>
                </a:lnTo>
                <a:lnTo>
                  <a:pt x="16108" y="8079"/>
                </a:lnTo>
                <a:lnTo>
                  <a:pt x="16181" y="8030"/>
                </a:lnTo>
                <a:lnTo>
                  <a:pt x="16303" y="7933"/>
                </a:lnTo>
                <a:lnTo>
                  <a:pt x="16449" y="7836"/>
                </a:lnTo>
                <a:lnTo>
                  <a:pt x="16522" y="7763"/>
                </a:lnTo>
                <a:lnTo>
                  <a:pt x="16692" y="8176"/>
                </a:lnTo>
                <a:lnTo>
                  <a:pt x="16619" y="8201"/>
                </a:lnTo>
                <a:lnTo>
                  <a:pt x="16571" y="8225"/>
                </a:lnTo>
                <a:lnTo>
                  <a:pt x="16473" y="8347"/>
                </a:lnTo>
                <a:lnTo>
                  <a:pt x="16254" y="8541"/>
                </a:lnTo>
                <a:lnTo>
                  <a:pt x="16181" y="8614"/>
                </a:lnTo>
                <a:lnTo>
                  <a:pt x="16108" y="8712"/>
                </a:lnTo>
                <a:lnTo>
                  <a:pt x="16084" y="8760"/>
                </a:lnTo>
                <a:lnTo>
                  <a:pt x="16060" y="8809"/>
                </a:lnTo>
                <a:lnTo>
                  <a:pt x="16060" y="8858"/>
                </a:lnTo>
                <a:lnTo>
                  <a:pt x="16108" y="8906"/>
                </a:lnTo>
                <a:lnTo>
                  <a:pt x="16157" y="8930"/>
                </a:lnTo>
                <a:lnTo>
                  <a:pt x="16206" y="8930"/>
                </a:lnTo>
                <a:lnTo>
                  <a:pt x="16327" y="8882"/>
                </a:lnTo>
                <a:lnTo>
                  <a:pt x="16425" y="8809"/>
                </a:lnTo>
                <a:lnTo>
                  <a:pt x="16522" y="8736"/>
                </a:lnTo>
                <a:lnTo>
                  <a:pt x="16668" y="8614"/>
                </a:lnTo>
                <a:lnTo>
                  <a:pt x="16790" y="8468"/>
                </a:lnTo>
                <a:lnTo>
                  <a:pt x="16887" y="8882"/>
                </a:lnTo>
                <a:lnTo>
                  <a:pt x="16790" y="8930"/>
                </a:lnTo>
                <a:lnTo>
                  <a:pt x="16692" y="8979"/>
                </a:lnTo>
                <a:lnTo>
                  <a:pt x="16498" y="9125"/>
                </a:lnTo>
                <a:lnTo>
                  <a:pt x="16230" y="9271"/>
                </a:lnTo>
                <a:lnTo>
                  <a:pt x="16108" y="9368"/>
                </a:lnTo>
                <a:lnTo>
                  <a:pt x="16011" y="9441"/>
                </a:lnTo>
                <a:lnTo>
                  <a:pt x="16011" y="9490"/>
                </a:lnTo>
                <a:lnTo>
                  <a:pt x="16035" y="9514"/>
                </a:lnTo>
                <a:lnTo>
                  <a:pt x="16181" y="9539"/>
                </a:lnTo>
                <a:lnTo>
                  <a:pt x="16327" y="9514"/>
                </a:lnTo>
                <a:lnTo>
                  <a:pt x="16619" y="9441"/>
                </a:lnTo>
                <a:lnTo>
                  <a:pt x="16790" y="9368"/>
                </a:lnTo>
                <a:lnTo>
                  <a:pt x="16960" y="9271"/>
                </a:lnTo>
                <a:lnTo>
                  <a:pt x="17009" y="9660"/>
                </a:lnTo>
                <a:lnTo>
                  <a:pt x="16522" y="9855"/>
                </a:lnTo>
                <a:lnTo>
                  <a:pt x="16254" y="9977"/>
                </a:lnTo>
                <a:lnTo>
                  <a:pt x="16108" y="10050"/>
                </a:lnTo>
                <a:lnTo>
                  <a:pt x="15987" y="10123"/>
                </a:lnTo>
                <a:lnTo>
                  <a:pt x="15962" y="10171"/>
                </a:lnTo>
                <a:lnTo>
                  <a:pt x="15962" y="10196"/>
                </a:lnTo>
                <a:lnTo>
                  <a:pt x="15987" y="10220"/>
                </a:lnTo>
                <a:lnTo>
                  <a:pt x="16011" y="10244"/>
                </a:lnTo>
                <a:lnTo>
                  <a:pt x="16279" y="10269"/>
                </a:lnTo>
                <a:lnTo>
                  <a:pt x="16522" y="10220"/>
                </a:lnTo>
                <a:lnTo>
                  <a:pt x="16765" y="10147"/>
                </a:lnTo>
                <a:lnTo>
                  <a:pt x="17033" y="10074"/>
                </a:lnTo>
                <a:lnTo>
                  <a:pt x="17009" y="10585"/>
                </a:lnTo>
                <a:lnTo>
                  <a:pt x="16765" y="10585"/>
                </a:lnTo>
                <a:lnTo>
                  <a:pt x="16546" y="10634"/>
                </a:lnTo>
                <a:lnTo>
                  <a:pt x="16108" y="10707"/>
                </a:lnTo>
                <a:lnTo>
                  <a:pt x="15914" y="10780"/>
                </a:lnTo>
                <a:lnTo>
                  <a:pt x="15719" y="10853"/>
                </a:lnTo>
                <a:lnTo>
                  <a:pt x="15695" y="10877"/>
                </a:lnTo>
                <a:lnTo>
                  <a:pt x="15719" y="10901"/>
                </a:lnTo>
                <a:lnTo>
                  <a:pt x="15889" y="10950"/>
                </a:lnTo>
                <a:lnTo>
                  <a:pt x="16060" y="10974"/>
                </a:lnTo>
                <a:lnTo>
                  <a:pt x="16425" y="10950"/>
                </a:lnTo>
                <a:lnTo>
                  <a:pt x="16814" y="10926"/>
                </a:lnTo>
                <a:lnTo>
                  <a:pt x="16984" y="10926"/>
                </a:lnTo>
                <a:lnTo>
                  <a:pt x="16887" y="11412"/>
                </a:lnTo>
                <a:lnTo>
                  <a:pt x="16765" y="11412"/>
                </a:lnTo>
                <a:lnTo>
                  <a:pt x="16619" y="11437"/>
                </a:lnTo>
                <a:lnTo>
                  <a:pt x="16352" y="11485"/>
                </a:lnTo>
                <a:lnTo>
                  <a:pt x="16035" y="11558"/>
                </a:lnTo>
                <a:lnTo>
                  <a:pt x="15889" y="11583"/>
                </a:lnTo>
                <a:lnTo>
                  <a:pt x="15719" y="11607"/>
                </a:lnTo>
                <a:lnTo>
                  <a:pt x="15695" y="11607"/>
                </a:lnTo>
                <a:lnTo>
                  <a:pt x="15670" y="11631"/>
                </a:lnTo>
                <a:lnTo>
                  <a:pt x="15670" y="11656"/>
                </a:lnTo>
                <a:lnTo>
                  <a:pt x="15695" y="11680"/>
                </a:lnTo>
                <a:lnTo>
                  <a:pt x="15962" y="11777"/>
                </a:lnTo>
                <a:lnTo>
                  <a:pt x="16108" y="11826"/>
                </a:lnTo>
                <a:lnTo>
                  <a:pt x="16254" y="11850"/>
                </a:lnTo>
                <a:lnTo>
                  <a:pt x="16522" y="11826"/>
                </a:lnTo>
                <a:lnTo>
                  <a:pt x="16814" y="11802"/>
                </a:lnTo>
                <a:lnTo>
                  <a:pt x="16668" y="12264"/>
                </a:lnTo>
                <a:lnTo>
                  <a:pt x="16498" y="12215"/>
                </a:lnTo>
                <a:lnTo>
                  <a:pt x="16303" y="12191"/>
                </a:lnTo>
                <a:lnTo>
                  <a:pt x="16108" y="12142"/>
                </a:lnTo>
                <a:lnTo>
                  <a:pt x="15914" y="12094"/>
                </a:lnTo>
                <a:lnTo>
                  <a:pt x="15695" y="12094"/>
                </a:lnTo>
                <a:lnTo>
                  <a:pt x="15476" y="12118"/>
                </a:lnTo>
                <a:lnTo>
                  <a:pt x="15451" y="12142"/>
                </a:lnTo>
                <a:lnTo>
                  <a:pt x="15451" y="12167"/>
                </a:lnTo>
                <a:lnTo>
                  <a:pt x="15476" y="12191"/>
                </a:lnTo>
                <a:lnTo>
                  <a:pt x="15646" y="12288"/>
                </a:lnTo>
                <a:lnTo>
                  <a:pt x="15816" y="12386"/>
                </a:lnTo>
                <a:lnTo>
                  <a:pt x="16230" y="12532"/>
                </a:lnTo>
                <a:lnTo>
                  <a:pt x="16546" y="12629"/>
                </a:lnTo>
                <a:lnTo>
                  <a:pt x="16376" y="13018"/>
                </a:lnTo>
                <a:lnTo>
                  <a:pt x="16060" y="12970"/>
                </a:lnTo>
                <a:lnTo>
                  <a:pt x="15743" y="12872"/>
                </a:lnTo>
                <a:lnTo>
                  <a:pt x="15573" y="12824"/>
                </a:lnTo>
                <a:lnTo>
                  <a:pt x="15476" y="12824"/>
                </a:lnTo>
                <a:lnTo>
                  <a:pt x="15451" y="12848"/>
                </a:lnTo>
                <a:lnTo>
                  <a:pt x="15427" y="12897"/>
                </a:lnTo>
                <a:lnTo>
                  <a:pt x="15427" y="12945"/>
                </a:lnTo>
                <a:lnTo>
                  <a:pt x="15451" y="12994"/>
                </a:lnTo>
                <a:lnTo>
                  <a:pt x="15524" y="13091"/>
                </a:lnTo>
                <a:lnTo>
                  <a:pt x="15743" y="13237"/>
                </a:lnTo>
                <a:lnTo>
                  <a:pt x="15938" y="13335"/>
                </a:lnTo>
                <a:lnTo>
                  <a:pt x="16181" y="13408"/>
                </a:lnTo>
                <a:lnTo>
                  <a:pt x="15914" y="13821"/>
                </a:lnTo>
                <a:lnTo>
                  <a:pt x="15865" y="13894"/>
                </a:lnTo>
                <a:lnTo>
                  <a:pt x="15841" y="13870"/>
                </a:lnTo>
                <a:lnTo>
                  <a:pt x="15719" y="13797"/>
                </a:lnTo>
                <a:lnTo>
                  <a:pt x="15597" y="13700"/>
                </a:lnTo>
                <a:lnTo>
                  <a:pt x="15330" y="13578"/>
                </a:lnTo>
                <a:lnTo>
                  <a:pt x="15013" y="13505"/>
                </a:lnTo>
                <a:lnTo>
                  <a:pt x="14721" y="13505"/>
                </a:lnTo>
                <a:lnTo>
                  <a:pt x="14697" y="13529"/>
                </a:lnTo>
                <a:lnTo>
                  <a:pt x="14673" y="13578"/>
                </a:lnTo>
                <a:lnTo>
                  <a:pt x="14697" y="13602"/>
                </a:lnTo>
                <a:lnTo>
                  <a:pt x="14794" y="13651"/>
                </a:lnTo>
                <a:lnTo>
                  <a:pt x="14892" y="13724"/>
                </a:lnTo>
                <a:lnTo>
                  <a:pt x="15111" y="13821"/>
                </a:lnTo>
                <a:lnTo>
                  <a:pt x="15378" y="13967"/>
                </a:lnTo>
                <a:lnTo>
                  <a:pt x="15622" y="14138"/>
                </a:lnTo>
                <a:lnTo>
                  <a:pt x="15670" y="14162"/>
                </a:lnTo>
                <a:lnTo>
                  <a:pt x="15451" y="14405"/>
                </a:lnTo>
                <a:lnTo>
                  <a:pt x="15330" y="14357"/>
                </a:lnTo>
                <a:lnTo>
                  <a:pt x="15208" y="14332"/>
                </a:lnTo>
                <a:lnTo>
                  <a:pt x="15086" y="14332"/>
                </a:lnTo>
                <a:lnTo>
                  <a:pt x="14989" y="14308"/>
                </a:lnTo>
                <a:lnTo>
                  <a:pt x="14794" y="14259"/>
                </a:lnTo>
                <a:lnTo>
                  <a:pt x="14624" y="14186"/>
                </a:lnTo>
                <a:lnTo>
                  <a:pt x="14454" y="14089"/>
                </a:lnTo>
                <a:lnTo>
                  <a:pt x="14308" y="14016"/>
                </a:lnTo>
                <a:lnTo>
                  <a:pt x="14137" y="14016"/>
                </a:lnTo>
                <a:lnTo>
                  <a:pt x="14089" y="14040"/>
                </a:lnTo>
                <a:lnTo>
                  <a:pt x="14064" y="14089"/>
                </a:lnTo>
                <a:lnTo>
                  <a:pt x="14089" y="14162"/>
                </a:lnTo>
                <a:lnTo>
                  <a:pt x="14162" y="14259"/>
                </a:lnTo>
                <a:lnTo>
                  <a:pt x="14308" y="14405"/>
                </a:lnTo>
                <a:lnTo>
                  <a:pt x="14478" y="14527"/>
                </a:lnTo>
                <a:lnTo>
                  <a:pt x="14648" y="14600"/>
                </a:lnTo>
                <a:lnTo>
                  <a:pt x="14843" y="14697"/>
                </a:lnTo>
                <a:lnTo>
                  <a:pt x="14965" y="14746"/>
                </a:lnTo>
                <a:lnTo>
                  <a:pt x="15086" y="14770"/>
                </a:lnTo>
                <a:lnTo>
                  <a:pt x="14819" y="14989"/>
                </a:lnTo>
                <a:lnTo>
                  <a:pt x="14527" y="15208"/>
                </a:lnTo>
                <a:lnTo>
                  <a:pt x="14454" y="15208"/>
                </a:lnTo>
                <a:lnTo>
                  <a:pt x="14332" y="15184"/>
                </a:lnTo>
                <a:lnTo>
                  <a:pt x="14235" y="15111"/>
                </a:lnTo>
                <a:lnTo>
                  <a:pt x="14064" y="14965"/>
                </a:lnTo>
                <a:lnTo>
                  <a:pt x="13918" y="14843"/>
                </a:lnTo>
                <a:lnTo>
                  <a:pt x="13748" y="14722"/>
                </a:lnTo>
                <a:lnTo>
                  <a:pt x="13651" y="14673"/>
                </a:lnTo>
                <a:lnTo>
                  <a:pt x="13578" y="14624"/>
                </a:lnTo>
                <a:lnTo>
                  <a:pt x="13383" y="14624"/>
                </a:lnTo>
                <a:lnTo>
                  <a:pt x="13359" y="14649"/>
                </a:lnTo>
                <a:lnTo>
                  <a:pt x="13359" y="14697"/>
                </a:lnTo>
                <a:lnTo>
                  <a:pt x="13456" y="14868"/>
                </a:lnTo>
                <a:lnTo>
                  <a:pt x="13602" y="15014"/>
                </a:lnTo>
                <a:lnTo>
                  <a:pt x="13894" y="15306"/>
                </a:lnTo>
                <a:lnTo>
                  <a:pt x="13991" y="15403"/>
                </a:lnTo>
                <a:lnTo>
                  <a:pt x="14113" y="15476"/>
                </a:lnTo>
                <a:lnTo>
                  <a:pt x="13748" y="15671"/>
                </a:lnTo>
                <a:lnTo>
                  <a:pt x="13553" y="15598"/>
                </a:lnTo>
                <a:lnTo>
                  <a:pt x="13456" y="15549"/>
                </a:lnTo>
                <a:lnTo>
                  <a:pt x="13359" y="15476"/>
                </a:lnTo>
                <a:lnTo>
                  <a:pt x="13164" y="15306"/>
                </a:lnTo>
                <a:lnTo>
                  <a:pt x="12872" y="15062"/>
                </a:lnTo>
                <a:lnTo>
                  <a:pt x="12726" y="14941"/>
                </a:lnTo>
                <a:lnTo>
                  <a:pt x="12556" y="14843"/>
                </a:lnTo>
                <a:lnTo>
                  <a:pt x="12507" y="14868"/>
                </a:lnTo>
                <a:lnTo>
                  <a:pt x="12483" y="14916"/>
                </a:lnTo>
                <a:lnTo>
                  <a:pt x="12580" y="15135"/>
                </a:lnTo>
                <a:lnTo>
                  <a:pt x="12726" y="15330"/>
                </a:lnTo>
                <a:lnTo>
                  <a:pt x="12896" y="15525"/>
                </a:lnTo>
                <a:lnTo>
                  <a:pt x="13067" y="15695"/>
                </a:lnTo>
                <a:lnTo>
                  <a:pt x="13310" y="15865"/>
                </a:lnTo>
                <a:lnTo>
                  <a:pt x="12702" y="16084"/>
                </a:lnTo>
                <a:lnTo>
                  <a:pt x="12239" y="15719"/>
                </a:lnTo>
                <a:lnTo>
                  <a:pt x="11972" y="15476"/>
                </a:lnTo>
                <a:lnTo>
                  <a:pt x="11826" y="15354"/>
                </a:lnTo>
                <a:lnTo>
                  <a:pt x="11655" y="15257"/>
                </a:lnTo>
                <a:lnTo>
                  <a:pt x="11631" y="15257"/>
                </a:lnTo>
                <a:lnTo>
                  <a:pt x="11607" y="15281"/>
                </a:lnTo>
                <a:lnTo>
                  <a:pt x="11607" y="15354"/>
                </a:lnTo>
                <a:lnTo>
                  <a:pt x="11631" y="15427"/>
                </a:lnTo>
                <a:lnTo>
                  <a:pt x="11704" y="15573"/>
                </a:lnTo>
                <a:lnTo>
                  <a:pt x="11801" y="15719"/>
                </a:lnTo>
                <a:lnTo>
                  <a:pt x="11899" y="15841"/>
                </a:lnTo>
                <a:lnTo>
                  <a:pt x="12093" y="16036"/>
                </a:lnTo>
                <a:lnTo>
                  <a:pt x="12312" y="16206"/>
                </a:lnTo>
                <a:lnTo>
                  <a:pt x="11826" y="16303"/>
                </a:lnTo>
                <a:lnTo>
                  <a:pt x="11801" y="16303"/>
                </a:lnTo>
                <a:lnTo>
                  <a:pt x="11558" y="16036"/>
                </a:lnTo>
                <a:lnTo>
                  <a:pt x="11291" y="15768"/>
                </a:lnTo>
                <a:lnTo>
                  <a:pt x="11169" y="15671"/>
                </a:lnTo>
                <a:lnTo>
                  <a:pt x="11047" y="15573"/>
                </a:lnTo>
                <a:lnTo>
                  <a:pt x="10901" y="15500"/>
                </a:lnTo>
                <a:lnTo>
                  <a:pt x="10828" y="15476"/>
                </a:lnTo>
                <a:lnTo>
                  <a:pt x="10731" y="15476"/>
                </a:lnTo>
                <a:lnTo>
                  <a:pt x="10731" y="15500"/>
                </a:lnTo>
                <a:lnTo>
                  <a:pt x="10780" y="15646"/>
                </a:lnTo>
                <a:lnTo>
                  <a:pt x="10853" y="15768"/>
                </a:lnTo>
                <a:lnTo>
                  <a:pt x="11072" y="15987"/>
                </a:lnTo>
                <a:lnTo>
                  <a:pt x="11437" y="16376"/>
                </a:lnTo>
                <a:lnTo>
                  <a:pt x="11072" y="16425"/>
                </a:lnTo>
                <a:lnTo>
                  <a:pt x="10682" y="16474"/>
                </a:lnTo>
                <a:lnTo>
                  <a:pt x="10682" y="16401"/>
                </a:lnTo>
                <a:lnTo>
                  <a:pt x="10634" y="16328"/>
                </a:lnTo>
                <a:lnTo>
                  <a:pt x="10463" y="16133"/>
                </a:lnTo>
                <a:lnTo>
                  <a:pt x="10269" y="15938"/>
                </a:lnTo>
                <a:lnTo>
                  <a:pt x="10050" y="15768"/>
                </a:lnTo>
                <a:lnTo>
                  <a:pt x="9831" y="15598"/>
                </a:lnTo>
                <a:lnTo>
                  <a:pt x="9806" y="15598"/>
                </a:lnTo>
                <a:lnTo>
                  <a:pt x="9782" y="15622"/>
                </a:lnTo>
                <a:lnTo>
                  <a:pt x="9806" y="15744"/>
                </a:lnTo>
                <a:lnTo>
                  <a:pt x="9855" y="15865"/>
                </a:lnTo>
                <a:lnTo>
                  <a:pt x="9904" y="15987"/>
                </a:lnTo>
                <a:lnTo>
                  <a:pt x="9977" y="16084"/>
                </a:lnTo>
                <a:lnTo>
                  <a:pt x="10123" y="16303"/>
                </a:lnTo>
                <a:lnTo>
                  <a:pt x="10317" y="16474"/>
                </a:lnTo>
                <a:lnTo>
                  <a:pt x="9685" y="16474"/>
                </a:lnTo>
                <a:lnTo>
                  <a:pt x="9612" y="16352"/>
                </a:lnTo>
                <a:lnTo>
                  <a:pt x="9563" y="16255"/>
                </a:lnTo>
                <a:lnTo>
                  <a:pt x="9393" y="16060"/>
                </a:lnTo>
                <a:lnTo>
                  <a:pt x="9222" y="15817"/>
                </a:lnTo>
                <a:lnTo>
                  <a:pt x="9125" y="15695"/>
                </a:lnTo>
                <a:lnTo>
                  <a:pt x="9028" y="15598"/>
                </a:lnTo>
                <a:lnTo>
                  <a:pt x="8979" y="15598"/>
                </a:lnTo>
                <a:lnTo>
                  <a:pt x="8955" y="15622"/>
                </a:lnTo>
                <a:lnTo>
                  <a:pt x="8955" y="15744"/>
                </a:lnTo>
                <a:lnTo>
                  <a:pt x="8979" y="15865"/>
                </a:lnTo>
                <a:lnTo>
                  <a:pt x="9003" y="15987"/>
                </a:lnTo>
                <a:lnTo>
                  <a:pt x="9052" y="16109"/>
                </a:lnTo>
                <a:lnTo>
                  <a:pt x="9247" y="16449"/>
                </a:lnTo>
                <a:lnTo>
                  <a:pt x="9247" y="16449"/>
                </a:lnTo>
                <a:lnTo>
                  <a:pt x="8687" y="16376"/>
                </a:lnTo>
                <a:lnTo>
                  <a:pt x="8614" y="16376"/>
                </a:lnTo>
                <a:lnTo>
                  <a:pt x="8590" y="16328"/>
                </a:lnTo>
                <a:lnTo>
                  <a:pt x="8492" y="16230"/>
                </a:lnTo>
                <a:lnTo>
                  <a:pt x="8419" y="16109"/>
                </a:lnTo>
                <a:lnTo>
                  <a:pt x="8346" y="15841"/>
                </a:lnTo>
                <a:lnTo>
                  <a:pt x="8273" y="15646"/>
                </a:lnTo>
                <a:lnTo>
                  <a:pt x="8200" y="15573"/>
                </a:lnTo>
                <a:lnTo>
                  <a:pt x="8152" y="15549"/>
                </a:lnTo>
                <a:lnTo>
                  <a:pt x="8103" y="15549"/>
                </a:lnTo>
                <a:lnTo>
                  <a:pt x="8079" y="15598"/>
                </a:lnTo>
                <a:lnTo>
                  <a:pt x="8054" y="15646"/>
                </a:lnTo>
                <a:lnTo>
                  <a:pt x="8054" y="15792"/>
                </a:lnTo>
                <a:lnTo>
                  <a:pt x="8079" y="15938"/>
                </a:lnTo>
                <a:lnTo>
                  <a:pt x="8103" y="16060"/>
                </a:lnTo>
                <a:lnTo>
                  <a:pt x="8176" y="16279"/>
                </a:lnTo>
                <a:lnTo>
                  <a:pt x="7762" y="16157"/>
                </a:lnTo>
                <a:lnTo>
                  <a:pt x="7714" y="16084"/>
                </a:lnTo>
                <a:lnTo>
                  <a:pt x="7665" y="15963"/>
                </a:lnTo>
                <a:lnTo>
                  <a:pt x="7592" y="15817"/>
                </a:lnTo>
                <a:lnTo>
                  <a:pt x="7543" y="15695"/>
                </a:lnTo>
                <a:lnTo>
                  <a:pt x="7519" y="15549"/>
                </a:lnTo>
                <a:lnTo>
                  <a:pt x="7495" y="15549"/>
                </a:lnTo>
                <a:lnTo>
                  <a:pt x="7470" y="15671"/>
                </a:lnTo>
                <a:lnTo>
                  <a:pt x="7446" y="15792"/>
                </a:lnTo>
                <a:lnTo>
                  <a:pt x="7446" y="15938"/>
                </a:lnTo>
                <a:lnTo>
                  <a:pt x="7470" y="16060"/>
                </a:lnTo>
                <a:lnTo>
                  <a:pt x="6984" y="15841"/>
                </a:lnTo>
                <a:lnTo>
                  <a:pt x="6984" y="15792"/>
                </a:lnTo>
                <a:lnTo>
                  <a:pt x="6911" y="15646"/>
                </a:lnTo>
                <a:lnTo>
                  <a:pt x="6813" y="15549"/>
                </a:lnTo>
                <a:lnTo>
                  <a:pt x="6789" y="15549"/>
                </a:lnTo>
                <a:lnTo>
                  <a:pt x="6740" y="15622"/>
                </a:lnTo>
                <a:lnTo>
                  <a:pt x="6716" y="15695"/>
                </a:lnTo>
                <a:lnTo>
                  <a:pt x="6375" y="15476"/>
                </a:lnTo>
                <a:lnTo>
                  <a:pt x="6035" y="15233"/>
                </a:lnTo>
                <a:lnTo>
                  <a:pt x="5718" y="14965"/>
                </a:lnTo>
                <a:lnTo>
                  <a:pt x="5451" y="14649"/>
                </a:lnTo>
                <a:lnTo>
                  <a:pt x="5159" y="14284"/>
                </a:lnTo>
                <a:lnTo>
                  <a:pt x="4915" y="13894"/>
                </a:lnTo>
                <a:lnTo>
                  <a:pt x="4696" y="13505"/>
                </a:lnTo>
                <a:lnTo>
                  <a:pt x="4502" y="13091"/>
                </a:lnTo>
                <a:lnTo>
                  <a:pt x="4356" y="12653"/>
                </a:lnTo>
                <a:lnTo>
                  <a:pt x="4234" y="12215"/>
                </a:lnTo>
                <a:lnTo>
                  <a:pt x="4112" y="11777"/>
                </a:lnTo>
                <a:lnTo>
                  <a:pt x="4064" y="11315"/>
                </a:lnTo>
                <a:lnTo>
                  <a:pt x="4015" y="10926"/>
                </a:lnTo>
                <a:lnTo>
                  <a:pt x="3991" y="10561"/>
                </a:lnTo>
                <a:lnTo>
                  <a:pt x="4015" y="10171"/>
                </a:lnTo>
                <a:lnTo>
                  <a:pt x="4039" y="9782"/>
                </a:lnTo>
                <a:lnTo>
                  <a:pt x="4088" y="9393"/>
                </a:lnTo>
                <a:lnTo>
                  <a:pt x="4137" y="9028"/>
                </a:lnTo>
                <a:lnTo>
                  <a:pt x="4234" y="8663"/>
                </a:lnTo>
                <a:lnTo>
                  <a:pt x="4331" y="8274"/>
                </a:lnTo>
                <a:lnTo>
                  <a:pt x="4453" y="7909"/>
                </a:lnTo>
                <a:lnTo>
                  <a:pt x="4599" y="7568"/>
                </a:lnTo>
                <a:lnTo>
                  <a:pt x="4769" y="7227"/>
                </a:lnTo>
                <a:lnTo>
                  <a:pt x="4940" y="6887"/>
                </a:lnTo>
                <a:lnTo>
                  <a:pt x="5134" y="6546"/>
                </a:lnTo>
                <a:lnTo>
                  <a:pt x="5353" y="6230"/>
                </a:lnTo>
                <a:lnTo>
                  <a:pt x="5597" y="5913"/>
                </a:lnTo>
                <a:lnTo>
                  <a:pt x="5840" y="5621"/>
                </a:lnTo>
                <a:lnTo>
                  <a:pt x="6083" y="5354"/>
                </a:lnTo>
                <a:lnTo>
                  <a:pt x="6351" y="5110"/>
                </a:lnTo>
                <a:lnTo>
                  <a:pt x="6643" y="4891"/>
                </a:lnTo>
                <a:lnTo>
                  <a:pt x="6935" y="4721"/>
                </a:lnTo>
                <a:lnTo>
                  <a:pt x="7227" y="4526"/>
                </a:lnTo>
                <a:lnTo>
                  <a:pt x="7543" y="4380"/>
                </a:lnTo>
                <a:lnTo>
                  <a:pt x="8225" y="4088"/>
                </a:lnTo>
                <a:lnTo>
                  <a:pt x="8784" y="3845"/>
                </a:lnTo>
                <a:lnTo>
                  <a:pt x="9368" y="3675"/>
                </a:lnTo>
                <a:lnTo>
                  <a:pt x="9636" y="3602"/>
                </a:lnTo>
                <a:lnTo>
                  <a:pt x="9660" y="3650"/>
                </a:lnTo>
                <a:lnTo>
                  <a:pt x="9685" y="3699"/>
                </a:lnTo>
                <a:lnTo>
                  <a:pt x="9733" y="3723"/>
                </a:lnTo>
                <a:lnTo>
                  <a:pt x="9806" y="3723"/>
                </a:lnTo>
                <a:lnTo>
                  <a:pt x="10171" y="3626"/>
                </a:lnTo>
                <a:lnTo>
                  <a:pt x="10536" y="3577"/>
                </a:lnTo>
                <a:lnTo>
                  <a:pt x="10585" y="3626"/>
                </a:lnTo>
                <a:lnTo>
                  <a:pt x="10634" y="3650"/>
                </a:lnTo>
                <a:lnTo>
                  <a:pt x="10682" y="3626"/>
                </a:lnTo>
                <a:lnTo>
                  <a:pt x="10707" y="3602"/>
                </a:lnTo>
                <a:lnTo>
                  <a:pt x="10731" y="3577"/>
                </a:lnTo>
                <a:close/>
                <a:moveTo>
                  <a:pt x="9977" y="3237"/>
                </a:moveTo>
                <a:lnTo>
                  <a:pt x="9733" y="3261"/>
                </a:lnTo>
                <a:lnTo>
                  <a:pt x="9490" y="3310"/>
                </a:lnTo>
                <a:lnTo>
                  <a:pt x="9028" y="3431"/>
                </a:lnTo>
                <a:lnTo>
                  <a:pt x="8638" y="3577"/>
                </a:lnTo>
                <a:lnTo>
                  <a:pt x="7957" y="3821"/>
                </a:lnTo>
                <a:lnTo>
                  <a:pt x="7324" y="4113"/>
                </a:lnTo>
                <a:lnTo>
                  <a:pt x="7008" y="4283"/>
                </a:lnTo>
                <a:lnTo>
                  <a:pt x="6692" y="4453"/>
                </a:lnTo>
                <a:lnTo>
                  <a:pt x="6400" y="4648"/>
                </a:lnTo>
                <a:lnTo>
                  <a:pt x="6108" y="4867"/>
                </a:lnTo>
                <a:lnTo>
                  <a:pt x="5791" y="5159"/>
                </a:lnTo>
                <a:lnTo>
                  <a:pt x="5499" y="5451"/>
                </a:lnTo>
                <a:lnTo>
                  <a:pt x="5232" y="5767"/>
                </a:lnTo>
                <a:lnTo>
                  <a:pt x="4988" y="6108"/>
                </a:lnTo>
                <a:lnTo>
                  <a:pt x="4745" y="6473"/>
                </a:lnTo>
                <a:lnTo>
                  <a:pt x="4526" y="6838"/>
                </a:lnTo>
                <a:lnTo>
                  <a:pt x="4356" y="7203"/>
                </a:lnTo>
                <a:lnTo>
                  <a:pt x="4185" y="7592"/>
                </a:lnTo>
                <a:lnTo>
                  <a:pt x="4039" y="8006"/>
                </a:lnTo>
                <a:lnTo>
                  <a:pt x="3918" y="8420"/>
                </a:lnTo>
                <a:lnTo>
                  <a:pt x="3796" y="8833"/>
                </a:lnTo>
                <a:lnTo>
                  <a:pt x="3723" y="9247"/>
                </a:lnTo>
                <a:lnTo>
                  <a:pt x="3674" y="9660"/>
                </a:lnTo>
                <a:lnTo>
                  <a:pt x="3626" y="10074"/>
                </a:lnTo>
                <a:lnTo>
                  <a:pt x="3626" y="10488"/>
                </a:lnTo>
                <a:lnTo>
                  <a:pt x="3626" y="10901"/>
                </a:lnTo>
                <a:lnTo>
                  <a:pt x="3650" y="11315"/>
                </a:lnTo>
                <a:lnTo>
                  <a:pt x="3699" y="11704"/>
                </a:lnTo>
                <a:lnTo>
                  <a:pt x="3772" y="12094"/>
                </a:lnTo>
                <a:lnTo>
                  <a:pt x="3869" y="12483"/>
                </a:lnTo>
                <a:lnTo>
                  <a:pt x="3991" y="12872"/>
                </a:lnTo>
                <a:lnTo>
                  <a:pt x="4137" y="13262"/>
                </a:lnTo>
                <a:lnTo>
                  <a:pt x="4307" y="13627"/>
                </a:lnTo>
                <a:lnTo>
                  <a:pt x="4477" y="13967"/>
                </a:lnTo>
                <a:lnTo>
                  <a:pt x="4696" y="14332"/>
                </a:lnTo>
                <a:lnTo>
                  <a:pt x="4915" y="14649"/>
                </a:lnTo>
                <a:lnTo>
                  <a:pt x="5183" y="14965"/>
                </a:lnTo>
                <a:lnTo>
                  <a:pt x="5451" y="15257"/>
                </a:lnTo>
                <a:lnTo>
                  <a:pt x="5743" y="15525"/>
                </a:lnTo>
                <a:lnTo>
                  <a:pt x="6035" y="15768"/>
                </a:lnTo>
                <a:lnTo>
                  <a:pt x="6375" y="15987"/>
                </a:lnTo>
                <a:lnTo>
                  <a:pt x="6716" y="16182"/>
                </a:lnTo>
                <a:lnTo>
                  <a:pt x="6765" y="16230"/>
                </a:lnTo>
                <a:lnTo>
                  <a:pt x="6838" y="16230"/>
                </a:lnTo>
                <a:lnTo>
                  <a:pt x="6862" y="16255"/>
                </a:lnTo>
                <a:lnTo>
                  <a:pt x="7276" y="16425"/>
                </a:lnTo>
                <a:lnTo>
                  <a:pt x="7738" y="16595"/>
                </a:lnTo>
                <a:lnTo>
                  <a:pt x="8176" y="16717"/>
                </a:lnTo>
                <a:lnTo>
                  <a:pt x="8638" y="16814"/>
                </a:lnTo>
                <a:lnTo>
                  <a:pt x="9101" y="16887"/>
                </a:lnTo>
                <a:lnTo>
                  <a:pt x="9563" y="16936"/>
                </a:lnTo>
                <a:lnTo>
                  <a:pt x="10025" y="16960"/>
                </a:lnTo>
                <a:lnTo>
                  <a:pt x="10488" y="16936"/>
                </a:lnTo>
                <a:lnTo>
                  <a:pt x="10974" y="16912"/>
                </a:lnTo>
                <a:lnTo>
                  <a:pt x="11437" y="16839"/>
                </a:lnTo>
                <a:lnTo>
                  <a:pt x="11899" y="16766"/>
                </a:lnTo>
                <a:lnTo>
                  <a:pt x="12337" y="16644"/>
                </a:lnTo>
                <a:lnTo>
                  <a:pt x="12799" y="16522"/>
                </a:lnTo>
                <a:lnTo>
                  <a:pt x="13237" y="16352"/>
                </a:lnTo>
                <a:lnTo>
                  <a:pt x="13675" y="16182"/>
                </a:lnTo>
                <a:lnTo>
                  <a:pt x="14089" y="15963"/>
                </a:lnTo>
                <a:lnTo>
                  <a:pt x="14575" y="15671"/>
                </a:lnTo>
                <a:lnTo>
                  <a:pt x="15038" y="15354"/>
                </a:lnTo>
                <a:lnTo>
                  <a:pt x="15451" y="15014"/>
                </a:lnTo>
                <a:lnTo>
                  <a:pt x="15816" y="14624"/>
                </a:lnTo>
                <a:lnTo>
                  <a:pt x="16157" y="14186"/>
                </a:lnTo>
                <a:lnTo>
                  <a:pt x="16473" y="13748"/>
                </a:lnTo>
                <a:lnTo>
                  <a:pt x="16741" y="13286"/>
                </a:lnTo>
                <a:lnTo>
                  <a:pt x="16960" y="12799"/>
                </a:lnTo>
                <a:lnTo>
                  <a:pt x="17155" y="12288"/>
                </a:lnTo>
                <a:lnTo>
                  <a:pt x="17301" y="11777"/>
                </a:lnTo>
                <a:lnTo>
                  <a:pt x="17398" y="11242"/>
                </a:lnTo>
                <a:lnTo>
                  <a:pt x="17447" y="10707"/>
                </a:lnTo>
                <a:lnTo>
                  <a:pt x="17471" y="10147"/>
                </a:lnTo>
                <a:lnTo>
                  <a:pt x="17447" y="9587"/>
                </a:lnTo>
                <a:lnTo>
                  <a:pt x="17374" y="9052"/>
                </a:lnTo>
                <a:lnTo>
                  <a:pt x="17276" y="8493"/>
                </a:lnTo>
                <a:lnTo>
                  <a:pt x="17106" y="7957"/>
                </a:lnTo>
                <a:lnTo>
                  <a:pt x="16887" y="7422"/>
                </a:lnTo>
                <a:lnTo>
                  <a:pt x="16619" y="6911"/>
                </a:lnTo>
                <a:lnTo>
                  <a:pt x="16327" y="6400"/>
                </a:lnTo>
                <a:lnTo>
                  <a:pt x="15987" y="5938"/>
                </a:lnTo>
                <a:lnTo>
                  <a:pt x="15597" y="5500"/>
                </a:lnTo>
                <a:lnTo>
                  <a:pt x="15184" y="5110"/>
                </a:lnTo>
                <a:lnTo>
                  <a:pt x="14746" y="4745"/>
                </a:lnTo>
                <a:lnTo>
                  <a:pt x="14502" y="4551"/>
                </a:lnTo>
                <a:lnTo>
                  <a:pt x="14235" y="4380"/>
                </a:lnTo>
                <a:lnTo>
                  <a:pt x="13651" y="4088"/>
                </a:lnTo>
                <a:lnTo>
                  <a:pt x="13067" y="3796"/>
                </a:lnTo>
                <a:lnTo>
                  <a:pt x="12483" y="3577"/>
                </a:lnTo>
                <a:lnTo>
                  <a:pt x="11996" y="3431"/>
                </a:lnTo>
                <a:lnTo>
                  <a:pt x="11461" y="3334"/>
                </a:lnTo>
                <a:lnTo>
                  <a:pt x="11218" y="3285"/>
                </a:lnTo>
                <a:lnTo>
                  <a:pt x="10415" y="3285"/>
                </a:lnTo>
                <a:lnTo>
                  <a:pt x="10196" y="3237"/>
                </a:lnTo>
                <a:close/>
                <a:moveTo>
                  <a:pt x="13675" y="16912"/>
                </a:moveTo>
                <a:lnTo>
                  <a:pt x="13626" y="16936"/>
                </a:lnTo>
                <a:lnTo>
                  <a:pt x="13578" y="16984"/>
                </a:lnTo>
                <a:lnTo>
                  <a:pt x="13553" y="17057"/>
                </a:lnTo>
                <a:lnTo>
                  <a:pt x="13553" y="17106"/>
                </a:lnTo>
                <a:lnTo>
                  <a:pt x="13578" y="17252"/>
                </a:lnTo>
                <a:lnTo>
                  <a:pt x="13724" y="17495"/>
                </a:lnTo>
                <a:lnTo>
                  <a:pt x="13772" y="17666"/>
                </a:lnTo>
                <a:lnTo>
                  <a:pt x="13870" y="17812"/>
                </a:lnTo>
                <a:lnTo>
                  <a:pt x="13943" y="17885"/>
                </a:lnTo>
                <a:lnTo>
                  <a:pt x="13991" y="17958"/>
                </a:lnTo>
                <a:lnTo>
                  <a:pt x="14089" y="17982"/>
                </a:lnTo>
                <a:lnTo>
                  <a:pt x="14162" y="18006"/>
                </a:lnTo>
                <a:lnTo>
                  <a:pt x="14210" y="17982"/>
                </a:lnTo>
                <a:lnTo>
                  <a:pt x="14259" y="17958"/>
                </a:lnTo>
                <a:lnTo>
                  <a:pt x="14332" y="17885"/>
                </a:lnTo>
                <a:lnTo>
                  <a:pt x="14356" y="17787"/>
                </a:lnTo>
                <a:lnTo>
                  <a:pt x="14356" y="17739"/>
                </a:lnTo>
                <a:lnTo>
                  <a:pt x="14332" y="17690"/>
                </a:lnTo>
                <a:lnTo>
                  <a:pt x="14259" y="17593"/>
                </a:lnTo>
                <a:lnTo>
                  <a:pt x="14162" y="17495"/>
                </a:lnTo>
                <a:lnTo>
                  <a:pt x="13991" y="17228"/>
                </a:lnTo>
                <a:lnTo>
                  <a:pt x="13918" y="17082"/>
                </a:lnTo>
                <a:lnTo>
                  <a:pt x="13870" y="17033"/>
                </a:lnTo>
                <a:lnTo>
                  <a:pt x="13821" y="16960"/>
                </a:lnTo>
                <a:lnTo>
                  <a:pt x="13748" y="16936"/>
                </a:lnTo>
                <a:lnTo>
                  <a:pt x="13675" y="16912"/>
                </a:lnTo>
                <a:close/>
                <a:moveTo>
                  <a:pt x="7008" y="17009"/>
                </a:moveTo>
                <a:lnTo>
                  <a:pt x="6911" y="17057"/>
                </a:lnTo>
                <a:lnTo>
                  <a:pt x="6813" y="17155"/>
                </a:lnTo>
                <a:lnTo>
                  <a:pt x="6716" y="17374"/>
                </a:lnTo>
                <a:lnTo>
                  <a:pt x="6570" y="17666"/>
                </a:lnTo>
                <a:lnTo>
                  <a:pt x="6521" y="17812"/>
                </a:lnTo>
                <a:lnTo>
                  <a:pt x="6497" y="17885"/>
                </a:lnTo>
                <a:lnTo>
                  <a:pt x="6521" y="17958"/>
                </a:lnTo>
                <a:lnTo>
                  <a:pt x="6546" y="18006"/>
                </a:lnTo>
                <a:lnTo>
                  <a:pt x="6594" y="18055"/>
                </a:lnTo>
                <a:lnTo>
                  <a:pt x="6667" y="18079"/>
                </a:lnTo>
                <a:lnTo>
                  <a:pt x="6740" y="18079"/>
                </a:lnTo>
                <a:lnTo>
                  <a:pt x="6789" y="18055"/>
                </a:lnTo>
                <a:lnTo>
                  <a:pt x="6862" y="18006"/>
                </a:lnTo>
                <a:lnTo>
                  <a:pt x="6935" y="17885"/>
                </a:lnTo>
                <a:lnTo>
                  <a:pt x="7008" y="17739"/>
                </a:lnTo>
                <a:lnTo>
                  <a:pt x="7057" y="17593"/>
                </a:lnTo>
                <a:lnTo>
                  <a:pt x="7154" y="17349"/>
                </a:lnTo>
                <a:lnTo>
                  <a:pt x="7178" y="17228"/>
                </a:lnTo>
                <a:lnTo>
                  <a:pt x="7178" y="17106"/>
                </a:lnTo>
                <a:lnTo>
                  <a:pt x="7154" y="17057"/>
                </a:lnTo>
                <a:lnTo>
                  <a:pt x="7105" y="17033"/>
                </a:lnTo>
                <a:lnTo>
                  <a:pt x="7057" y="17009"/>
                </a:lnTo>
                <a:close/>
                <a:moveTo>
                  <a:pt x="5694" y="16328"/>
                </a:moveTo>
                <a:lnTo>
                  <a:pt x="5597" y="16352"/>
                </a:lnTo>
                <a:lnTo>
                  <a:pt x="5524" y="16425"/>
                </a:lnTo>
                <a:lnTo>
                  <a:pt x="5159" y="16887"/>
                </a:lnTo>
                <a:lnTo>
                  <a:pt x="4745" y="17349"/>
                </a:lnTo>
                <a:lnTo>
                  <a:pt x="4307" y="17787"/>
                </a:lnTo>
                <a:lnTo>
                  <a:pt x="3869" y="18225"/>
                </a:lnTo>
                <a:lnTo>
                  <a:pt x="3820" y="18250"/>
                </a:lnTo>
                <a:lnTo>
                  <a:pt x="3820" y="18298"/>
                </a:lnTo>
                <a:lnTo>
                  <a:pt x="3820" y="18347"/>
                </a:lnTo>
                <a:lnTo>
                  <a:pt x="3845" y="18396"/>
                </a:lnTo>
                <a:lnTo>
                  <a:pt x="3893" y="18444"/>
                </a:lnTo>
                <a:lnTo>
                  <a:pt x="3942" y="18469"/>
                </a:lnTo>
                <a:lnTo>
                  <a:pt x="3991" y="18469"/>
                </a:lnTo>
                <a:lnTo>
                  <a:pt x="4161" y="18420"/>
                </a:lnTo>
                <a:lnTo>
                  <a:pt x="4283" y="18347"/>
                </a:lnTo>
                <a:lnTo>
                  <a:pt x="4429" y="18250"/>
                </a:lnTo>
                <a:lnTo>
                  <a:pt x="4550" y="18152"/>
                </a:lnTo>
                <a:lnTo>
                  <a:pt x="4794" y="17909"/>
                </a:lnTo>
                <a:lnTo>
                  <a:pt x="5013" y="17690"/>
                </a:lnTo>
                <a:lnTo>
                  <a:pt x="5499" y="17203"/>
                </a:lnTo>
                <a:lnTo>
                  <a:pt x="5718" y="16936"/>
                </a:lnTo>
                <a:lnTo>
                  <a:pt x="5937" y="16668"/>
                </a:lnTo>
                <a:lnTo>
                  <a:pt x="5986" y="16571"/>
                </a:lnTo>
                <a:lnTo>
                  <a:pt x="5962" y="16498"/>
                </a:lnTo>
                <a:lnTo>
                  <a:pt x="5937" y="16425"/>
                </a:lnTo>
                <a:lnTo>
                  <a:pt x="5864" y="16376"/>
                </a:lnTo>
                <a:lnTo>
                  <a:pt x="5791" y="16328"/>
                </a:lnTo>
                <a:close/>
                <a:moveTo>
                  <a:pt x="15013" y="15987"/>
                </a:moveTo>
                <a:lnTo>
                  <a:pt x="14965" y="16011"/>
                </a:lnTo>
                <a:lnTo>
                  <a:pt x="14940" y="16084"/>
                </a:lnTo>
                <a:lnTo>
                  <a:pt x="14940" y="16133"/>
                </a:lnTo>
                <a:lnTo>
                  <a:pt x="14989" y="16303"/>
                </a:lnTo>
                <a:lnTo>
                  <a:pt x="15038" y="16449"/>
                </a:lnTo>
                <a:lnTo>
                  <a:pt x="15208" y="16717"/>
                </a:lnTo>
                <a:lnTo>
                  <a:pt x="15427" y="17082"/>
                </a:lnTo>
                <a:lnTo>
                  <a:pt x="15524" y="17252"/>
                </a:lnTo>
                <a:lnTo>
                  <a:pt x="15646" y="17422"/>
                </a:lnTo>
                <a:lnTo>
                  <a:pt x="16108" y="17933"/>
                </a:lnTo>
                <a:lnTo>
                  <a:pt x="16327" y="18225"/>
                </a:lnTo>
                <a:lnTo>
                  <a:pt x="16400" y="18371"/>
                </a:lnTo>
                <a:lnTo>
                  <a:pt x="16473" y="18517"/>
                </a:lnTo>
                <a:lnTo>
                  <a:pt x="16522" y="18590"/>
                </a:lnTo>
                <a:lnTo>
                  <a:pt x="16595" y="18639"/>
                </a:lnTo>
                <a:lnTo>
                  <a:pt x="16668" y="18688"/>
                </a:lnTo>
                <a:lnTo>
                  <a:pt x="16765" y="18688"/>
                </a:lnTo>
                <a:lnTo>
                  <a:pt x="16838" y="18663"/>
                </a:lnTo>
                <a:lnTo>
                  <a:pt x="16887" y="18615"/>
                </a:lnTo>
                <a:lnTo>
                  <a:pt x="16936" y="18566"/>
                </a:lnTo>
                <a:lnTo>
                  <a:pt x="16936" y="18469"/>
                </a:lnTo>
                <a:lnTo>
                  <a:pt x="16911" y="18298"/>
                </a:lnTo>
                <a:lnTo>
                  <a:pt x="16838" y="18128"/>
                </a:lnTo>
                <a:lnTo>
                  <a:pt x="16765" y="17982"/>
                </a:lnTo>
                <a:lnTo>
                  <a:pt x="16668" y="17836"/>
                </a:lnTo>
                <a:lnTo>
                  <a:pt x="16449" y="17568"/>
                </a:lnTo>
                <a:lnTo>
                  <a:pt x="16206" y="17325"/>
                </a:lnTo>
                <a:lnTo>
                  <a:pt x="16060" y="17155"/>
                </a:lnTo>
                <a:lnTo>
                  <a:pt x="15938" y="16984"/>
                </a:lnTo>
                <a:lnTo>
                  <a:pt x="15695" y="16595"/>
                </a:lnTo>
                <a:lnTo>
                  <a:pt x="15573" y="16401"/>
                </a:lnTo>
                <a:lnTo>
                  <a:pt x="15427" y="16230"/>
                </a:lnTo>
                <a:lnTo>
                  <a:pt x="15281" y="16109"/>
                </a:lnTo>
                <a:lnTo>
                  <a:pt x="15086" y="15987"/>
                </a:lnTo>
                <a:close/>
                <a:moveTo>
                  <a:pt x="10439" y="17666"/>
                </a:moveTo>
                <a:lnTo>
                  <a:pt x="10342" y="17787"/>
                </a:lnTo>
                <a:lnTo>
                  <a:pt x="10293" y="17909"/>
                </a:lnTo>
                <a:lnTo>
                  <a:pt x="10244" y="18055"/>
                </a:lnTo>
                <a:lnTo>
                  <a:pt x="10244" y="18201"/>
                </a:lnTo>
                <a:lnTo>
                  <a:pt x="10196" y="18517"/>
                </a:lnTo>
                <a:lnTo>
                  <a:pt x="10196" y="18688"/>
                </a:lnTo>
                <a:lnTo>
                  <a:pt x="10244" y="18834"/>
                </a:lnTo>
                <a:lnTo>
                  <a:pt x="10293" y="18882"/>
                </a:lnTo>
                <a:lnTo>
                  <a:pt x="10342" y="18907"/>
                </a:lnTo>
                <a:lnTo>
                  <a:pt x="10415" y="18882"/>
                </a:lnTo>
                <a:lnTo>
                  <a:pt x="10463" y="18858"/>
                </a:lnTo>
                <a:lnTo>
                  <a:pt x="10512" y="18809"/>
                </a:lnTo>
                <a:lnTo>
                  <a:pt x="10561" y="18736"/>
                </a:lnTo>
                <a:lnTo>
                  <a:pt x="10585" y="18615"/>
                </a:lnTo>
                <a:lnTo>
                  <a:pt x="10585" y="18323"/>
                </a:lnTo>
                <a:lnTo>
                  <a:pt x="10609" y="18031"/>
                </a:lnTo>
                <a:lnTo>
                  <a:pt x="10609" y="17885"/>
                </a:lnTo>
                <a:lnTo>
                  <a:pt x="10585" y="17739"/>
                </a:lnTo>
                <a:lnTo>
                  <a:pt x="10561" y="17690"/>
                </a:lnTo>
                <a:lnTo>
                  <a:pt x="10536" y="17666"/>
                </a:lnTo>
                <a:close/>
                <a:moveTo>
                  <a:pt x="8638" y="17349"/>
                </a:moveTo>
                <a:lnTo>
                  <a:pt x="8492" y="17471"/>
                </a:lnTo>
                <a:lnTo>
                  <a:pt x="8395" y="17593"/>
                </a:lnTo>
                <a:lnTo>
                  <a:pt x="8322" y="17739"/>
                </a:lnTo>
                <a:lnTo>
                  <a:pt x="8249" y="17909"/>
                </a:lnTo>
                <a:lnTo>
                  <a:pt x="8176" y="18250"/>
                </a:lnTo>
                <a:lnTo>
                  <a:pt x="8103" y="18590"/>
                </a:lnTo>
                <a:lnTo>
                  <a:pt x="7908" y="19369"/>
                </a:lnTo>
                <a:lnTo>
                  <a:pt x="7860" y="19758"/>
                </a:lnTo>
                <a:lnTo>
                  <a:pt x="7835" y="19953"/>
                </a:lnTo>
                <a:lnTo>
                  <a:pt x="7835" y="20148"/>
                </a:lnTo>
                <a:lnTo>
                  <a:pt x="7860" y="20221"/>
                </a:lnTo>
                <a:lnTo>
                  <a:pt x="7908" y="20269"/>
                </a:lnTo>
                <a:lnTo>
                  <a:pt x="7933" y="20318"/>
                </a:lnTo>
                <a:lnTo>
                  <a:pt x="8006" y="20342"/>
                </a:lnTo>
                <a:lnTo>
                  <a:pt x="8103" y="20342"/>
                </a:lnTo>
                <a:lnTo>
                  <a:pt x="8176" y="20318"/>
                </a:lnTo>
                <a:lnTo>
                  <a:pt x="8200" y="20245"/>
                </a:lnTo>
                <a:lnTo>
                  <a:pt x="8273" y="20099"/>
                </a:lnTo>
                <a:lnTo>
                  <a:pt x="8346" y="19929"/>
                </a:lnTo>
                <a:lnTo>
                  <a:pt x="8419" y="19588"/>
                </a:lnTo>
                <a:lnTo>
                  <a:pt x="8517" y="18882"/>
                </a:lnTo>
                <a:lnTo>
                  <a:pt x="8614" y="18517"/>
                </a:lnTo>
                <a:lnTo>
                  <a:pt x="8711" y="18152"/>
                </a:lnTo>
                <a:lnTo>
                  <a:pt x="8760" y="17958"/>
                </a:lnTo>
                <a:lnTo>
                  <a:pt x="8784" y="17763"/>
                </a:lnTo>
                <a:lnTo>
                  <a:pt x="8784" y="17593"/>
                </a:lnTo>
                <a:lnTo>
                  <a:pt x="8784" y="17422"/>
                </a:lnTo>
                <a:lnTo>
                  <a:pt x="8760" y="17374"/>
                </a:lnTo>
                <a:lnTo>
                  <a:pt x="8711" y="17349"/>
                </a:lnTo>
                <a:close/>
                <a:moveTo>
                  <a:pt x="12093" y="17374"/>
                </a:moveTo>
                <a:lnTo>
                  <a:pt x="12045" y="17398"/>
                </a:lnTo>
                <a:lnTo>
                  <a:pt x="11996" y="17398"/>
                </a:lnTo>
                <a:lnTo>
                  <a:pt x="11947" y="17447"/>
                </a:lnTo>
                <a:lnTo>
                  <a:pt x="11923" y="17495"/>
                </a:lnTo>
                <a:lnTo>
                  <a:pt x="11923" y="17544"/>
                </a:lnTo>
                <a:lnTo>
                  <a:pt x="11947" y="17836"/>
                </a:lnTo>
                <a:lnTo>
                  <a:pt x="11972" y="18152"/>
                </a:lnTo>
                <a:lnTo>
                  <a:pt x="12093" y="18761"/>
                </a:lnTo>
                <a:lnTo>
                  <a:pt x="12166" y="19199"/>
                </a:lnTo>
                <a:lnTo>
                  <a:pt x="12215" y="19661"/>
                </a:lnTo>
                <a:lnTo>
                  <a:pt x="12239" y="19904"/>
                </a:lnTo>
                <a:lnTo>
                  <a:pt x="12288" y="20123"/>
                </a:lnTo>
                <a:lnTo>
                  <a:pt x="12337" y="20342"/>
                </a:lnTo>
                <a:lnTo>
                  <a:pt x="12434" y="20561"/>
                </a:lnTo>
                <a:lnTo>
                  <a:pt x="12483" y="20610"/>
                </a:lnTo>
                <a:lnTo>
                  <a:pt x="12556" y="20659"/>
                </a:lnTo>
                <a:lnTo>
                  <a:pt x="12629" y="20659"/>
                </a:lnTo>
                <a:lnTo>
                  <a:pt x="12702" y="20634"/>
                </a:lnTo>
                <a:lnTo>
                  <a:pt x="12775" y="20610"/>
                </a:lnTo>
                <a:lnTo>
                  <a:pt x="12823" y="20537"/>
                </a:lnTo>
                <a:lnTo>
                  <a:pt x="12848" y="20464"/>
                </a:lnTo>
                <a:lnTo>
                  <a:pt x="12848" y="20391"/>
                </a:lnTo>
                <a:lnTo>
                  <a:pt x="12750" y="19953"/>
                </a:lnTo>
                <a:lnTo>
                  <a:pt x="12702" y="19491"/>
                </a:lnTo>
                <a:lnTo>
                  <a:pt x="12629" y="19053"/>
                </a:lnTo>
                <a:lnTo>
                  <a:pt x="12556" y="18639"/>
                </a:lnTo>
                <a:lnTo>
                  <a:pt x="12483" y="18323"/>
                </a:lnTo>
                <a:lnTo>
                  <a:pt x="12434" y="18031"/>
                </a:lnTo>
                <a:lnTo>
                  <a:pt x="12361" y="17739"/>
                </a:lnTo>
                <a:lnTo>
                  <a:pt x="12288" y="17593"/>
                </a:lnTo>
                <a:lnTo>
                  <a:pt x="12239" y="17471"/>
                </a:lnTo>
                <a:lnTo>
                  <a:pt x="12191" y="17422"/>
                </a:lnTo>
                <a:lnTo>
                  <a:pt x="12142" y="17398"/>
                </a:lnTo>
                <a:lnTo>
                  <a:pt x="12093" y="17374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0" name="Прямоугольник 49"/>
          <p:cNvSpPr/>
          <p:nvPr/>
        </p:nvSpPr>
        <p:spPr>
          <a:xfrm>
            <a:off x="0" y="0"/>
            <a:ext cx="2621280" cy="1198880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1" name="Рисунок 50">
            <a:extLst>
              <a:ext uri="{FF2B5EF4-FFF2-40B4-BE49-F238E27FC236}">
                <a16:creationId xmlns:a16="http://schemas.microsoft.com/office/drawing/2014/main" xmlns="" id="{F5A915BA-698F-4574-83F2-CC987DC1D5F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33137" y="267852"/>
            <a:ext cx="1888568" cy="509614"/>
          </a:xfrm>
          <a:prstGeom prst="rect">
            <a:avLst/>
          </a:prstGeom>
        </p:spPr>
      </p:pic>
      <p:sp>
        <p:nvSpPr>
          <p:cNvPr id="52" name="Google Shape;466;p40"/>
          <p:cNvSpPr/>
          <p:nvPr/>
        </p:nvSpPr>
        <p:spPr>
          <a:xfrm>
            <a:off x="1207767" y="1664495"/>
            <a:ext cx="1052391" cy="643569"/>
          </a:xfrm>
          <a:custGeom>
            <a:avLst/>
            <a:gdLst/>
            <a:ahLst/>
            <a:cxnLst/>
            <a:rect l="l" t="t" r="r" b="b"/>
            <a:pathLst>
              <a:path w="19978" h="12216" extrusionOk="0">
                <a:moveTo>
                  <a:pt x="8128" y="560"/>
                </a:moveTo>
                <a:lnTo>
                  <a:pt x="8517" y="609"/>
                </a:lnTo>
                <a:lnTo>
                  <a:pt x="8055" y="925"/>
                </a:lnTo>
                <a:lnTo>
                  <a:pt x="7617" y="1193"/>
                </a:lnTo>
                <a:lnTo>
                  <a:pt x="7422" y="1339"/>
                </a:lnTo>
                <a:lnTo>
                  <a:pt x="7325" y="1436"/>
                </a:lnTo>
                <a:lnTo>
                  <a:pt x="7252" y="1534"/>
                </a:lnTo>
                <a:lnTo>
                  <a:pt x="7252" y="1582"/>
                </a:lnTo>
                <a:lnTo>
                  <a:pt x="7252" y="1655"/>
                </a:lnTo>
                <a:lnTo>
                  <a:pt x="7300" y="1680"/>
                </a:lnTo>
                <a:lnTo>
                  <a:pt x="7349" y="1704"/>
                </a:lnTo>
                <a:lnTo>
                  <a:pt x="7471" y="1704"/>
                </a:lnTo>
                <a:lnTo>
                  <a:pt x="7592" y="1680"/>
                </a:lnTo>
                <a:lnTo>
                  <a:pt x="7836" y="1582"/>
                </a:lnTo>
                <a:lnTo>
                  <a:pt x="8055" y="1436"/>
                </a:lnTo>
                <a:lnTo>
                  <a:pt x="8274" y="1315"/>
                </a:lnTo>
                <a:lnTo>
                  <a:pt x="8711" y="1023"/>
                </a:lnTo>
                <a:lnTo>
                  <a:pt x="9149" y="731"/>
                </a:lnTo>
                <a:lnTo>
                  <a:pt x="9393" y="828"/>
                </a:lnTo>
                <a:lnTo>
                  <a:pt x="9660" y="925"/>
                </a:lnTo>
                <a:lnTo>
                  <a:pt x="9320" y="1071"/>
                </a:lnTo>
                <a:lnTo>
                  <a:pt x="9003" y="1217"/>
                </a:lnTo>
                <a:lnTo>
                  <a:pt x="8736" y="1339"/>
                </a:lnTo>
                <a:lnTo>
                  <a:pt x="8492" y="1509"/>
                </a:lnTo>
                <a:lnTo>
                  <a:pt x="8371" y="1607"/>
                </a:lnTo>
                <a:lnTo>
                  <a:pt x="8274" y="1728"/>
                </a:lnTo>
                <a:lnTo>
                  <a:pt x="8201" y="1850"/>
                </a:lnTo>
                <a:lnTo>
                  <a:pt x="8152" y="1996"/>
                </a:lnTo>
                <a:lnTo>
                  <a:pt x="8152" y="2045"/>
                </a:lnTo>
                <a:lnTo>
                  <a:pt x="8176" y="2045"/>
                </a:lnTo>
                <a:lnTo>
                  <a:pt x="8201" y="2069"/>
                </a:lnTo>
                <a:lnTo>
                  <a:pt x="8225" y="2069"/>
                </a:lnTo>
                <a:lnTo>
                  <a:pt x="8492" y="1947"/>
                </a:lnTo>
                <a:lnTo>
                  <a:pt x="8711" y="1801"/>
                </a:lnTo>
                <a:lnTo>
                  <a:pt x="8955" y="1680"/>
                </a:lnTo>
                <a:lnTo>
                  <a:pt x="9198" y="1558"/>
                </a:lnTo>
                <a:lnTo>
                  <a:pt x="9417" y="1485"/>
                </a:lnTo>
                <a:lnTo>
                  <a:pt x="9660" y="1412"/>
                </a:lnTo>
                <a:lnTo>
                  <a:pt x="9904" y="1339"/>
                </a:lnTo>
                <a:lnTo>
                  <a:pt x="10123" y="1266"/>
                </a:lnTo>
                <a:lnTo>
                  <a:pt x="10463" y="1558"/>
                </a:lnTo>
                <a:lnTo>
                  <a:pt x="10269" y="1582"/>
                </a:lnTo>
                <a:lnTo>
                  <a:pt x="10050" y="1631"/>
                </a:lnTo>
                <a:lnTo>
                  <a:pt x="9660" y="1777"/>
                </a:lnTo>
                <a:lnTo>
                  <a:pt x="9490" y="1874"/>
                </a:lnTo>
                <a:lnTo>
                  <a:pt x="9295" y="1947"/>
                </a:lnTo>
                <a:lnTo>
                  <a:pt x="9101" y="2045"/>
                </a:lnTo>
                <a:lnTo>
                  <a:pt x="8955" y="2191"/>
                </a:lnTo>
                <a:lnTo>
                  <a:pt x="8930" y="2239"/>
                </a:lnTo>
                <a:lnTo>
                  <a:pt x="8930" y="2264"/>
                </a:lnTo>
                <a:lnTo>
                  <a:pt x="8930" y="2337"/>
                </a:lnTo>
                <a:lnTo>
                  <a:pt x="9003" y="2410"/>
                </a:lnTo>
                <a:lnTo>
                  <a:pt x="9076" y="2410"/>
                </a:lnTo>
                <a:lnTo>
                  <a:pt x="9320" y="2361"/>
                </a:lnTo>
                <a:lnTo>
                  <a:pt x="9539" y="2288"/>
                </a:lnTo>
                <a:lnTo>
                  <a:pt x="9977" y="2093"/>
                </a:lnTo>
                <a:lnTo>
                  <a:pt x="10147" y="2045"/>
                </a:lnTo>
                <a:lnTo>
                  <a:pt x="10317" y="1947"/>
                </a:lnTo>
                <a:lnTo>
                  <a:pt x="10463" y="1850"/>
                </a:lnTo>
                <a:lnTo>
                  <a:pt x="10585" y="1704"/>
                </a:lnTo>
                <a:lnTo>
                  <a:pt x="10804" y="1972"/>
                </a:lnTo>
                <a:lnTo>
                  <a:pt x="10390" y="2191"/>
                </a:lnTo>
                <a:lnTo>
                  <a:pt x="10196" y="2288"/>
                </a:lnTo>
                <a:lnTo>
                  <a:pt x="10001" y="2385"/>
                </a:lnTo>
                <a:lnTo>
                  <a:pt x="9904" y="2434"/>
                </a:lnTo>
                <a:lnTo>
                  <a:pt x="9831" y="2507"/>
                </a:lnTo>
                <a:lnTo>
                  <a:pt x="9758" y="2604"/>
                </a:lnTo>
                <a:lnTo>
                  <a:pt x="9709" y="2702"/>
                </a:lnTo>
                <a:lnTo>
                  <a:pt x="9709" y="2726"/>
                </a:lnTo>
                <a:lnTo>
                  <a:pt x="9733" y="2750"/>
                </a:lnTo>
                <a:lnTo>
                  <a:pt x="9782" y="2775"/>
                </a:lnTo>
                <a:lnTo>
                  <a:pt x="10001" y="2775"/>
                </a:lnTo>
                <a:lnTo>
                  <a:pt x="10220" y="2702"/>
                </a:lnTo>
                <a:lnTo>
                  <a:pt x="10634" y="2507"/>
                </a:lnTo>
                <a:lnTo>
                  <a:pt x="10853" y="2434"/>
                </a:lnTo>
                <a:lnTo>
                  <a:pt x="11072" y="2361"/>
                </a:lnTo>
                <a:lnTo>
                  <a:pt x="11096" y="2361"/>
                </a:lnTo>
                <a:lnTo>
                  <a:pt x="11145" y="2458"/>
                </a:lnTo>
                <a:lnTo>
                  <a:pt x="10926" y="2556"/>
                </a:lnTo>
                <a:lnTo>
                  <a:pt x="10707" y="2677"/>
                </a:lnTo>
                <a:lnTo>
                  <a:pt x="10269" y="2945"/>
                </a:lnTo>
                <a:lnTo>
                  <a:pt x="10244" y="2994"/>
                </a:lnTo>
                <a:lnTo>
                  <a:pt x="10244" y="3042"/>
                </a:lnTo>
                <a:lnTo>
                  <a:pt x="10269" y="3067"/>
                </a:lnTo>
                <a:lnTo>
                  <a:pt x="10317" y="3091"/>
                </a:lnTo>
                <a:lnTo>
                  <a:pt x="10561" y="3067"/>
                </a:lnTo>
                <a:lnTo>
                  <a:pt x="10804" y="2994"/>
                </a:lnTo>
                <a:lnTo>
                  <a:pt x="11047" y="2896"/>
                </a:lnTo>
                <a:lnTo>
                  <a:pt x="11291" y="2775"/>
                </a:lnTo>
                <a:lnTo>
                  <a:pt x="11388" y="3091"/>
                </a:lnTo>
                <a:lnTo>
                  <a:pt x="11291" y="3091"/>
                </a:lnTo>
                <a:lnTo>
                  <a:pt x="11218" y="3115"/>
                </a:lnTo>
                <a:lnTo>
                  <a:pt x="11047" y="3164"/>
                </a:lnTo>
                <a:lnTo>
                  <a:pt x="10853" y="3286"/>
                </a:lnTo>
                <a:lnTo>
                  <a:pt x="10780" y="3334"/>
                </a:lnTo>
                <a:lnTo>
                  <a:pt x="10707" y="3432"/>
                </a:lnTo>
                <a:lnTo>
                  <a:pt x="10707" y="3505"/>
                </a:lnTo>
                <a:lnTo>
                  <a:pt x="10731" y="3553"/>
                </a:lnTo>
                <a:lnTo>
                  <a:pt x="10780" y="3602"/>
                </a:lnTo>
                <a:lnTo>
                  <a:pt x="10828" y="3602"/>
                </a:lnTo>
                <a:lnTo>
                  <a:pt x="10999" y="3553"/>
                </a:lnTo>
                <a:lnTo>
                  <a:pt x="11169" y="3505"/>
                </a:lnTo>
                <a:lnTo>
                  <a:pt x="11339" y="3456"/>
                </a:lnTo>
                <a:lnTo>
                  <a:pt x="11412" y="3432"/>
                </a:lnTo>
                <a:lnTo>
                  <a:pt x="11461" y="3383"/>
                </a:lnTo>
                <a:lnTo>
                  <a:pt x="11534" y="3602"/>
                </a:lnTo>
                <a:lnTo>
                  <a:pt x="11461" y="3626"/>
                </a:lnTo>
                <a:lnTo>
                  <a:pt x="11388" y="3675"/>
                </a:lnTo>
                <a:lnTo>
                  <a:pt x="11291" y="3724"/>
                </a:lnTo>
                <a:lnTo>
                  <a:pt x="11193" y="3772"/>
                </a:lnTo>
                <a:lnTo>
                  <a:pt x="11193" y="3821"/>
                </a:lnTo>
                <a:lnTo>
                  <a:pt x="11193" y="3845"/>
                </a:lnTo>
                <a:lnTo>
                  <a:pt x="11291" y="3894"/>
                </a:lnTo>
                <a:lnTo>
                  <a:pt x="11412" y="3943"/>
                </a:lnTo>
                <a:lnTo>
                  <a:pt x="11534" y="3943"/>
                </a:lnTo>
                <a:lnTo>
                  <a:pt x="11631" y="3894"/>
                </a:lnTo>
                <a:lnTo>
                  <a:pt x="11680" y="3967"/>
                </a:lnTo>
                <a:lnTo>
                  <a:pt x="11777" y="4016"/>
                </a:lnTo>
                <a:lnTo>
                  <a:pt x="11850" y="4040"/>
                </a:lnTo>
                <a:lnTo>
                  <a:pt x="11948" y="4040"/>
                </a:lnTo>
                <a:lnTo>
                  <a:pt x="12021" y="4016"/>
                </a:lnTo>
                <a:lnTo>
                  <a:pt x="12094" y="3967"/>
                </a:lnTo>
                <a:lnTo>
                  <a:pt x="12142" y="3894"/>
                </a:lnTo>
                <a:lnTo>
                  <a:pt x="12142" y="3797"/>
                </a:lnTo>
                <a:lnTo>
                  <a:pt x="12069" y="3359"/>
                </a:lnTo>
                <a:lnTo>
                  <a:pt x="11972" y="2945"/>
                </a:lnTo>
                <a:lnTo>
                  <a:pt x="12240" y="2726"/>
                </a:lnTo>
                <a:lnTo>
                  <a:pt x="12507" y="2531"/>
                </a:lnTo>
                <a:lnTo>
                  <a:pt x="12653" y="2458"/>
                </a:lnTo>
                <a:lnTo>
                  <a:pt x="12824" y="2410"/>
                </a:lnTo>
                <a:lnTo>
                  <a:pt x="12994" y="2361"/>
                </a:lnTo>
                <a:lnTo>
                  <a:pt x="13164" y="2337"/>
                </a:lnTo>
                <a:lnTo>
                  <a:pt x="13383" y="2337"/>
                </a:lnTo>
                <a:lnTo>
                  <a:pt x="13627" y="2385"/>
                </a:lnTo>
                <a:lnTo>
                  <a:pt x="13481" y="2458"/>
                </a:lnTo>
                <a:lnTo>
                  <a:pt x="13359" y="2556"/>
                </a:lnTo>
                <a:lnTo>
                  <a:pt x="13262" y="2702"/>
                </a:lnTo>
                <a:lnTo>
                  <a:pt x="13237" y="2775"/>
                </a:lnTo>
                <a:lnTo>
                  <a:pt x="13213" y="2848"/>
                </a:lnTo>
                <a:lnTo>
                  <a:pt x="13213" y="2896"/>
                </a:lnTo>
                <a:lnTo>
                  <a:pt x="13237" y="2921"/>
                </a:lnTo>
                <a:lnTo>
                  <a:pt x="13286" y="2945"/>
                </a:lnTo>
                <a:lnTo>
                  <a:pt x="13310" y="2921"/>
                </a:lnTo>
                <a:lnTo>
                  <a:pt x="13602" y="2750"/>
                </a:lnTo>
                <a:lnTo>
                  <a:pt x="13870" y="2604"/>
                </a:lnTo>
                <a:lnTo>
                  <a:pt x="14065" y="2507"/>
                </a:lnTo>
                <a:lnTo>
                  <a:pt x="14308" y="2629"/>
                </a:lnTo>
                <a:lnTo>
                  <a:pt x="14551" y="2750"/>
                </a:lnTo>
                <a:lnTo>
                  <a:pt x="14405" y="2775"/>
                </a:lnTo>
                <a:lnTo>
                  <a:pt x="14259" y="2823"/>
                </a:lnTo>
                <a:lnTo>
                  <a:pt x="14113" y="2872"/>
                </a:lnTo>
                <a:lnTo>
                  <a:pt x="13967" y="2945"/>
                </a:lnTo>
                <a:lnTo>
                  <a:pt x="13846" y="3018"/>
                </a:lnTo>
                <a:lnTo>
                  <a:pt x="13724" y="3115"/>
                </a:lnTo>
                <a:lnTo>
                  <a:pt x="13627" y="3213"/>
                </a:lnTo>
                <a:lnTo>
                  <a:pt x="13554" y="3310"/>
                </a:lnTo>
                <a:lnTo>
                  <a:pt x="13554" y="3359"/>
                </a:lnTo>
                <a:lnTo>
                  <a:pt x="13554" y="3407"/>
                </a:lnTo>
                <a:lnTo>
                  <a:pt x="13602" y="3456"/>
                </a:lnTo>
                <a:lnTo>
                  <a:pt x="13651" y="3480"/>
                </a:lnTo>
                <a:lnTo>
                  <a:pt x="13797" y="3456"/>
                </a:lnTo>
                <a:lnTo>
                  <a:pt x="13943" y="3407"/>
                </a:lnTo>
                <a:lnTo>
                  <a:pt x="14211" y="3286"/>
                </a:lnTo>
                <a:lnTo>
                  <a:pt x="14381" y="3237"/>
                </a:lnTo>
                <a:lnTo>
                  <a:pt x="14527" y="3188"/>
                </a:lnTo>
                <a:lnTo>
                  <a:pt x="14697" y="3140"/>
                </a:lnTo>
                <a:lnTo>
                  <a:pt x="14843" y="3091"/>
                </a:lnTo>
                <a:lnTo>
                  <a:pt x="14892" y="3067"/>
                </a:lnTo>
                <a:lnTo>
                  <a:pt x="14916" y="3018"/>
                </a:lnTo>
                <a:lnTo>
                  <a:pt x="15038" y="3140"/>
                </a:lnTo>
                <a:lnTo>
                  <a:pt x="14770" y="3213"/>
                </a:lnTo>
                <a:lnTo>
                  <a:pt x="14551" y="3261"/>
                </a:lnTo>
                <a:lnTo>
                  <a:pt x="14332" y="3359"/>
                </a:lnTo>
                <a:lnTo>
                  <a:pt x="14211" y="3432"/>
                </a:lnTo>
                <a:lnTo>
                  <a:pt x="14113" y="3505"/>
                </a:lnTo>
                <a:lnTo>
                  <a:pt x="14040" y="3578"/>
                </a:lnTo>
                <a:lnTo>
                  <a:pt x="13992" y="3675"/>
                </a:lnTo>
                <a:lnTo>
                  <a:pt x="13967" y="3748"/>
                </a:lnTo>
                <a:lnTo>
                  <a:pt x="13992" y="3821"/>
                </a:lnTo>
                <a:lnTo>
                  <a:pt x="14040" y="3845"/>
                </a:lnTo>
                <a:lnTo>
                  <a:pt x="14113" y="3845"/>
                </a:lnTo>
                <a:lnTo>
                  <a:pt x="14551" y="3724"/>
                </a:lnTo>
                <a:lnTo>
                  <a:pt x="14989" y="3602"/>
                </a:lnTo>
                <a:lnTo>
                  <a:pt x="15184" y="3578"/>
                </a:lnTo>
                <a:lnTo>
                  <a:pt x="15379" y="3505"/>
                </a:lnTo>
                <a:lnTo>
                  <a:pt x="15452" y="3602"/>
                </a:lnTo>
                <a:lnTo>
                  <a:pt x="15208" y="3675"/>
                </a:lnTo>
                <a:lnTo>
                  <a:pt x="15014" y="3748"/>
                </a:lnTo>
                <a:lnTo>
                  <a:pt x="14843" y="3845"/>
                </a:lnTo>
                <a:lnTo>
                  <a:pt x="14673" y="3967"/>
                </a:lnTo>
                <a:lnTo>
                  <a:pt x="14503" y="4089"/>
                </a:lnTo>
                <a:lnTo>
                  <a:pt x="14478" y="4113"/>
                </a:lnTo>
                <a:lnTo>
                  <a:pt x="14478" y="4162"/>
                </a:lnTo>
                <a:lnTo>
                  <a:pt x="14503" y="4210"/>
                </a:lnTo>
                <a:lnTo>
                  <a:pt x="14551" y="4259"/>
                </a:lnTo>
                <a:lnTo>
                  <a:pt x="14600" y="4259"/>
                </a:lnTo>
                <a:lnTo>
                  <a:pt x="15452" y="4016"/>
                </a:lnTo>
                <a:lnTo>
                  <a:pt x="15671" y="3967"/>
                </a:lnTo>
                <a:lnTo>
                  <a:pt x="15768" y="4186"/>
                </a:lnTo>
                <a:lnTo>
                  <a:pt x="15549" y="4259"/>
                </a:lnTo>
                <a:lnTo>
                  <a:pt x="15330" y="4332"/>
                </a:lnTo>
                <a:lnTo>
                  <a:pt x="15111" y="4429"/>
                </a:lnTo>
                <a:lnTo>
                  <a:pt x="14916" y="4551"/>
                </a:lnTo>
                <a:lnTo>
                  <a:pt x="14892" y="4600"/>
                </a:lnTo>
                <a:lnTo>
                  <a:pt x="14916" y="4648"/>
                </a:lnTo>
                <a:lnTo>
                  <a:pt x="14941" y="4697"/>
                </a:lnTo>
                <a:lnTo>
                  <a:pt x="15014" y="4697"/>
                </a:lnTo>
                <a:lnTo>
                  <a:pt x="15354" y="4624"/>
                </a:lnTo>
                <a:lnTo>
                  <a:pt x="15719" y="4551"/>
                </a:lnTo>
                <a:lnTo>
                  <a:pt x="15500" y="4648"/>
                </a:lnTo>
                <a:lnTo>
                  <a:pt x="15281" y="4746"/>
                </a:lnTo>
                <a:lnTo>
                  <a:pt x="15257" y="4770"/>
                </a:lnTo>
                <a:lnTo>
                  <a:pt x="15233" y="4819"/>
                </a:lnTo>
                <a:lnTo>
                  <a:pt x="15233" y="4867"/>
                </a:lnTo>
                <a:lnTo>
                  <a:pt x="15281" y="4940"/>
                </a:lnTo>
                <a:lnTo>
                  <a:pt x="15354" y="4940"/>
                </a:lnTo>
                <a:lnTo>
                  <a:pt x="15841" y="4867"/>
                </a:lnTo>
                <a:lnTo>
                  <a:pt x="15841" y="4989"/>
                </a:lnTo>
                <a:lnTo>
                  <a:pt x="15695" y="5013"/>
                </a:lnTo>
                <a:lnTo>
                  <a:pt x="15598" y="5038"/>
                </a:lnTo>
                <a:lnTo>
                  <a:pt x="15525" y="5086"/>
                </a:lnTo>
                <a:lnTo>
                  <a:pt x="15379" y="5208"/>
                </a:lnTo>
                <a:lnTo>
                  <a:pt x="15354" y="5281"/>
                </a:lnTo>
                <a:lnTo>
                  <a:pt x="15379" y="5330"/>
                </a:lnTo>
                <a:lnTo>
                  <a:pt x="15427" y="5378"/>
                </a:lnTo>
                <a:lnTo>
                  <a:pt x="15476" y="5378"/>
                </a:lnTo>
                <a:lnTo>
                  <a:pt x="15622" y="5354"/>
                </a:lnTo>
                <a:lnTo>
                  <a:pt x="15768" y="5378"/>
                </a:lnTo>
                <a:lnTo>
                  <a:pt x="15768" y="5427"/>
                </a:lnTo>
                <a:lnTo>
                  <a:pt x="15768" y="5524"/>
                </a:lnTo>
                <a:lnTo>
                  <a:pt x="15792" y="5622"/>
                </a:lnTo>
                <a:lnTo>
                  <a:pt x="15865" y="5695"/>
                </a:lnTo>
                <a:lnTo>
                  <a:pt x="15938" y="5768"/>
                </a:lnTo>
                <a:lnTo>
                  <a:pt x="16036" y="5792"/>
                </a:lnTo>
                <a:lnTo>
                  <a:pt x="16133" y="5792"/>
                </a:lnTo>
                <a:lnTo>
                  <a:pt x="16206" y="5768"/>
                </a:lnTo>
                <a:lnTo>
                  <a:pt x="16279" y="5695"/>
                </a:lnTo>
                <a:lnTo>
                  <a:pt x="16328" y="5695"/>
                </a:lnTo>
                <a:lnTo>
                  <a:pt x="16619" y="5622"/>
                </a:lnTo>
                <a:lnTo>
                  <a:pt x="16911" y="5597"/>
                </a:lnTo>
                <a:lnTo>
                  <a:pt x="17179" y="5597"/>
                </a:lnTo>
                <a:lnTo>
                  <a:pt x="17422" y="5646"/>
                </a:lnTo>
                <a:lnTo>
                  <a:pt x="17276" y="5695"/>
                </a:lnTo>
                <a:lnTo>
                  <a:pt x="17106" y="5768"/>
                </a:lnTo>
                <a:lnTo>
                  <a:pt x="16936" y="5865"/>
                </a:lnTo>
                <a:lnTo>
                  <a:pt x="16814" y="5987"/>
                </a:lnTo>
                <a:lnTo>
                  <a:pt x="16765" y="6060"/>
                </a:lnTo>
                <a:lnTo>
                  <a:pt x="16717" y="6133"/>
                </a:lnTo>
                <a:lnTo>
                  <a:pt x="16717" y="6206"/>
                </a:lnTo>
                <a:lnTo>
                  <a:pt x="16765" y="6279"/>
                </a:lnTo>
                <a:lnTo>
                  <a:pt x="16838" y="6303"/>
                </a:lnTo>
                <a:lnTo>
                  <a:pt x="16911" y="6279"/>
                </a:lnTo>
                <a:lnTo>
                  <a:pt x="17179" y="6157"/>
                </a:lnTo>
                <a:lnTo>
                  <a:pt x="17447" y="6060"/>
                </a:lnTo>
                <a:lnTo>
                  <a:pt x="17739" y="6011"/>
                </a:lnTo>
                <a:lnTo>
                  <a:pt x="17909" y="5962"/>
                </a:lnTo>
                <a:lnTo>
                  <a:pt x="18031" y="5914"/>
                </a:lnTo>
                <a:lnTo>
                  <a:pt x="18298" y="6133"/>
                </a:lnTo>
                <a:lnTo>
                  <a:pt x="18152" y="6181"/>
                </a:lnTo>
                <a:lnTo>
                  <a:pt x="17933" y="6254"/>
                </a:lnTo>
                <a:lnTo>
                  <a:pt x="17739" y="6352"/>
                </a:lnTo>
                <a:lnTo>
                  <a:pt x="17544" y="6473"/>
                </a:lnTo>
                <a:lnTo>
                  <a:pt x="17349" y="6595"/>
                </a:lnTo>
                <a:lnTo>
                  <a:pt x="17325" y="6668"/>
                </a:lnTo>
                <a:lnTo>
                  <a:pt x="17325" y="6741"/>
                </a:lnTo>
                <a:lnTo>
                  <a:pt x="17374" y="6790"/>
                </a:lnTo>
                <a:lnTo>
                  <a:pt x="17422" y="6814"/>
                </a:lnTo>
                <a:lnTo>
                  <a:pt x="17641" y="6765"/>
                </a:lnTo>
                <a:lnTo>
                  <a:pt x="17860" y="6717"/>
                </a:lnTo>
                <a:lnTo>
                  <a:pt x="18274" y="6595"/>
                </a:lnTo>
                <a:lnTo>
                  <a:pt x="18639" y="6473"/>
                </a:lnTo>
                <a:lnTo>
                  <a:pt x="18761" y="6644"/>
                </a:lnTo>
                <a:lnTo>
                  <a:pt x="18493" y="6717"/>
                </a:lnTo>
                <a:lnTo>
                  <a:pt x="18250" y="6814"/>
                </a:lnTo>
                <a:lnTo>
                  <a:pt x="18006" y="6960"/>
                </a:lnTo>
                <a:lnTo>
                  <a:pt x="17812" y="7130"/>
                </a:lnTo>
                <a:lnTo>
                  <a:pt x="17787" y="7155"/>
                </a:lnTo>
                <a:lnTo>
                  <a:pt x="17787" y="7179"/>
                </a:lnTo>
                <a:lnTo>
                  <a:pt x="17812" y="7252"/>
                </a:lnTo>
                <a:lnTo>
                  <a:pt x="17860" y="7276"/>
                </a:lnTo>
                <a:lnTo>
                  <a:pt x="17933" y="7276"/>
                </a:lnTo>
                <a:lnTo>
                  <a:pt x="18177" y="7179"/>
                </a:lnTo>
                <a:lnTo>
                  <a:pt x="18444" y="7130"/>
                </a:lnTo>
                <a:lnTo>
                  <a:pt x="18955" y="7033"/>
                </a:lnTo>
                <a:lnTo>
                  <a:pt x="19004" y="7106"/>
                </a:lnTo>
                <a:lnTo>
                  <a:pt x="18785" y="7155"/>
                </a:lnTo>
                <a:lnTo>
                  <a:pt x="18566" y="7203"/>
                </a:lnTo>
                <a:lnTo>
                  <a:pt x="18371" y="7301"/>
                </a:lnTo>
                <a:lnTo>
                  <a:pt x="18177" y="7398"/>
                </a:lnTo>
                <a:lnTo>
                  <a:pt x="18177" y="7447"/>
                </a:lnTo>
                <a:lnTo>
                  <a:pt x="18177" y="7471"/>
                </a:lnTo>
                <a:lnTo>
                  <a:pt x="18201" y="7471"/>
                </a:lnTo>
                <a:lnTo>
                  <a:pt x="18396" y="7495"/>
                </a:lnTo>
                <a:lnTo>
                  <a:pt x="18590" y="7495"/>
                </a:lnTo>
                <a:lnTo>
                  <a:pt x="18955" y="7447"/>
                </a:lnTo>
                <a:lnTo>
                  <a:pt x="19126" y="7422"/>
                </a:lnTo>
                <a:lnTo>
                  <a:pt x="19174" y="7544"/>
                </a:lnTo>
                <a:lnTo>
                  <a:pt x="18980" y="7568"/>
                </a:lnTo>
                <a:lnTo>
                  <a:pt x="18761" y="7617"/>
                </a:lnTo>
                <a:lnTo>
                  <a:pt x="18444" y="7714"/>
                </a:lnTo>
                <a:lnTo>
                  <a:pt x="18396" y="7763"/>
                </a:lnTo>
                <a:lnTo>
                  <a:pt x="18371" y="7836"/>
                </a:lnTo>
                <a:lnTo>
                  <a:pt x="18371" y="7909"/>
                </a:lnTo>
                <a:lnTo>
                  <a:pt x="18396" y="7933"/>
                </a:lnTo>
                <a:lnTo>
                  <a:pt x="18444" y="7957"/>
                </a:lnTo>
                <a:lnTo>
                  <a:pt x="18809" y="7982"/>
                </a:lnTo>
                <a:lnTo>
                  <a:pt x="19296" y="7982"/>
                </a:lnTo>
                <a:lnTo>
                  <a:pt x="19320" y="8201"/>
                </a:lnTo>
                <a:lnTo>
                  <a:pt x="19272" y="8201"/>
                </a:lnTo>
                <a:lnTo>
                  <a:pt x="19101" y="8176"/>
                </a:lnTo>
                <a:lnTo>
                  <a:pt x="18907" y="8201"/>
                </a:lnTo>
                <a:lnTo>
                  <a:pt x="18736" y="8225"/>
                </a:lnTo>
                <a:lnTo>
                  <a:pt x="18566" y="8274"/>
                </a:lnTo>
                <a:lnTo>
                  <a:pt x="18542" y="8298"/>
                </a:lnTo>
                <a:lnTo>
                  <a:pt x="18517" y="8322"/>
                </a:lnTo>
                <a:lnTo>
                  <a:pt x="18493" y="8420"/>
                </a:lnTo>
                <a:lnTo>
                  <a:pt x="18542" y="8468"/>
                </a:lnTo>
                <a:lnTo>
                  <a:pt x="18566" y="8493"/>
                </a:lnTo>
                <a:lnTo>
                  <a:pt x="18907" y="8493"/>
                </a:lnTo>
                <a:lnTo>
                  <a:pt x="19223" y="8517"/>
                </a:lnTo>
                <a:lnTo>
                  <a:pt x="19345" y="8541"/>
                </a:lnTo>
                <a:lnTo>
                  <a:pt x="19345" y="8833"/>
                </a:lnTo>
                <a:lnTo>
                  <a:pt x="19199" y="8785"/>
                </a:lnTo>
                <a:lnTo>
                  <a:pt x="18882" y="8785"/>
                </a:lnTo>
                <a:lnTo>
                  <a:pt x="18736" y="8809"/>
                </a:lnTo>
                <a:lnTo>
                  <a:pt x="18688" y="8833"/>
                </a:lnTo>
                <a:lnTo>
                  <a:pt x="18663" y="8858"/>
                </a:lnTo>
                <a:lnTo>
                  <a:pt x="18663" y="8931"/>
                </a:lnTo>
                <a:lnTo>
                  <a:pt x="18688" y="9004"/>
                </a:lnTo>
                <a:lnTo>
                  <a:pt x="18712" y="9004"/>
                </a:lnTo>
                <a:lnTo>
                  <a:pt x="18761" y="9028"/>
                </a:lnTo>
                <a:lnTo>
                  <a:pt x="18882" y="9028"/>
                </a:lnTo>
                <a:lnTo>
                  <a:pt x="19028" y="9077"/>
                </a:lnTo>
                <a:lnTo>
                  <a:pt x="19150" y="9125"/>
                </a:lnTo>
                <a:lnTo>
                  <a:pt x="19296" y="9174"/>
                </a:lnTo>
                <a:lnTo>
                  <a:pt x="19199" y="9466"/>
                </a:lnTo>
                <a:lnTo>
                  <a:pt x="18980" y="9417"/>
                </a:lnTo>
                <a:lnTo>
                  <a:pt x="18736" y="9417"/>
                </a:lnTo>
                <a:lnTo>
                  <a:pt x="18688" y="9442"/>
                </a:lnTo>
                <a:lnTo>
                  <a:pt x="18663" y="9466"/>
                </a:lnTo>
                <a:lnTo>
                  <a:pt x="18663" y="9515"/>
                </a:lnTo>
                <a:lnTo>
                  <a:pt x="18663" y="9563"/>
                </a:lnTo>
                <a:lnTo>
                  <a:pt x="18663" y="9612"/>
                </a:lnTo>
                <a:lnTo>
                  <a:pt x="18712" y="9636"/>
                </a:lnTo>
                <a:lnTo>
                  <a:pt x="18736" y="9661"/>
                </a:lnTo>
                <a:lnTo>
                  <a:pt x="18907" y="9709"/>
                </a:lnTo>
                <a:lnTo>
                  <a:pt x="19053" y="9758"/>
                </a:lnTo>
                <a:lnTo>
                  <a:pt x="18955" y="9928"/>
                </a:lnTo>
                <a:lnTo>
                  <a:pt x="18834" y="10099"/>
                </a:lnTo>
                <a:lnTo>
                  <a:pt x="18663" y="10074"/>
                </a:lnTo>
                <a:lnTo>
                  <a:pt x="18444" y="10074"/>
                </a:lnTo>
                <a:lnTo>
                  <a:pt x="18420" y="10099"/>
                </a:lnTo>
                <a:lnTo>
                  <a:pt x="18396" y="10172"/>
                </a:lnTo>
                <a:lnTo>
                  <a:pt x="18420" y="10220"/>
                </a:lnTo>
                <a:lnTo>
                  <a:pt x="18444" y="10245"/>
                </a:lnTo>
                <a:lnTo>
                  <a:pt x="18493" y="10245"/>
                </a:lnTo>
                <a:lnTo>
                  <a:pt x="18663" y="10269"/>
                </a:lnTo>
                <a:lnTo>
                  <a:pt x="18542" y="10391"/>
                </a:lnTo>
                <a:lnTo>
                  <a:pt x="18371" y="10512"/>
                </a:lnTo>
                <a:lnTo>
                  <a:pt x="18274" y="10464"/>
                </a:lnTo>
                <a:lnTo>
                  <a:pt x="18225" y="10439"/>
                </a:lnTo>
                <a:lnTo>
                  <a:pt x="18152" y="10439"/>
                </a:lnTo>
                <a:lnTo>
                  <a:pt x="18104" y="10488"/>
                </a:lnTo>
                <a:lnTo>
                  <a:pt x="18079" y="10537"/>
                </a:lnTo>
                <a:lnTo>
                  <a:pt x="18079" y="10610"/>
                </a:lnTo>
                <a:lnTo>
                  <a:pt x="18104" y="10658"/>
                </a:lnTo>
                <a:lnTo>
                  <a:pt x="17739" y="10829"/>
                </a:lnTo>
                <a:lnTo>
                  <a:pt x="17349" y="10950"/>
                </a:lnTo>
                <a:lnTo>
                  <a:pt x="16960" y="11023"/>
                </a:lnTo>
                <a:lnTo>
                  <a:pt x="16546" y="11096"/>
                </a:lnTo>
                <a:lnTo>
                  <a:pt x="16133" y="11121"/>
                </a:lnTo>
                <a:lnTo>
                  <a:pt x="15719" y="11145"/>
                </a:lnTo>
                <a:lnTo>
                  <a:pt x="14916" y="11169"/>
                </a:lnTo>
                <a:lnTo>
                  <a:pt x="13140" y="11194"/>
                </a:lnTo>
                <a:lnTo>
                  <a:pt x="12264" y="11242"/>
                </a:lnTo>
                <a:lnTo>
                  <a:pt x="11364" y="11340"/>
                </a:lnTo>
                <a:lnTo>
                  <a:pt x="10244" y="11461"/>
                </a:lnTo>
                <a:lnTo>
                  <a:pt x="9125" y="11559"/>
                </a:lnTo>
                <a:lnTo>
                  <a:pt x="8565" y="11583"/>
                </a:lnTo>
                <a:lnTo>
                  <a:pt x="8006" y="11583"/>
                </a:lnTo>
                <a:lnTo>
                  <a:pt x="7446" y="11559"/>
                </a:lnTo>
                <a:lnTo>
                  <a:pt x="6862" y="11510"/>
                </a:lnTo>
                <a:lnTo>
                  <a:pt x="5086" y="11364"/>
                </a:lnTo>
                <a:lnTo>
                  <a:pt x="4210" y="11242"/>
                </a:lnTo>
                <a:lnTo>
                  <a:pt x="3772" y="11169"/>
                </a:lnTo>
                <a:lnTo>
                  <a:pt x="3334" y="11072"/>
                </a:lnTo>
                <a:lnTo>
                  <a:pt x="2993" y="10999"/>
                </a:lnTo>
                <a:lnTo>
                  <a:pt x="2653" y="10877"/>
                </a:lnTo>
                <a:lnTo>
                  <a:pt x="2336" y="10756"/>
                </a:lnTo>
                <a:lnTo>
                  <a:pt x="2020" y="10610"/>
                </a:lnTo>
                <a:lnTo>
                  <a:pt x="1704" y="10439"/>
                </a:lnTo>
                <a:lnTo>
                  <a:pt x="1436" y="10245"/>
                </a:lnTo>
                <a:lnTo>
                  <a:pt x="1168" y="10001"/>
                </a:lnTo>
                <a:lnTo>
                  <a:pt x="949" y="9734"/>
                </a:lnTo>
                <a:lnTo>
                  <a:pt x="852" y="9588"/>
                </a:lnTo>
                <a:lnTo>
                  <a:pt x="779" y="9417"/>
                </a:lnTo>
                <a:lnTo>
                  <a:pt x="706" y="9271"/>
                </a:lnTo>
                <a:lnTo>
                  <a:pt x="657" y="9101"/>
                </a:lnTo>
                <a:lnTo>
                  <a:pt x="633" y="8931"/>
                </a:lnTo>
                <a:lnTo>
                  <a:pt x="609" y="8760"/>
                </a:lnTo>
                <a:lnTo>
                  <a:pt x="633" y="8420"/>
                </a:lnTo>
                <a:lnTo>
                  <a:pt x="682" y="8103"/>
                </a:lnTo>
                <a:lnTo>
                  <a:pt x="803" y="7763"/>
                </a:lnTo>
                <a:lnTo>
                  <a:pt x="949" y="7447"/>
                </a:lnTo>
                <a:lnTo>
                  <a:pt x="1120" y="7155"/>
                </a:lnTo>
                <a:lnTo>
                  <a:pt x="1387" y="6814"/>
                </a:lnTo>
                <a:lnTo>
                  <a:pt x="1679" y="6498"/>
                </a:lnTo>
                <a:lnTo>
                  <a:pt x="1996" y="6230"/>
                </a:lnTo>
                <a:lnTo>
                  <a:pt x="2336" y="5962"/>
                </a:lnTo>
                <a:lnTo>
                  <a:pt x="2336" y="5962"/>
                </a:lnTo>
                <a:lnTo>
                  <a:pt x="2117" y="6279"/>
                </a:lnTo>
                <a:lnTo>
                  <a:pt x="1898" y="6571"/>
                </a:lnTo>
                <a:lnTo>
                  <a:pt x="1874" y="6644"/>
                </a:lnTo>
                <a:lnTo>
                  <a:pt x="1898" y="6717"/>
                </a:lnTo>
                <a:lnTo>
                  <a:pt x="1947" y="6765"/>
                </a:lnTo>
                <a:lnTo>
                  <a:pt x="2044" y="6765"/>
                </a:lnTo>
                <a:lnTo>
                  <a:pt x="2117" y="6741"/>
                </a:lnTo>
                <a:lnTo>
                  <a:pt x="2190" y="6692"/>
                </a:lnTo>
                <a:lnTo>
                  <a:pt x="2336" y="6595"/>
                </a:lnTo>
                <a:lnTo>
                  <a:pt x="2458" y="6449"/>
                </a:lnTo>
                <a:lnTo>
                  <a:pt x="2555" y="6303"/>
                </a:lnTo>
                <a:lnTo>
                  <a:pt x="2847" y="5987"/>
                </a:lnTo>
                <a:lnTo>
                  <a:pt x="3164" y="5695"/>
                </a:lnTo>
                <a:lnTo>
                  <a:pt x="3188" y="5646"/>
                </a:lnTo>
                <a:lnTo>
                  <a:pt x="3212" y="5646"/>
                </a:lnTo>
                <a:lnTo>
                  <a:pt x="3091" y="5792"/>
                </a:lnTo>
                <a:lnTo>
                  <a:pt x="2847" y="6133"/>
                </a:lnTo>
                <a:lnTo>
                  <a:pt x="2774" y="6303"/>
                </a:lnTo>
                <a:lnTo>
                  <a:pt x="2677" y="6498"/>
                </a:lnTo>
                <a:lnTo>
                  <a:pt x="2677" y="6546"/>
                </a:lnTo>
                <a:lnTo>
                  <a:pt x="2726" y="6546"/>
                </a:lnTo>
                <a:lnTo>
                  <a:pt x="2896" y="6449"/>
                </a:lnTo>
                <a:lnTo>
                  <a:pt x="3066" y="6327"/>
                </a:lnTo>
                <a:lnTo>
                  <a:pt x="3212" y="6206"/>
                </a:lnTo>
                <a:lnTo>
                  <a:pt x="3334" y="6035"/>
                </a:lnTo>
                <a:lnTo>
                  <a:pt x="3480" y="5889"/>
                </a:lnTo>
                <a:lnTo>
                  <a:pt x="3626" y="5695"/>
                </a:lnTo>
                <a:lnTo>
                  <a:pt x="3650" y="5719"/>
                </a:lnTo>
                <a:lnTo>
                  <a:pt x="3699" y="5816"/>
                </a:lnTo>
                <a:lnTo>
                  <a:pt x="3577" y="5938"/>
                </a:lnTo>
                <a:lnTo>
                  <a:pt x="3456" y="6108"/>
                </a:lnTo>
                <a:lnTo>
                  <a:pt x="3407" y="6230"/>
                </a:lnTo>
                <a:lnTo>
                  <a:pt x="3407" y="6327"/>
                </a:lnTo>
                <a:lnTo>
                  <a:pt x="3407" y="6352"/>
                </a:lnTo>
                <a:lnTo>
                  <a:pt x="3456" y="6376"/>
                </a:lnTo>
                <a:lnTo>
                  <a:pt x="3529" y="6376"/>
                </a:lnTo>
                <a:lnTo>
                  <a:pt x="3626" y="6327"/>
                </a:lnTo>
                <a:lnTo>
                  <a:pt x="3772" y="6206"/>
                </a:lnTo>
                <a:lnTo>
                  <a:pt x="3869" y="6108"/>
                </a:lnTo>
                <a:lnTo>
                  <a:pt x="3967" y="6157"/>
                </a:lnTo>
                <a:lnTo>
                  <a:pt x="4064" y="6181"/>
                </a:lnTo>
                <a:lnTo>
                  <a:pt x="4186" y="6157"/>
                </a:lnTo>
                <a:lnTo>
                  <a:pt x="4283" y="6084"/>
                </a:lnTo>
                <a:lnTo>
                  <a:pt x="4307" y="6035"/>
                </a:lnTo>
                <a:lnTo>
                  <a:pt x="4307" y="5987"/>
                </a:lnTo>
                <a:lnTo>
                  <a:pt x="4137" y="5719"/>
                </a:lnTo>
                <a:lnTo>
                  <a:pt x="4015" y="5403"/>
                </a:lnTo>
                <a:lnTo>
                  <a:pt x="3918" y="5062"/>
                </a:lnTo>
                <a:lnTo>
                  <a:pt x="3845" y="4697"/>
                </a:lnTo>
                <a:lnTo>
                  <a:pt x="3821" y="4356"/>
                </a:lnTo>
                <a:lnTo>
                  <a:pt x="3821" y="3991"/>
                </a:lnTo>
                <a:lnTo>
                  <a:pt x="3845" y="3651"/>
                </a:lnTo>
                <a:lnTo>
                  <a:pt x="3894" y="3334"/>
                </a:lnTo>
                <a:lnTo>
                  <a:pt x="3942" y="3115"/>
                </a:lnTo>
                <a:lnTo>
                  <a:pt x="4015" y="2896"/>
                </a:lnTo>
                <a:lnTo>
                  <a:pt x="4113" y="2677"/>
                </a:lnTo>
                <a:lnTo>
                  <a:pt x="4210" y="2483"/>
                </a:lnTo>
                <a:lnTo>
                  <a:pt x="4332" y="2288"/>
                </a:lnTo>
                <a:lnTo>
                  <a:pt x="4478" y="2093"/>
                </a:lnTo>
                <a:lnTo>
                  <a:pt x="4599" y="1923"/>
                </a:lnTo>
                <a:lnTo>
                  <a:pt x="4770" y="1753"/>
                </a:lnTo>
                <a:lnTo>
                  <a:pt x="5110" y="1461"/>
                </a:lnTo>
                <a:lnTo>
                  <a:pt x="5475" y="1193"/>
                </a:lnTo>
                <a:lnTo>
                  <a:pt x="5865" y="974"/>
                </a:lnTo>
                <a:lnTo>
                  <a:pt x="6303" y="828"/>
                </a:lnTo>
                <a:lnTo>
                  <a:pt x="6716" y="706"/>
                </a:lnTo>
                <a:lnTo>
                  <a:pt x="7179" y="633"/>
                </a:lnTo>
                <a:lnTo>
                  <a:pt x="7008" y="731"/>
                </a:lnTo>
                <a:lnTo>
                  <a:pt x="6789" y="852"/>
                </a:lnTo>
                <a:lnTo>
                  <a:pt x="6546" y="998"/>
                </a:lnTo>
                <a:lnTo>
                  <a:pt x="6424" y="1071"/>
                </a:lnTo>
                <a:lnTo>
                  <a:pt x="6327" y="1169"/>
                </a:lnTo>
                <a:lnTo>
                  <a:pt x="6278" y="1266"/>
                </a:lnTo>
                <a:lnTo>
                  <a:pt x="6230" y="1363"/>
                </a:lnTo>
                <a:lnTo>
                  <a:pt x="6254" y="1412"/>
                </a:lnTo>
                <a:lnTo>
                  <a:pt x="6303" y="1461"/>
                </a:lnTo>
                <a:lnTo>
                  <a:pt x="6400" y="1485"/>
                </a:lnTo>
                <a:lnTo>
                  <a:pt x="6522" y="1461"/>
                </a:lnTo>
                <a:lnTo>
                  <a:pt x="6643" y="1436"/>
                </a:lnTo>
                <a:lnTo>
                  <a:pt x="6765" y="1363"/>
                </a:lnTo>
                <a:lnTo>
                  <a:pt x="7033" y="1217"/>
                </a:lnTo>
                <a:lnTo>
                  <a:pt x="7203" y="1096"/>
                </a:lnTo>
                <a:lnTo>
                  <a:pt x="7811" y="779"/>
                </a:lnTo>
                <a:lnTo>
                  <a:pt x="7982" y="682"/>
                </a:lnTo>
                <a:lnTo>
                  <a:pt x="8055" y="633"/>
                </a:lnTo>
                <a:lnTo>
                  <a:pt x="8128" y="560"/>
                </a:lnTo>
                <a:close/>
                <a:moveTo>
                  <a:pt x="7933" y="1"/>
                </a:moveTo>
                <a:lnTo>
                  <a:pt x="7349" y="49"/>
                </a:lnTo>
                <a:lnTo>
                  <a:pt x="6789" y="147"/>
                </a:lnTo>
                <a:lnTo>
                  <a:pt x="6254" y="268"/>
                </a:lnTo>
                <a:lnTo>
                  <a:pt x="5767" y="439"/>
                </a:lnTo>
                <a:lnTo>
                  <a:pt x="5524" y="536"/>
                </a:lnTo>
                <a:lnTo>
                  <a:pt x="5281" y="658"/>
                </a:lnTo>
                <a:lnTo>
                  <a:pt x="5062" y="804"/>
                </a:lnTo>
                <a:lnTo>
                  <a:pt x="4843" y="950"/>
                </a:lnTo>
                <a:lnTo>
                  <a:pt x="4624" y="1120"/>
                </a:lnTo>
                <a:lnTo>
                  <a:pt x="4429" y="1315"/>
                </a:lnTo>
                <a:lnTo>
                  <a:pt x="4259" y="1509"/>
                </a:lnTo>
                <a:lnTo>
                  <a:pt x="4088" y="1728"/>
                </a:lnTo>
                <a:lnTo>
                  <a:pt x="3942" y="1947"/>
                </a:lnTo>
                <a:lnTo>
                  <a:pt x="3796" y="2166"/>
                </a:lnTo>
                <a:lnTo>
                  <a:pt x="3675" y="2410"/>
                </a:lnTo>
                <a:lnTo>
                  <a:pt x="3577" y="2653"/>
                </a:lnTo>
                <a:lnTo>
                  <a:pt x="3480" y="2896"/>
                </a:lnTo>
                <a:lnTo>
                  <a:pt x="3407" y="3164"/>
                </a:lnTo>
                <a:lnTo>
                  <a:pt x="3358" y="3407"/>
                </a:lnTo>
                <a:lnTo>
                  <a:pt x="3310" y="3675"/>
                </a:lnTo>
                <a:lnTo>
                  <a:pt x="3310" y="3870"/>
                </a:lnTo>
                <a:lnTo>
                  <a:pt x="3334" y="4210"/>
                </a:lnTo>
                <a:lnTo>
                  <a:pt x="3383" y="4624"/>
                </a:lnTo>
                <a:lnTo>
                  <a:pt x="3480" y="5086"/>
                </a:lnTo>
                <a:lnTo>
                  <a:pt x="3285" y="5086"/>
                </a:lnTo>
                <a:lnTo>
                  <a:pt x="3115" y="5111"/>
                </a:lnTo>
                <a:lnTo>
                  <a:pt x="2726" y="5184"/>
                </a:lnTo>
                <a:lnTo>
                  <a:pt x="2409" y="5305"/>
                </a:lnTo>
                <a:lnTo>
                  <a:pt x="2166" y="5427"/>
                </a:lnTo>
                <a:lnTo>
                  <a:pt x="1825" y="5622"/>
                </a:lnTo>
                <a:lnTo>
                  <a:pt x="1485" y="5889"/>
                </a:lnTo>
                <a:lnTo>
                  <a:pt x="1193" y="6157"/>
                </a:lnTo>
                <a:lnTo>
                  <a:pt x="901" y="6473"/>
                </a:lnTo>
                <a:lnTo>
                  <a:pt x="657" y="6814"/>
                </a:lnTo>
                <a:lnTo>
                  <a:pt x="439" y="7179"/>
                </a:lnTo>
                <a:lnTo>
                  <a:pt x="268" y="7544"/>
                </a:lnTo>
                <a:lnTo>
                  <a:pt x="122" y="7909"/>
                </a:lnTo>
                <a:lnTo>
                  <a:pt x="25" y="8274"/>
                </a:lnTo>
                <a:lnTo>
                  <a:pt x="1" y="8614"/>
                </a:lnTo>
                <a:lnTo>
                  <a:pt x="1" y="8931"/>
                </a:lnTo>
                <a:lnTo>
                  <a:pt x="74" y="9247"/>
                </a:lnTo>
                <a:lnTo>
                  <a:pt x="171" y="9539"/>
                </a:lnTo>
                <a:lnTo>
                  <a:pt x="293" y="9807"/>
                </a:lnTo>
                <a:lnTo>
                  <a:pt x="487" y="10074"/>
                </a:lnTo>
                <a:lnTo>
                  <a:pt x="682" y="10318"/>
                </a:lnTo>
                <a:lnTo>
                  <a:pt x="925" y="10561"/>
                </a:lnTo>
                <a:lnTo>
                  <a:pt x="1168" y="10756"/>
                </a:lnTo>
                <a:lnTo>
                  <a:pt x="1436" y="10950"/>
                </a:lnTo>
                <a:lnTo>
                  <a:pt x="1728" y="11121"/>
                </a:lnTo>
                <a:lnTo>
                  <a:pt x="2020" y="11267"/>
                </a:lnTo>
                <a:lnTo>
                  <a:pt x="2336" y="11413"/>
                </a:lnTo>
                <a:lnTo>
                  <a:pt x="2628" y="11534"/>
                </a:lnTo>
                <a:lnTo>
                  <a:pt x="2945" y="11632"/>
                </a:lnTo>
                <a:lnTo>
                  <a:pt x="3334" y="11729"/>
                </a:lnTo>
                <a:lnTo>
                  <a:pt x="3723" y="11802"/>
                </a:lnTo>
                <a:lnTo>
                  <a:pt x="4526" y="11924"/>
                </a:lnTo>
                <a:lnTo>
                  <a:pt x="6132" y="12070"/>
                </a:lnTo>
                <a:lnTo>
                  <a:pt x="7276" y="12167"/>
                </a:lnTo>
                <a:lnTo>
                  <a:pt x="7836" y="12191"/>
                </a:lnTo>
                <a:lnTo>
                  <a:pt x="8395" y="12216"/>
                </a:lnTo>
                <a:lnTo>
                  <a:pt x="8955" y="12191"/>
                </a:lnTo>
                <a:lnTo>
                  <a:pt x="9514" y="12167"/>
                </a:lnTo>
                <a:lnTo>
                  <a:pt x="10098" y="12118"/>
                </a:lnTo>
                <a:lnTo>
                  <a:pt x="10658" y="12070"/>
                </a:lnTo>
                <a:lnTo>
                  <a:pt x="11583" y="11948"/>
                </a:lnTo>
                <a:lnTo>
                  <a:pt x="12507" y="11875"/>
                </a:lnTo>
                <a:lnTo>
                  <a:pt x="13432" y="11826"/>
                </a:lnTo>
                <a:lnTo>
                  <a:pt x="14357" y="11802"/>
                </a:lnTo>
                <a:lnTo>
                  <a:pt x="15208" y="11802"/>
                </a:lnTo>
                <a:lnTo>
                  <a:pt x="16060" y="11753"/>
                </a:lnTo>
                <a:lnTo>
                  <a:pt x="16498" y="11729"/>
                </a:lnTo>
                <a:lnTo>
                  <a:pt x="16911" y="11656"/>
                </a:lnTo>
                <a:lnTo>
                  <a:pt x="17325" y="11583"/>
                </a:lnTo>
                <a:lnTo>
                  <a:pt x="17739" y="11486"/>
                </a:lnTo>
                <a:lnTo>
                  <a:pt x="18079" y="11364"/>
                </a:lnTo>
                <a:lnTo>
                  <a:pt x="18396" y="11218"/>
                </a:lnTo>
                <a:lnTo>
                  <a:pt x="18688" y="11048"/>
                </a:lnTo>
                <a:lnTo>
                  <a:pt x="18931" y="10853"/>
                </a:lnTo>
                <a:lnTo>
                  <a:pt x="19174" y="10634"/>
                </a:lnTo>
                <a:lnTo>
                  <a:pt x="19369" y="10415"/>
                </a:lnTo>
                <a:lnTo>
                  <a:pt x="19539" y="10147"/>
                </a:lnTo>
                <a:lnTo>
                  <a:pt x="19685" y="9880"/>
                </a:lnTo>
                <a:lnTo>
                  <a:pt x="19807" y="9588"/>
                </a:lnTo>
                <a:lnTo>
                  <a:pt x="19904" y="9296"/>
                </a:lnTo>
                <a:lnTo>
                  <a:pt x="19953" y="8979"/>
                </a:lnTo>
                <a:lnTo>
                  <a:pt x="19977" y="8663"/>
                </a:lnTo>
                <a:lnTo>
                  <a:pt x="19977" y="8322"/>
                </a:lnTo>
                <a:lnTo>
                  <a:pt x="19953" y="8006"/>
                </a:lnTo>
                <a:lnTo>
                  <a:pt x="19880" y="7665"/>
                </a:lnTo>
                <a:lnTo>
                  <a:pt x="19783" y="7325"/>
                </a:lnTo>
                <a:lnTo>
                  <a:pt x="19710" y="7057"/>
                </a:lnTo>
                <a:lnTo>
                  <a:pt x="19588" y="6790"/>
                </a:lnTo>
                <a:lnTo>
                  <a:pt x="19442" y="6546"/>
                </a:lnTo>
                <a:lnTo>
                  <a:pt x="19296" y="6303"/>
                </a:lnTo>
                <a:lnTo>
                  <a:pt x="19126" y="6060"/>
                </a:lnTo>
                <a:lnTo>
                  <a:pt x="18955" y="5865"/>
                </a:lnTo>
                <a:lnTo>
                  <a:pt x="18761" y="5670"/>
                </a:lnTo>
                <a:lnTo>
                  <a:pt x="18542" y="5476"/>
                </a:lnTo>
                <a:lnTo>
                  <a:pt x="18323" y="5330"/>
                </a:lnTo>
                <a:lnTo>
                  <a:pt x="18104" y="5208"/>
                </a:lnTo>
                <a:lnTo>
                  <a:pt x="17860" y="5086"/>
                </a:lnTo>
                <a:lnTo>
                  <a:pt x="17593" y="5013"/>
                </a:lnTo>
                <a:lnTo>
                  <a:pt x="17325" y="4965"/>
                </a:lnTo>
                <a:lnTo>
                  <a:pt x="17057" y="4940"/>
                </a:lnTo>
                <a:lnTo>
                  <a:pt x="16790" y="4965"/>
                </a:lnTo>
                <a:lnTo>
                  <a:pt x="16522" y="5013"/>
                </a:lnTo>
                <a:lnTo>
                  <a:pt x="16522" y="4794"/>
                </a:lnTo>
                <a:lnTo>
                  <a:pt x="16522" y="4600"/>
                </a:lnTo>
                <a:lnTo>
                  <a:pt x="16473" y="4381"/>
                </a:lnTo>
                <a:lnTo>
                  <a:pt x="16425" y="4186"/>
                </a:lnTo>
                <a:lnTo>
                  <a:pt x="16352" y="3991"/>
                </a:lnTo>
                <a:lnTo>
                  <a:pt x="16279" y="3797"/>
                </a:lnTo>
                <a:lnTo>
                  <a:pt x="16182" y="3602"/>
                </a:lnTo>
                <a:lnTo>
                  <a:pt x="16060" y="3407"/>
                </a:lnTo>
                <a:lnTo>
                  <a:pt x="15792" y="3067"/>
                </a:lnTo>
                <a:lnTo>
                  <a:pt x="15500" y="2750"/>
                </a:lnTo>
                <a:lnTo>
                  <a:pt x="15184" y="2483"/>
                </a:lnTo>
                <a:lnTo>
                  <a:pt x="14843" y="2239"/>
                </a:lnTo>
                <a:lnTo>
                  <a:pt x="14673" y="2142"/>
                </a:lnTo>
                <a:lnTo>
                  <a:pt x="14478" y="2045"/>
                </a:lnTo>
                <a:lnTo>
                  <a:pt x="14284" y="1972"/>
                </a:lnTo>
                <a:lnTo>
                  <a:pt x="14089" y="1899"/>
                </a:lnTo>
                <a:lnTo>
                  <a:pt x="13870" y="1850"/>
                </a:lnTo>
                <a:lnTo>
                  <a:pt x="13651" y="1801"/>
                </a:lnTo>
                <a:lnTo>
                  <a:pt x="13432" y="1777"/>
                </a:lnTo>
                <a:lnTo>
                  <a:pt x="13213" y="1777"/>
                </a:lnTo>
                <a:lnTo>
                  <a:pt x="12994" y="1801"/>
                </a:lnTo>
                <a:lnTo>
                  <a:pt x="12775" y="1826"/>
                </a:lnTo>
                <a:lnTo>
                  <a:pt x="12580" y="1899"/>
                </a:lnTo>
                <a:lnTo>
                  <a:pt x="12386" y="1972"/>
                </a:lnTo>
                <a:lnTo>
                  <a:pt x="12215" y="2069"/>
                </a:lnTo>
                <a:lnTo>
                  <a:pt x="12069" y="2191"/>
                </a:lnTo>
                <a:lnTo>
                  <a:pt x="11923" y="2361"/>
                </a:lnTo>
                <a:lnTo>
                  <a:pt x="11802" y="2531"/>
                </a:lnTo>
                <a:lnTo>
                  <a:pt x="11656" y="2239"/>
                </a:lnTo>
                <a:lnTo>
                  <a:pt x="11485" y="1947"/>
                </a:lnTo>
                <a:lnTo>
                  <a:pt x="11291" y="1680"/>
                </a:lnTo>
                <a:lnTo>
                  <a:pt x="11072" y="1412"/>
                </a:lnTo>
                <a:lnTo>
                  <a:pt x="10828" y="1169"/>
                </a:lnTo>
                <a:lnTo>
                  <a:pt x="10585" y="925"/>
                </a:lnTo>
                <a:lnTo>
                  <a:pt x="10317" y="731"/>
                </a:lnTo>
                <a:lnTo>
                  <a:pt x="10050" y="536"/>
                </a:lnTo>
                <a:lnTo>
                  <a:pt x="9806" y="390"/>
                </a:lnTo>
                <a:lnTo>
                  <a:pt x="9563" y="268"/>
                </a:lnTo>
                <a:lnTo>
                  <a:pt x="9320" y="195"/>
                </a:lnTo>
                <a:lnTo>
                  <a:pt x="9052" y="122"/>
                </a:lnTo>
                <a:lnTo>
                  <a:pt x="8784" y="74"/>
                </a:lnTo>
                <a:lnTo>
                  <a:pt x="8492" y="25"/>
                </a:lnTo>
                <a:lnTo>
                  <a:pt x="8225" y="1"/>
                </a:lnTo>
                <a:close/>
              </a:path>
            </a:pathLst>
          </a:custGeom>
          <a:solidFill>
            <a:srgbClr val="6FA8D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7" name="Google Shape;395;p40"/>
          <p:cNvSpPr/>
          <p:nvPr/>
        </p:nvSpPr>
        <p:spPr>
          <a:xfrm>
            <a:off x="10812829" y="4321184"/>
            <a:ext cx="1194273" cy="681421"/>
          </a:xfrm>
          <a:custGeom>
            <a:avLst/>
            <a:gdLst/>
            <a:ahLst/>
            <a:cxnLst/>
            <a:rect l="l" t="t" r="r" b="b"/>
            <a:pathLst>
              <a:path w="17398" h="14965" extrusionOk="0">
                <a:moveTo>
                  <a:pt x="4258" y="12069"/>
                </a:moveTo>
                <a:lnTo>
                  <a:pt x="4599" y="12093"/>
                </a:lnTo>
                <a:lnTo>
                  <a:pt x="4769" y="12093"/>
                </a:lnTo>
                <a:lnTo>
                  <a:pt x="4721" y="12264"/>
                </a:lnTo>
                <a:lnTo>
                  <a:pt x="4672" y="12458"/>
                </a:lnTo>
                <a:lnTo>
                  <a:pt x="4672" y="12580"/>
                </a:lnTo>
                <a:lnTo>
                  <a:pt x="4477" y="12580"/>
                </a:lnTo>
                <a:lnTo>
                  <a:pt x="4307" y="12215"/>
                </a:lnTo>
                <a:lnTo>
                  <a:pt x="4258" y="12069"/>
                </a:lnTo>
                <a:close/>
                <a:moveTo>
                  <a:pt x="3991" y="12069"/>
                </a:moveTo>
                <a:lnTo>
                  <a:pt x="3991" y="12166"/>
                </a:lnTo>
                <a:lnTo>
                  <a:pt x="3991" y="12239"/>
                </a:lnTo>
                <a:lnTo>
                  <a:pt x="4015" y="12434"/>
                </a:lnTo>
                <a:lnTo>
                  <a:pt x="4064" y="12580"/>
                </a:lnTo>
                <a:lnTo>
                  <a:pt x="3553" y="12629"/>
                </a:lnTo>
                <a:lnTo>
                  <a:pt x="3529" y="12531"/>
                </a:lnTo>
                <a:lnTo>
                  <a:pt x="3504" y="12434"/>
                </a:lnTo>
                <a:lnTo>
                  <a:pt x="3480" y="12361"/>
                </a:lnTo>
                <a:lnTo>
                  <a:pt x="3456" y="12118"/>
                </a:lnTo>
                <a:lnTo>
                  <a:pt x="3456" y="12093"/>
                </a:lnTo>
                <a:lnTo>
                  <a:pt x="3991" y="12069"/>
                </a:lnTo>
                <a:close/>
                <a:moveTo>
                  <a:pt x="4940" y="12093"/>
                </a:moveTo>
                <a:lnTo>
                  <a:pt x="5499" y="12166"/>
                </a:lnTo>
                <a:lnTo>
                  <a:pt x="5475" y="12264"/>
                </a:lnTo>
                <a:lnTo>
                  <a:pt x="5451" y="12361"/>
                </a:lnTo>
                <a:lnTo>
                  <a:pt x="5451" y="12483"/>
                </a:lnTo>
                <a:lnTo>
                  <a:pt x="5475" y="12629"/>
                </a:lnTo>
                <a:lnTo>
                  <a:pt x="5378" y="12604"/>
                </a:lnTo>
                <a:lnTo>
                  <a:pt x="5061" y="12604"/>
                </a:lnTo>
                <a:lnTo>
                  <a:pt x="5061" y="12531"/>
                </a:lnTo>
                <a:lnTo>
                  <a:pt x="4988" y="12312"/>
                </a:lnTo>
                <a:lnTo>
                  <a:pt x="4940" y="12093"/>
                </a:lnTo>
                <a:close/>
                <a:moveTo>
                  <a:pt x="13699" y="12069"/>
                </a:moveTo>
                <a:lnTo>
                  <a:pt x="13651" y="12215"/>
                </a:lnTo>
                <a:lnTo>
                  <a:pt x="13602" y="12361"/>
                </a:lnTo>
                <a:lnTo>
                  <a:pt x="13602" y="12653"/>
                </a:lnTo>
                <a:lnTo>
                  <a:pt x="13188" y="12653"/>
                </a:lnTo>
                <a:lnTo>
                  <a:pt x="13115" y="12385"/>
                </a:lnTo>
                <a:lnTo>
                  <a:pt x="13091" y="12093"/>
                </a:lnTo>
                <a:lnTo>
                  <a:pt x="13699" y="12069"/>
                </a:lnTo>
                <a:close/>
                <a:moveTo>
                  <a:pt x="13845" y="12069"/>
                </a:moveTo>
                <a:lnTo>
                  <a:pt x="14381" y="12093"/>
                </a:lnTo>
                <a:lnTo>
                  <a:pt x="14332" y="12215"/>
                </a:lnTo>
                <a:lnTo>
                  <a:pt x="14283" y="12361"/>
                </a:lnTo>
                <a:lnTo>
                  <a:pt x="14283" y="12507"/>
                </a:lnTo>
                <a:lnTo>
                  <a:pt x="14283" y="12677"/>
                </a:lnTo>
                <a:lnTo>
                  <a:pt x="13943" y="12653"/>
                </a:lnTo>
                <a:lnTo>
                  <a:pt x="13943" y="12361"/>
                </a:lnTo>
                <a:lnTo>
                  <a:pt x="13894" y="12215"/>
                </a:lnTo>
                <a:lnTo>
                  <a:pt x="13845" y="12069"/>
                </a:lnTo>
                <a:close/>
                <a:moveTo>
                  <a:pt x="3188" y="12093"/>
                </a:moveTo>
                <a:lnTo>
                  <a:pt x="3139" y="12215"/>
                </a:lnTo>
                <a:lnTo>
                  <a:pt x="3139" y="12434"/>
                </a:lnTo>
                <a:lnTo>
                  <a:pt x="3139" y="12556"/>
                </a:lnTo>
                <a:lnTo>
                  <a:pt x="3164" y="12653"/>
                </a:lnTo>
                <a:lnTo>
                  <a:pt x="2750" y="12726"/>
                </a:lnTo>
                <a:lnTo>
                  <a:pt x="2677" y="12726"/>
                </a:lnTo>
                <a:lnTo>
                  <a:pt x="2701" y="12677"/>
                </a:lnTo>
                <a:lnTo>
                  <a:pt x="2701" y="12629"/>
                </a:lnTo>
                <a:lnTo>
                  <a:pt x="2701" y="12580"/>
                </a:lnTo>
                <a:lnTo>
                  <a:pt x="2653" y="12531"/>
                </a:lnTo>
                <a:lnTo>
                  <a:pt x="2628" y="12458"/>
                </a:lnTo>
                <a:lnTo>
                  <a:pt x="2604" y="12361"/>
                </a:lnTo>
                <a:lnTo>
                  <a:pt x="2580" y="12166"/>
                </a:lnTo>
                <a:lnTo>
                  <a:pt x="3188" y="12093"/>
                </a:lnTo>
                <a:close/>
                <a:moveTo>
                  <a:pt x="5694" y="12215"/>
                </a:moveTo>
                <a:lnTo>
                  <a:pt x="5986" y="12288"/>
                </a:lnTo>
                <a:lnTo>
                  <a:pt x="6278" y="12361"/>
                </a:lnTo>
                <a:lnTo>
                  <a:pt x="6229" y="12507"/>
                </a:lnTo>
                <a:lnTo>
                  <a:pt x="6229" y="12677"/>
                </a:lnTo>
                <a:lnTo>
                  <a:pt x="6229" y="12726"/>
                </a:lnTo>
                <a:lnTo>
                  <a:pt x="5791" y="12653"/>
                </a:lnTo>
                <a:lnTo>
                  <a:pt x="5767" y="12531"/>
                </a:lnTo>
                <a:lnTo>
                  <a:pt x="5743" y="12410"/>
                </a:lnTo>
                <a:lnTo>
                  <a:pt x="5694" y="12215"/>
                </a:lnTo>
                <a:close/>
                <a:moveTo>
                  <a:pt x="13383" y="487"/>
                </a:moveTo>
                <a:lnTo>
                  <a:pt x="13699" y="511"/>
                </a:lnTo>
                <a:lnTo>
                  <a:pt x="14308" y="584"/>
                </a:lnTo>
                <a:lnTo>
                  <a:pt x="14648" y="657"/>
                </a:lnTo>
                <a:lnTo>
                  <a:pt x="14989" y="730"/>
                </a:lnTo>
                <a:lnTo>
                  <a:pt x="15305" y="827"/>
                </a:lnTo>
                <a:lnTo>
                  <a:pt x="15646" y="949"/>
                </a:lnTo>
                <a:lnTo>
                  <a:pt x="15938" y="1095"/>
                </a:lnTo>
                <a:lnTo>
                  <a:pt x="16230" y="1265"/>
                </a:lnTo>
                <a:lnTo>
                  <a:pt x="16498" y="1484"/>
                </a:lnTo>
                <a:lnTo>
                  <a:pt x="16741" y="1728"/>
                </a:lnTo>
                <a:lnTo>
                  <a:pt x="16741" y="1801"/>
                </a:lnTo>
                <a:lnTo>
                  <a:pt x="16790" y="2020"/>
                </a:lnTo>
                <a:lnTo>
                  <a:pt x="16838" y="2214"/>
                </a:lnTo>
                <a:lnTo>
                  <a:pt x="16887" y="2652"/>
                </a:lnTo>
                <a:lnTo>
                  <a:pt x="16887" y="3066"/>
                </a:lnTo>
                <a:lnTo>
                  <a:pt x="16911" y="3504"/>
                </a:lnTo>
                <a:lnTo>
                  <a:pt x="16887" y="4477"/>
                </a:lnTo>
                <a:lnTo>
                  <a:pt x="16863" y="5475"/>
                </a:lnTo>
                <a:lnTo>
                  <a:pt x="16814" y="6983"/>
                </a:lnTo>
                <a:lnTo>
                  <a:pt x="16790" y="8492"/>
                </a:lnTo>
                <a:lnTo>
                  <a:pt x="16838" y="10244"/>
                </a:lnTo>
                <a:lnTo>
                  <a:pt x="16838" y="11120"/>
                </a:lnTo>
                <a:lnTo>
                  <a:pt x="16790" y="11996"/>
                </a:lnTo>
                <a:lnTo>
                  <a:pt x="16473" y="11947"/>
                </a:lnTo>
                <a:lnTo>
                  <a:pt x="16181" y="11874"/>
                </a:lnTo>
                <a:lnTo>
                  <a:pt x="15622" y="11753"/>
                </a:lnTo>
                <a:lnTo>
                  <a:pt x="15354" y="11680"/>
                </a:lnTo>
                <a:lnTo>
                  <a:pt x="15062" y="11655"/>
                </a:lnTo>
                <a:lnTo>
                  <a:pt x="14405" y="11607"/>
                </a:lnTo>
                <a:lnTo>
                  <a:pt x="13724" y="11582"/>
                </a:lnTo>
                <a:lnTo>
                  <a:pt x="13067" y="11607"/>
                </a:lnTo>
                <a:lnTo>
                  <a:pt x="12385" y="11655"/>
                </a:lnTo>
                <a:lnTo>
                  <a:pt x="11850" y="11704"/>
                </a:lnTo>
                <a:lnTo>
                  <a:pt x="11315" y="11801"/>
                </a:lnTo>
                <a:lnTo>
                  <a:pt x="10780" y="11923"/>
                </a:lnTo>
                <a:lnTo>
                  <a:pt x="10269" y="12118"/>
                </a:lnTo>
                <a:lnTo>
                  <a:pt x="10025" y="12215"/>
                </a:lnTo>
                <a:lnTo>
                  <a:pt x="9733" y="12361"/>
                </a:lnTo>
                <a:lnTo>
                  <a:pt x="9417" y="12531"/>
                </a:lnTo>
                <a:lnTo>
                  <a:pt x="9149" y="12726"/>
                </a:lnTo>
                <a:lnTo>
                  <a:pt x="9101" y="11363"/>
                </a:lnTo>
                <a:lnTo>
                  <a:pt x="9052" y="10001"/>
                </a:lnTo>
                <a:lnTo>
                  <a:pt x="8979" y="8662"/>
                </a:lnTo>
                <a:lnTo>
                  <a:pt x="8955" y="7300"/>
                </a:lnTo>
                <a:lnTo>
                  <a:pt x="8955" y="5913"/>
                </a:lnTo>
                <a:lnTo>
                  <a:pt x="8930" y="4526"/>
                </a:lnTo>
                <a:lnTo>
                  <a:pt x="8930" y="3942"/>
                </a:lnTo>
                <a:lnTo>
                  <a:pt x="8930" y="3358"/>
                </a:lnTo>
                <a:lnTo>
                  <a:pt x="8930" y="2774"/>
                </a:lnTo>
                <a:lnTo>
                  <a:pt x="8930" y="2214"/>
                </a:lnTo>
                <a:lnTo>
                  <a:pt x="8930" y="2166"/>
                </a:lnTo>
                <a:lnTo>
                  <a:pt x="9222" y="2020"/>
                </a:lnTo>
                <a:lnTo>
                  <a:pt x="9490" y="1849"/>
                </a:lnTo>
                <a:lnTo>
                  <a:pt x="9758" y="1679"/>
                </a:lnTo>
                <a:lnTo>
                  <a:pt x="10001" y="1533"/>
                </a:lnTo>
                <a:lnTo>
                  <a:pt x="10877" y="1046"/>
                </a:lnTo>
                <a:lnTo>
                  <a:pt x="11339" y="827"/>
                </a:lnTo>
                <a:lnTo>
                  <a:pt x="11777" y="657"/>
                </a:lnTo>
                <a:lnTo>
                  <a:pt x="12069" y="560"/>
                </a:lnTo>
                <a:lnTo>
                  <a:pt x="12385" y="511"/>
                </a:lnTo>
                <a:lnTo>
                  <a:pt x="12702" y="487"/>
                </a:lnTo>
                <a:close/>
                <a:moveTo>
                  <a:pt x="12872" y="12093"/>
                </a:moveTo>
                <a:lnTo>
                  <a:pt x="12823" y="12166"/>
                </a:lnTo>
                <a:lnTo>
                  <a:pt x="12775" y="12264"/>
                </a:lnTo>
                <a:lnTo>
                  <a:pt x="12750" y="12361"/>
                </a:lnTo>
                <a:lnTo>
                  <a:pt x="12750" y="12458"/>
                </a:lnTo>
                <a:lnTo>
                  <a:pt x="12775" y="12677"/>
                </a:lnTo>
                <a:lnTo>
                  <a:pt x="12215" y="12726"/>
                </a:lnTo>
                <a:lnTo>
                  <a:pt x="12215" y="12702"/>
                </a:lnTo>
                <a:lnTo>
                  <a:pt x="12191" y="12629"/>
                </a:lnTo>
                <a:lnTo>
                  <a:pt x="12166" y="12580"/>
                </a:lnTo>
                <a:lnTo>
                  <a:pt x="12166" y="12434"/>
                </a:lnTo>
                <a:lnTo>
                  <a:pt x="12166" y="12191"/>
                </a:lnTo>
                <a:lnTo>
                  <a:pt x="12166" y="12166"/>
                </a:lnTo>
                <a:lnTo>
                  <a:pt x="12677" y="12118"/>
                </a:lnTo>
                <a:lnTo>
                  <a:pt x="12872" y="12093"/>
                </a:lnTo>
                <a:close/>
                <a:moveTo>
                  <a:pt x="14673" y="12093"/>
                </a:moveTo>
                <a:lnTo>
                  <a:pt x="15232" y="12166"/>
                </a:lnTo>
                <a:lnTo>
                  <a:pt x="15184" y="12239"/>
                </a:lnTo>
                <a:lnTo>
                  <a:pt x="15135" y="12312"/>
                </a:lnTo>
                <a:lnTo>
                  <a:pt x="15111" y="12410"/>
                </a:lnTo>
                <a:lnTo>
                  <a:pt x="15111" y="12483"/>
                </a:lnTo>
                <a:lnTo>
                  <a:pt x="15135" y="12629"/>
                </a:lnTo>
                <a:lnTo>
                  <a:pt x="15159" y="12775"/>
                </a:lnTo>
                <a:lnTo>
                  <a:pt x="15159" y="12775"/>
                </a:lnTo>
                <a:lnTo>
                  <a:pt x="14648" y="12702"/>
                </a:lnTo>
                <a:lnTo>
                  <a:pt x="14673" y="12410"/>
                </a:lnTo>
                <a:lnTo>
                  <a:pt x="14673" y="12239"/>
                </a:lnTo>
                <a:lnTo>
                  <a:pt x="14673" y="12093"/>
                </a:lnTo>
                <a:close/>
                <a:moveTo>
                  <a:pt x="6521" y="12458"/>
                </a:moveTo>
                <a:lnTo>
                  <a:pt x="6838" y="12580"/>
                </a:lnTo>
                <a:lnTo>
                  <a:pt x="6789" y="12702"/>
                </a:lnTo>
                <a:lnTo>
                  <a:pt x="6765" y="12848"/>
                </a:lnTo>
                <a:lnTo>
                  <a:pt x="6667" y="12799"/>
                </a:lnTo>
                <a:lnTo>
                  <a:pt x="6570" y="12629"/>
                </a:lnTo>
                <a:lnTo>
                  <a:pt x="6521" y="12458"/>
                </a:lnTo>
                <a:close/>
                <a:moveTo>
                  <a:pt x="2215" y="12239"/>
                </a:moveTo>
                <a:lnTo>
                  <a:pt x="2190" y="12361"/>
                </a:lnTo>
                <a:lnTo>
                  <a:pt x="2215" y="12507"/>
                </a:lnTo>
                <a:lnTo>
                  <a:pt x="2239" y="12629"/>
                </a:lnTo>
                <a:lnTo>
                  <a:pt x="2312" y="12750"/>
                </a:lnTo>
                <a:lnTo>
                  <a:pt x="2336" y="12775"/>
                </a:lnTo>
                <a:lnTo>
                  <a:pt x="1850" y="12872"/>
                </a:lnTo>
                <a:lnTo>
                  <a:pt x="1850" y="12604"/>
                </a:lnTo>
                <a:lnTo>
                  <a:pt x="1850" y="12312"/>
                </a:lnTo>
                <a:lnTo>
                  <a:pt x="2215" y="12239"/>
                </a:lnTo>
                <a:close/>
                <a:moveTo>
                  <a:pt x="11850" y="12191"/>
                </a:moveTo>
                <a:lnTo>
                  <a:pt x="11826" y="12385"/>
                </a:lnTo>
                <a:lnTo>
                  <a:pt x="11826" y="12580"/>
                </a:lnTo>
                <a:lnTo>
                  <a:pt x="11850" y="12775"/>
                </a:lnTo>
                <a:lnTo>
                  <a:pt x="11315" y="12848"/>
                </a:lnTo>
                <a:lnTo>
                  <a:pt x="11242" y="12872"/>
                </a:lnTo>
                <a:lnTo>
                  <a:pt x="11193" y="12823"/>
                </a:lnTo>
                <a:lnTo>
                  <a:pt x="11193" y="12775"/>
                </a:lnTo>
                <a:lnTo>
                  <a:pt x="11193" y="12580"/>
                </a:lnTo>
                <a:lnTo>
                  <a:pt x="11193" y="12410"/>
                </a:lnTo>
                <a:lnTo>
                  <a:pt x="11169" y="12337"/>
                </a:lnTo>
                <a:lnTo>
                  <a:pt x="11510" y="12239"/>
                </a:lnTo>
                <a:lnTo>
                  <a:pt x="11850" y="12191"/>
                </a:lnTo>
                <a:close/>
                <a:moveTo>
                  <a:pt x="4842" y="511"/>
                </a:moveTo>
                <a:lnTo>
                  <a:pt x="5183" y="535"/>
                </a:lnTo>
                <a:lnTo>
                  <a:pt x="5548" y="584"/>
                </a:lnTo>
                <a:lnTo>
                  <a:pt x="5889" y="657"/>
                </a:lnTo>
                <a:lnTo>
                  <a:pt x="6229" y="754"/>
                </a:lnTo>
                <a:lnTo>
                  <a:pt x="6546" y="876"/>
                </a:lnTo>
                <a:lnTo>
                  <a:pt x="6862" y="1022"/>
                </a:lnTo>
                <a:lnTo>
                  <a:pt x="7178" y="1168"/>
                </a:lnTo>
                <a:lnTo>
                  <a:pt x="7470" y="1363"/>
                </a:lnTo>
                <a:lnTo>
                  <a:pt x="7738" y="1557"/>
                </a:lnTo>
                <a:lnTo>
                  <a:pt x="8006" y="1801"/>
                </a:lnTo>
                <a:lnTo>
                  <a:pt x="8225" y="2044"/>
                </a:lnTo>
                <a:lnTo>
                  <a:pt x="8444" y="2287"/>
                </a:lnTo>
                <a:lnTo>
                  <a:pt x="8492" y="2360"/>
                </a:lnTo>
                <a:lnTo>
                  <a:pt x="8444" y="2847"/>
                </a:lnTo>
                <a:lnTo>
                  <a:pt x="8419" y="3358"/>
                </a:lnTo>
                <a:lnTo>
                  <a:pt x="8444" y="4331"/>
                </a:lnTo>
                <a:lnTo>
                  <a:pt x="8468" y="5718"/>
                </a:lnTo>
                <a:lnTo>
                  <a:pt x="8468" y="7105"/>
                </a:lnTo>
                <a:lnTo>
                  <a:pt x="8468" y="7835"/>
                </a:lnTo>
                <a:lnTo>
                  <a:pt x="8492" y="8565"/>
                </a:lnTo>
                <a:lnTo>
                  <a:pt x="8541" y="10049"/>
                </a:lnTo>
                <a:lnTo>
                  <a:pt x="8614" y="11509"/>
                </a:lnTo>
                <a:lnTo>
                  <a:pt x="8663" y="12969"/>
                </a:lnTo>
                <a:lnTo>
                  <a:pt x="8663" y="12969"/>
                </a:lnTo>
                <a:lnTo>
                  <a:pt x="7860" y="12507"/>
                </a:lnTo>
                <a:lnTo>
                  <a:pt x="7446" y="12288"/>
                </a:lnTo>
                <a:lnTo>
                  <a:pt x="7032" y="12069"/>
                </a:lnTo>
                <a:lnTo>
                  <a:pt x="6765" y="11947"/>
                </a:lnTo>
                <a:lnTo>
                  <a:pt x="6497" y="11850"/>
                </a:lnTo>
                <a:lnTo>
                  <a:pt x="6205" y="11777"/>
                </a:lnTo>
                <a:lnTo>
                  <a:pt x="5937" y="11704"/>
                </a:lnTo>
                <a:lnTo>
                  <a:pt x="5353" y="11607"/>
                </a:lnTo>
                <a:lnTo>
                  <a:pt x="4769" y="11534"/>
                </a:lnTo>
                <a:lnTo>
                  <a:pt x="3650" y="11534"/>
                </a:lnTo>
                <a:lnTo>
                  <a:pt x="3066" y="11558"/>
                </a:lnTo>
                <a:lnTo>
                  <a:pt x="2507" y="11631"/>
                </a:lnTo>
                <a:lnTo>
                  <a:pt x="2044" y="11704"/>
                </a:lnTo>
                <a:lnTo>
                  <a:pt x="1533" y="11801"/>
                </a:lnTo>
                <a:lnTo>
                  <a:pt x="1290" y="11874"/>
                </a:lnTo>
                <a:lnTo>
                  <a:pt x="1047" y="11947"/>
                </a:lnTo>
                <a:lnTo>
                  <a:pt x="828" y="12045"/>
                </a:lnTo>
                <a:lnTo>
                  <a:pt x="609" y="12166"/>
                </a:lnTo>
                <a:lnTo>
                  <a:pt x="609" y="12166"/>
                </a:lnTo>
                <a:lnTo>
                  <a:pt x="633" y="11972"/>
                </a:lnTo>
                <a:lnTo>
                  <a:pt x="657" y="11777"/>
                </a:lnTo>
                <a:lnTo>
                  <a:pt x="657" y="11485"/>
                </a:lnTo>
                <a:lnTo>
                  <a:pt x="584" y="10147"/>
                </a:lnTo>
                <a:lnTo>
                  <a:pt x="536" y="9490"/>
                </a:lnTo>
                <a:lnTo>
                  <a:pt x="536" y="8833"/>
                </a:lnTo>
                <a:lnTo>
                  <a:pt x="560" y="7908"/>
                </a:lnTo>
                <a:lnTo>
                  <a:pt x="609" y="7008"/>
                </a:lnTo>
                <a:lnTo>
                  <a:pt x="657" y="6083"/>
                </a:lnTo>
                <a:lnTo>
                  <a:pt x="657" y="5645"/>
                </a:lnTo>
                <a:lnTo>
                  <a:pt x="657" y="5183"/>
                </a:lnTo>
                <a:lnTo>
                  <a:pt x="609" y="4234"/>
                </a:lnTo>
                <a:lnTo>
                  <a:pt x="584" y="3309"/>
                </a:lnTo>
                <a:lnTo>
                  <a:pt x="584" y="2896"/>
                </a:lnTo>
                <a:lnTo>
                  <a:pt x="609" y="2506"/>
                </a:lnTo>
                <a:lnTo>
                  <a:pt x="657" y="1728"/>
                </a:lnTo>
                <a:lnTo>
                  <a:pt x="949" y="1582"/>
                </a:lnTo>
                <a:lnTo>
                  <a:pt x="1241" y="1460"/>
                </a:lnTo>
                <a:lnTo>
                  <a:pt x="1801" y="1241"/>
                </a:lnTo>
                <a:lnTo>
                  <a:pt x="2653" y="949"/>
                </a:lnTo>
                <a:lnTo>
                  <a:pt x="3504" y="681"/>
                </a:lnTo>
                <a:lnTo>
                  <a:pt x="3821" y="608"/>
                </a:lnTo>
                <a:lnTo>
                  <a:pt x="4161" y="535"/>
                </a:lnTo>
                <a:lnTo>
                  <a:pt x="4502" y="511"/>
                </a:lnTo>
                <a:close/>
                <a:moveTo>
                  <a:pt x="15354" y="12191"/>
                </a:moveTo>
                <a:lnTo>
                  <a:pt x="15646" y="12239"/>
                </a:lnTo>
                <a:lnTo>
                  <a:pt x="15938" y="12337"/>
                </a:lnTo>
                <a:lnTo>
                  <a:pt x="15889" y="12507"/>
                </a:lnTo>
                <a:lnTo>
                  <a:pt x="15889" y="12653"/>
                </a:lnTo>
                <a:lnTo>
                  <a:pt x="15889" y="12994"/>
                </a:lnTo>
                <a:lnTo>
                  <a:pt x="15524" y="12872"/>
                </a:lnTo>
                <a:lnTo>
                  <a:pt x="15500" y="12702"/>
                </a:lnTo>
                <a:lnTo>
                  <a:pt x="15427" y="12507"/>
                </a:lnTo>
                <a:lnTo>
                  <a:pt x="15378" y="12337"/>
                </a:lnTo>
                <a:lnTo>
                  <a:pt x="15330" y="12191"/>
                </a:lnTo>
                <a:close/>
                <a:moveTo>
                  <a:pt x="1509" y="12385"/>
                </a:moveTo>
                <a:lnTo>
                  <a:pt x="1460" y="12677"/>
                </a:lnTo>
                <a:lnTo>
                  <a:pt x="1436" y="12848"/>
                </a:lnTo>
                <a:lnTo>
                  <a:pt x="1460" y="13018"/>
                </a:lnTo>
                <a:lnTo>
                  <a:pt x="1290" y="13091"/>
                </a:lnTo>
                <a:lnTo>
                  <a:pt x="1290" y="12969"/>
                </a:lnTo>
                <a:lnTo>
                  <a:pt x="1290" y="12726"/>
                </a:lnTo>
                <a:lnTo>
                  <a:pt x="1266" y="12580"/>
                </a:lnTo>
                <a:lnTo>
                  <a:pt x="1241" y="12458"/>
                </a:lnTo>
                <a:lnTo>
                  <a:pt x="1509" y="12385"/>
                </a:lnTo>
                <a:close/>
                <a:moveTo>
                  <a:pt x="10926" y="12385"/>
                </a:moveTo>
                <a:lnTo>
                  <a:pt x="10877" y="12531"/>
                </a:lnTo>
                <a:lnTo>
                  <a:pt x="10828" y="12750"/>
                </a:lnTo>
                <a:lnTo>
                  <a:pt x="10804" y="12969"/>
                </a:lnTo>
                <a:lnTo>
                  <a:pt x="10366" y="13091"/>
                </a:lnTo>
                <a:lnTo>
                  <a:pt x="10366" y="12921"/>
                </a:lnTo>
                <a:lnTo>
                  <a:pt x="10366" y="12750"/>
                </a:lnTo>
                <a:lnTo>
                  <a:pt x="10366" y="12677"/>
                </a:lnTo>
                <a:lnTo>
                  <a:pt x="10342" y="12604"/>
                </a:lnTo>
                <a:lnTo>
                  <a:pt x="10536" y="12531"/>
                </a:lnTo>
                <a:lnTo>
                  <a:pt x="10926" y="12385"/>
                </a:lnTo>
                <a:close/>
                <a:moveTo>
                  <a:pt x="7105" y="12726"/>
                </a:moveTo>
                <a:lnTo>
                  <a:pt x="7641" y="13018"/>
                </a:lnTo>
                <a:lnTo>
                  <a:pt x="7616" y="13115"/>
                </a:lnTo>
                <a:lnTo>
                  <a:pt x="7616" y="13140"/>
                </a:lnTo>
                <a:lnTo>
                  <a:pt x="7397" y="13042"/>
                </a:lnTo>
                <a:lnTo>
                  <a:pt x="7178" y="12969"/>
                </a:lnTo>
                <a:lnTo>
                  <a:pt x="7130" y="12823"/>
                </a:lnTo>
                <a:lnTo>
                  <a:pt x="7105" y="12726"/>
                </a:lnTo>
                <a:close/>
                <a:moveTo>
                  <a:pt x="16181" y="12410"/>
                </a:moveTo>
                <a:lnTo>
                  <a:pt x="16303" y="12458"/>
                </a:lnTo>
                <a:lnTo>
                  <a:pt x="16254" y="12604"/>
                </a:lnTo>
                <a:lnTo>
                  <a:pt x="16230" y="12775"/>
                </a:lnTo>
                <a:lnTo>
                  <a:pt x="16206" y="13140"/>
                </a:lnTo>
                <a:lnTo>
                  <a:pt x="16157" y="13115"/>
                </a:lnTo>
                <a:lnTo>
                  <a:pt x="16206" y="13067"/>
                </a:lnTo>
                <a:lnTo>
                  <a:pt x="16206" y="12994"/>
                </a:lnTo>
                <a:lnTo>
                  <a:pt x="16181" y="12702"/>
                </a:lnTo>
                <a:lnTo>
                  <a:pt x="16181" y="12410"/>
                </a:lnTo>
                <a:close/>
                <a:moveTo>
                  <a:pt x="10025" y="12750"/>
                </a:moveTo>
                <a:lnTo>
                  <a:pt x="9977" y="12994"/>
                </a:lnTo>
                <a:lnTo>
                  <a:pt x="9928" y="13213"/>
                </a:lnTo>
                <a:lnTo>
                  <a:pt x="9928" y="13261"/>
                </a:lnTo>
                <a:lnTo>
                  <a:pt x="9563" y="13432"/>
                </a:lnTo>
                <a:lnTo>
                  <a:pt x="9563" y="13286"/>
                </a:lnTo>
                <a:lnTo>
                  <a:pt x="9563" y="13164"/>
                </a:lnTo>
                <a:lnTo>
                  <a:pt x="9539" y="13067"/>
                </a:lnTo>
                <a:lnTo>
                  <a:pt x="9539" y="13042"/>
                </a:lnTo>
                <a:lnTo>
                  <a:pt x="9563" y="13018"/>
                </a:lnTo>
                <a:lnTo>
                  <a:pt x="9782" y="12896"/>
                </a:lnTo>
                <a:lnTo>
                  <a:pt x="10025" y="12750"/>
                </a:lnTo>
                <a:close/>
                <a:moveTo>
                  <a:pt x="8030" y="13261"/>
                </a:moveTo>
                <a:lnTo>
                  <a:pt x="8322" y="13432"/>
                </a:lnTo>
                <a:lnTo>
                  <a:pt x="8614" y="13553"/>
                </a:lnTo>
                <a:lnTo>
                  <a:pt x="8565" y="13675"/>
                </a:lnTo>
                <a:lnTo>
                  <a:pt x="8541" y="13870"/>
                </a:lnTo>
                <a:lnTo>
                  <a:pt x="8419" y="13724"/>
                </a:lnTo>
                <a:lnTo>
                  <a:pt x="8298" y="13602"/>
                </a:lnTo>
                <a:lnTo>
                  <a:pt x="8030" y="13383"/>
                </a:lnTo>
                <a:lnTo>
                  <a:pt x="8030" y="13261"/>
                </a:lnTo>
                <a:close/>
                <a:moveTo>
                  <a:pt x="9247" y="13261"/>
                </a:moveTo>
                <a:lnTo>
                  <a:pt x="9247" y="13383"/>
                </a:lnTo>
                <a:lnTo>
                  <a:pt x="9271" y="13578"/>
                </a:lnTo>
                <a:lnTo>
                  <a:pt x="9052" y="13724"/>
                </a:lnTo>
                <a:lnTo>
                  <a:pt x="8857" y="13894"/>
                </a:lnTo>
                <a:lnTo>
                  <a:pt x="8857" y="13699"/>
                </a:lnTo>
                <a:lnTo>
                  <a:pt x="8857" y="13626"/>
                </a:lnTo>
                <a:lnTo>
                  <a:pt x="8930" y="13602"/>
                </a:lnTo>
                <a:lnTo>
                  <a:pt x="8979" y="13553"/>
                </a:lnTo>
                <a:lnTo>
                  <a:pt x="9052" y="13456"/>
                </a:lnTo>
                <a:lnTo>
                  <a:pt x="9101" y="13407"/>
                </a:lnTo>
                <a:lnTo>
                  <a:pt x="9149" y="13334"/>
                </a:lnTo>
                <a:lnTo>
                  <a:pt x="9247" y="13261"/>
                </a:lnTo>
                <a:close/>
                <a:moveTo>
                  <a:pt x="4550" y="0"/>
                </a:moveTo>
                <a:lnTo>
                  <a:pt x="4185" y="24"/>
                </a:lnTo>
                <a:lnTo>
                  <a:pt x="3845" y="49"/>
                </a:lnTo>
                <a:lnTo>
                  <a:pt x="3504" y="122"/>
                </a:lnTo>
                <a:lnTo>
                  <a:pt x="3042" y="243"/>
                </a:lnTo>
                <a:lnTo>
                  <a:pt x="2580" y="414"/>
                </a:lnTo>
                <a:lnTo>
                  <a:pt x="1679" y="754"/>
                </a:lnTo>
                <a:lnTo>
                  <a:pt x="1290" y="876"/>
                </a:lnTo>
                <a:lnTo>
                  <a:pt x="852" y="1046"/>
                </a:lnTo>
                <a:lnTo>
                  <a:pt x="633" y="1168"/>
                </a:lnTo>
                <a:lnTo>
                  <a:pt x="438" y="1290"/>
                </a:lnTo>
                <a:lnTo>
                  <a:pt x="292" y="1436"/>
                </a:lnTo>
                <a:lnTo>
                  <a:pt x="195" y="1606"/>
                </a:lnTo>
                <a:lnTo>
                  <a:pt x="171" y="1703"/>
                </a:lnTo>
                <a:lnTo>
                  <a:pt x="195" y="1801"/>
                </a:lnTo>
                <a:lnTo>
                  <a:pt x="122" y="2093"/>
                </a:lnTo>
                <a:lnTo>
                  <a:pt x="73" y="2409"/>
                </a:lnTo>
                <a:lnTo>
                  <a:pt x="49" y="2725"/>
                </a:lnTo>
                <a:lnTo>
                  <a:pt x="49" y="3066"/>
                </a:lnTo>
                <a:lnTo>
                  <a:pt x="73" y="3699"/>
                </a:lnTo>
                <a:lnTo>
                  <a:pt x="98" y="4331"/>
                </a:lnTo>
                <a:lnTo>
                  <a:pt x="122" y="5183"/>
                </a:lnTo>
                <a:lnTo>
                  <a:pt x="122" y="6034"/>
                </a:lnTo>
                <a:lnTo>
                  <a:pt x="98" y="6886"/>
                </a:lnTo>
                <a:lnTo>
                  <a:pt x="25" y="7738"/>
                </a:lnTo>
                <a:lnTo>
                  <a:pt x="0" y="8468"/>
                </a:lnTo>
                <a:lnTo>
                  <a:pt x="0" y="9198"/>
                </a:lnTo>
                <a:lnTo>
                  <a:pt x="0" y="9928"/>
                </a:lnTo>
                <a:lnTo>
                  <a:pt x="49" y="10633"/>
                </a:lnTo>
                <a:lnTo>
                  <a:pt x="122" y="11680"/>
                </a:lnTo>
                <a:lnTo>
                  <a:pt x="122" y="12045"/>
                </a:lnTo>
                <a:lnTo>
                  <a:pt x="122" y="12166"/>
                </a:lnTo>
                <a:lnTo>
                  <a:pt x="171" y="12264"/>
                </a:lnTo>
                <a:lnTo>
                  <a:pt x="195" y="12337"/>
                </a:lnTo>
                <a:lnTo>
                  <a:pt x="292" y="12385"/>
                </a:lnTo>
                <a:lnTo>
                  <a:pt x="341" y="12410"/>
                </a:lnTo>
                <a:lnTo>
                  <a:pt x="365" y="12507"/>
                </a:lnTo>
                <a:lnTo>
                  <a:pt x="414" y="12580"/>
                </a:lnTo>
                <a:lnTo>
                  <a:pt x="487" y="12629"/>
                </a:lnTo>
                <a:lnTo>
                  <a:pt x="584" y="12629"/>
                </a:lnTo>
                <a:lnTo>
                  <a:pt x="803" y="12580"/>
                </a:lnTo>
                <a:lnTo>
                  <a:pt x="803" y="12896"/>
                </a:lnTo>
                <a:lnTo>
                  <a:pt x="803" y="13188"/>
                </a:lnTo>
                <a:lnTo>
                  <a:pt x="828" y="13334"/>
                </a:lnTo>
                <a:lnTo>
                  <a:pt x="876" y="13480"/>
                </a:lnTo>
                <a:lnTo>
                  <a:pt x="925" y="13529"/>
                </a:lnTo>
                <a:lnTo>
                  <a:pt x="998" y="13578"/>
                </a:lnTo>
                <a:lnTo>
                  <a:pt x="1144" y="13578"/>
                </a:lnTo>
                <a:lnTo>
                  <a:pt x="1217" y="13553"/>
                </a:lnTo>
                <a:lnTo>
                  <a:pt x="1241" y="13529"/>
                </a:lnTo>
                <a:lnTo>
                  <a:pt x="1363" y="13529"/>
                </a:lnTo>
                <a:lnTo>
                  <a:pt x="1485" y="13505"/>
                </a:lnTo>
                <a:lnTo>
                  <a:pt x="1704" y="13432"/>
                </a:lnTo>
                <a:lnTo>
                  <a:pt x="2142" y="13310"/>
                </a:lnTo>
                <a:lnTo>
                  <a:pt x="2604" y="13213"/>
                </a:lnTo>
                <a:lnTo>
                  <a:pt x="3188" y="13140"/>
                </a:lnTo>
                <a:lnTo>
                  <a:pt x="3772" y="13091"/>
                </a:lnTo>
                <a:lnTo>
                  <a:pt x="4356" y="13067"/>
                </a:lnTo>
                <a:lnTo>
                  <a:pt x="4940" y="13091"/>
                </a:lnTo>
                <a:lnTo>
                  <a:pt x="5402" y="13115"/>
                </a:lnTo>
                <a:lnTo>
                  <a:pt x="5937" y="13164"/>
                </a:lnTo>
                <a:lnTo>
                  <a:pt x="6473" y="13261"/>
                </a:lnTo>
                <a:lnTo>
                  <a:pt x="6740" y="13334"/>
                </a:lnTo>
                <a:lnTo>
                  <a:pt x="7008" y="13407"/>
                </a:lnTo>
                <a:lnTo>
                  <a:pt x="7251" y="13505"/>
                </a:lnTo>
                <a:lnTo>
                  <a:pt x="7495" y="13626"/>
                </a:lnTo>
                <a:lnTo>
                  <a:pt x="7714" y="13772"/>
                </a:lnTo>
                <a:lnTo>
                  <a:pt x="7908" y="13918"/>
                </a:lnTo>
                <a:lnTo>
                  <a:pt x="8079" y="14088"/>
                </a:lnTo>
                <a:lnTo>
                  <a:pt x="8225" y="14307"/>
                </a:lnTo>
                <a:lnTo>
                  <a:pt x="8322" y="14526"/>
                </a:lnTo>
                <a:lnTo>
                  <a:pt x="8371" y="14794"/>
                </a:lnTo>
                <a:lnTo>
                  <a:pt x="8419" y="14891"/>
                </a:lnTo>
                <a:lnTo>
                  <a:pt x="8468" y="14940"/>
                </a:lnTo>
                <a:lnTo>
                  <a:pt x="8565" y="14964"/>
                </a:lnTo>
                <a:lnTo>
                  <a:pt x="8638" y="14964"/>
                </a:lnTo>
                <a:lnTo>
                  <a:pt x="8736" y="14916"/>
                </a:lnTo>
                <a:lnTo>
                  <a:pt x="8809" y="14843"/>
                </a:lnTo>
                <a:lnTo>
                  <a:pt x="8857" y="14770"/>
                </a:lnTo>
                <a:lnTo>
                  <a:pt x="8857" y="14648"/>
                </a:lnTo>
                <a:lnTo>
                  <a:pt x="8833" y="14599"/>
                </a:lnTo>
                <a:lnTo>
                  <a:pt x="9052" y="14332"/>
                </a:lnTo>
                <a:lnTo>
                  <a:pt x="9247" y="14113"/>
                </a:lnTo>
                <a:lnTo>
                  <a:pt x="9514" y="13943"/>
                </a:lnTo>
                <a:lnTo>
                  <a:pt x="9806" y="13772"/>
                </a:lnTo>
                <a:lnTo>
                  <a:pt x="10220" y="13602"/>
                </a:lnTo>
                <a:lnTo>
                  <a:pt x="10658" y="13456"/>
                </a:lnTo>
                <a:lnTo>
                  <a:pt x="11096" y="13334"/>
                </a:lnTo>
                <a:lnTo>
                  <a:pt x="11534" y="13261"/>
                </a:lnTo>
                <a:lnTo>
                  <a:pt x="12045" y="13188"/>
                </a:lnTo>
                <a:lnTo>
                  <a:pt x="12580" y="13140"/>
                </a:lnTo>
                <a:lnTo>
                  <a:pt x="13626" y="13091"/>
                </a:lnTo>
                <a:lnTo>
                  <a:pt x="13967" y="13091"/>
                </a:lnTo>
                <a:lnTo>
                  <a:pt x="14308" y="13115"/>
                </a:lnTo>
                <a:lnTo>
                  <a:pt x="14648" y="13140"/>
                </a:lnTo>
                <a:lnTo>
                  <a:pt x="14965" y="13188"/>
                </a:lnTo>
                <a:lnTo>
                  <a:pt x="15305" y="13261"/>
                </a:lnTo>
                <a:lnTo>
                  <a:pt x="15622" y="13359"/>
                </a:lnTo>
                <a:lnTo>
                  <a:pt x="15938" y="13480"/>
                </a:lnTo>
                <a:lnTo>
                  <a:pt x="16254" y="13651"/>
                </a:lnTo>
                <a:lnTo>
                  <a:pt x="16303" y="13675"/>
                </a:lnTo>
                <a:lnTo>
                  <a:pt x="16376" y="13675"/>
                </a:lnTo>
                <a:lnTo>
                  <a:pt x="16425" y="13651"/>
                </a:lnTo>
                <a:lnTo>
                  <a:pt x="16473" y="13626"/>
                </a:lnTo>
                <a:lnTo>
                  <a:pt x="16522" y="13578"/>
                </a:lnTo>
                <a:lnTo>
                  <a:pt x="16546" y="13529"/>
                </a:lnTo>
                <a:lnTo>
                  <a:pt x="16571" y="13456"/>
                </a:lnTo>
                <a:lnTo>
                  <a:pt x="16571" y="13407"/>
                </a:lnTo>
                <a:lnTo>
                  <a:pt x="16595" y="13310"/>
                </a:lnTo>
                <a:lnTo>
                  <a:pt x="16595" y="12921"/>
                </a:lnTo>
                <a:lnTo>
                  <a:pt x="16571" y="12531"/>
                </a:lnTo>
                <a:lnTo>
                  <a:pt x="16765" y="12556"/>
                </a:lnTo>
                <a:lnTo>
                  <a:pt x="16911" y="12556"/>
                </a:lnTo>
                <a:lnTo>
                  <a:pt x="17082" y="12531"/>
                </a:lnTo>
                <a:lnTo>
                  <a:pt x="17228" y="12483"/>
                </a:lnTo>
                <a:lnTo>
                  <a:pt x="17301" y="12458"/>
                </a:lnTo>
                <a:lnTo>
                  <a:pt x="17325" y="12410"/>
                </a:lnTo>
                <a:lnTo>
                  <a:pt x="17374" y="12361"/>
                </a:lnTo>
                <a:lnTo>
                  <a:pt x="17374" y="12312"/>
                </a:lnTo>
                <a:lnTo>
                  <a:pt x="17398" y="12264"/>
                </a:lnTo>
                <a:lnTo>
                  <a:pt x="17374" y="12191"/>
                </a:lnTo>
                <a:lnTo>
                  <a:pt x="17349" y="12142"/>
                </a:lnTo>
                <a:lnTo>
                  <a:pt x="17301" y="12118"/>
                </a:lnTo>
                <a:lnTo>
                  <a:pt x="17325" y="11972"/>
                </a:lnTo>
                <a:lnTo>
                  <a:pt x="17349" y="11826"/>
                </a:lnTo>
                <a:lnTo>
                  <a:pt x="17349" y="11558"/>
                </a:lnTo>
                <a:lnTo>
                  <a:pt x="17325" y="10998"/>
                </a:lnTo>
                <a:lnTo>
                  <a:pt x="17301" y="8881"/>
                </a:lnTo>
                <a:lnTo>
                  <a:pt x="17301" y="7178"/>
                </a:lnTo>
                <a:lnTo>
                  <a:pt x="17301" y="6326"/>
                </a:lnTo>
                <a:lnTo>
                  <a:pt x="17349" y="5475"/>
                </a:lnTo>
                <a:lnTo>
                  <a:pt x="17374" y="4380"/>
                </a:lnTo>
                <a:lnTo>
                  <a:pt x="17374" y="3820"/>
                </a:lnTo>
                <a:lnTo>
                  <a:pt x="17374" y="3285"/>
                </a:lnTo>
                <a:lnTo>
                  <a:pt x="17349" y="2920"/>
                </a:lnTo>
                <a:lnTo>
                  <a:pt x="17325" y="2531"/>
                </a:lnTo>
                <a:lnTo>
                  <a:pt x="17301" y="2336"/>
                </a:lnTo>
                <a:lnTo>
                  <a:pt x="17276" y="2141"/>
                </a:lnTo>
                <a:lnTo>
                  <a:pt x="17228" y="1971"/>
                </a:lnTo>
                <a:lnTo>
                  <a:pt x="17130" y="1801"/>
                </a:lnTo>
                <a:lnTo>
                  <a:pt x="17179" y="1728"/>
                </a:lnTo>
                <a:lnTo>
                  <a:pt x="17203" y="1630"/>
                </a:lnTo>
                <a:lnTo>
                  <a:pt x="17203" y="1557"/>
                </a:lnTo>
                <a:lnTo>
                  <a:pt x="17155" y="1460"/>
                </a:lnTo>
                <a:lnTo>
                  <a:pt x="16911" y="1217"/>
                </a:lnTo>
                <a:lnTo>
                  <a:pt x="16644" y="998"/>
                </a:lnTo>
                <a:lnTo>
                  <a:pt x="16352" y="803"/>
                </a:lnTo>
                <a:lnTo>
                  <a:pt x="16035" y="633"/>
                </a:lnTo>
                <a:lnTo>
                  <a:pt x="15719" y="487"/>
                </a:lnTo>
                <a:lnTo>
                  <a:pt x="15378" y="365"/>
                </a:lnTo>
                <a:lnTo>
                  <a:pt x="15038" y="268"/>
                </a:lnTo>
                <a:lnTo>
                  <a:pt x="14697" y="195"/>
                </a:lnTo>
                <a:lnTo>
                  <a:pt x="14356" y="146"/>
                </a:lnTo>
                <a:lnTo>
                  <a:pt x="14016" y="97"/>
                </a:lnTo>
                <a:lnTo>
                  <a:pt x="13626" y="49"/>
                </a:lnTo>
                <a:lnTo>
                  <a:pt x="13261" y="24"/>
                </a:lnTo>
                <a:lnTo>
                  <a:pt x="12896" y="24"/>
                </a:lnTo>
                <a:lnTo>
                  <a:pt x="12531" y="49"/>
                </a:lnTo>
                <a:lnTo>
                  <a:pt x="12166" y="97"/>
                </a:lnTo>
                <a:lnTo>
                  <a:pt x="11826" y="170"/>
                </a:lnTo>
                <a:lnTo>
                  <a:pt x="11583" y="243"/>
                </a:lnTo>
                <a:lnTo>
                  <a:pt x="11339" y="316"/>
                </a:lnTo>
                <a:lnTo>
                  <a:pt x="10877" y="560"/>
                </a:lnTo>
                <a:lnTo>
                  <a:pt x="10415" y="803"/>
                </a:lnTo>
                <a:lnTo>
                  <a:pt x="9977" y="1046"/>
                </a:lnTo>
                <a:lnTo>
                  <a:pt x="9441" y="1338"/>
                </a:lnTo>
                <a:lnTo>
                  <a:pt x="9125" y="1509"/>
                </a:lnTo>
                <a:lnTo>
                  <a:pt x="8857" y="1703"/>
                </a:lnTo>
                <a:lnTo>
                  <a:pt x="8809" y="1679"/>
                </a:lnTo>
                <a:lnTo>
                  <a:pt x="8687" y="1679"/>
                </a:lnTo>
                <a:lnTo>
                  <a:pt x="8638" y="1728"/>
                </a:lnTo>
                <a:lnTo>
                  <a:pt x="8419" y="1460"/>
                </a:lnTo>
                <a:lnTo>
                  <a:pt x="8152" y="1217"/>
                </a:lnTo>
                <a:lnTo>
                  <a:pt x="7884" y="1022"/>
                </a:lnTo>
                <a:lnTo>
                  <a:pt x="7592" y="803"/>
                </a:lnTo>
                <a:lnTo>
                  <a:pt x="7276" y="633"/>
                </a:lnTo>
                <a:lnTo>
                  <a:pt x="6959" y="487"/>
                </a:lnTo>
                <a:lnTo>
                  <a:pt x="6643" y="341"/>
                </a:lnTo>
                <a:lnTo>
                  <a:pt x="6302" y="243"/>
                </a:lnTo>
                <a:lnTo>
                  <a:pt x="5962" y="146"/>
                </a:lnTo>
                <a:lnTo>
                  <a:pt x="5597" y="73"/>
                </a:lnTo>
                <a:lnTo>
                  <a:pt x="5256" y="24"/>
                </a:lnTo>
                <a:lnTo>
                  <a:pt x="4891" y="0"/>
                </a:lnTo>
                <a:close/>
              </a:path>
            </a:pathLst>
          </a:custGeom>
          <a:solidFill>
            <a:schemeClr val="dk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5" name="Google Shape;454;p40"/>
          <p:cNvSpPr/>
          <p:nvPr/>
        </p:nvSpPr>
        <p:spPr>
          <a:xfrm>
            <a:off x="10812829" y="127226"/>
            <a:ext cx="783308" cy="723600"/>
          </a:xfrm>
          <a:custGeom>
            <a:avLst/>
            <a:gdLst/>
            <a:ahLst/>
            <a:cxnLst/>
            <a:rect l="l" t="t" r="r" b="b"/>
            <a:pathLst>
              <a:path w="17496" h="18421" extrusionOk="0">
                <a:moveTo>
                  <a:pt x="7421" y="1047"/>
                </a:moveTo>
                <a:lnTo>
                  <a:pt x="7373" y="1071"/>
                </a:lnTo>
                <a:lnTo>
                  <a:pt x="7348" y="1120"/>
                </a:lnTo>
                <a:lnTo>
                  <a:pt x="7324" y="1169"/>
                </a:lnTo>
                <a:lnTo>
                  <a:pt x="7348" y="1315"/>
                </a:lnTo>
                <a:lnTo>
                  <a:pt x="7348" y="1461"/>
                </a:lnTo>
                <a:lnTo>
                  <a:pt x="7324" y="1582"/>
                </a:lnTo>
                <a:lnTo>
                  <a:pt x="7300" y="1704"/>
                </a:lnTo>
                <a:lnTo>
                  <a:pt x="7178" y="1923"/>
                </a:lnTo>
                <a:lnTo>
                  <a:pt x="7008" y="2142"/>
                </a:lnTo>
                <a:lnTo>
                  <a:pt x="6862" y="2385"/>
                </a:lnTo>
                <a:lnTo>
                  <a:pt x="6813" y="2483"/>
                </a:lnTo>
                <a:lnTo>
                  <a:pt x="6765" y="2604"/>
                </a:lnTo>
                <a:lnTo>
                  <a:pt x="6740" y="2750"/>
                </a:lnTo>
                <a:lnTo>
                  <a:pt x="6740" y="2872"/>
                </a:lnTo>
                <a:lnTo>
                  <a:pt x="6740" y="3018"/>
                </a:lnTo>
                <a:lnTo>
                  <a:pt x="6789" y="3164"/>
                </a:lnTo>
                <a:lnTo>
                  <a:pt x="6862" y="3286"/>
                </a:lnTo>
                <a:lnTo>
                  <a:pt x="6959" y="3432"/>
                </a:lnTo>
                <a:lnTo>
                  <a:pt x="7154" y="3699"/>
                </a:lnTo>
                <a:lnTo>
                  <a:pt x="7251" y="3845"/>
                </a:lnTo>
                <a:lnTo>
                  <a:pt x="7275" y="3991"/>
                </a:lnTo>
                <a:lnTo>
                  <a:pt x="7275" y="4064"/>
                </a:lnTo>
                <a:lnTo>
                  <a:pt x="7275" y="4137"/>
                </a:lnTo>
                <a:lnTo>
                  <a:pt x="7251" y="4186"/>
                </a:lnTo>
                <a:lnTo>
                  <a:pt x="7178" y="4259"/>
                </a:lnTo>
                <a:lnTo>
                  <a:pt x="7154" y="4332"/>
                </a:lnTo>
                <a:lnTo>
                  <a:pt x="7129" y="4405"/>
                </a:lnTo>
                <a:lnTo>
                  <a:pt x="7129" y="4478"/>
                </a:lnTo>
                <a:lnTo>
                  <a:pt x="7178" y="4527"/>
                </a:lnTo>
                <a:lnTo>
                  <a:pt x="7251" y="4575"/>
                </a:lnTo>
                <a:lnTo>
                  <a:pt x="7324" y="4600"/>
                </a:lnTo>
                <a:lnTo>
                  <a:pt x="7397" y="4575"/>
                </a:lnTo>
                <a:lnTo>
                  <a:pt x="7470" y="4527"/>
                </a:lnTo>
                <a:lnTo>
                  <a:pt x="7567" y="4429"/>
                </a:lnTo>
                <a:lnTo>
                  <a:pt x="7616" y="4332"/>
                </a:lnTo>
                <a:lnTo>
                  <a:pt x="7665" y="4235"/>
                </a:lnTo>
                <a:lnTo>
                  <a:pt x="7689" y="4113"/>
                </a:lnTo>
                <a:lnTo>
                  <a:pt x="7689" y="4016"/>
                </a:lnTo>
                <a:lnTo>
                  <a:pt x="7665" y="3918"/>
                </a:lnTo>
                <a:lnTo>
                  <a:pt x="7592" y="3724"/>
                </a:lnTo>
                <a:lnTo>
                  <a:pt x="7470" y="3505"/>
                </a:lnTo>
                <a:lnTo>
                  <a:pt x="7324" y="3310"/>
                </a:lnTo>
                <a:lnTo>
                  <a:pt x="7202" y="3115"/>
                </a:lnTo>
                <a:lnTo>
                  <a:pt x="7105" y="2921"/>
                </a:lnTo>
                <a:lnTo>
                  <a:pt x="7081" y="2823"/>
                </a:lnTo>
                <a:lnTo>
                  <a:pt x="7105" y="2726"/>
                </a:lnTo>
                <a:lnTo>
                  <a:pt x="7154" y="2604"/>
                </a:lnTo>
                <a:lnTo>
                  <a:pt x="7202" y="2483"/>
                </a:lnTo>
                <a:lnTo>
                  <a:pt x="7373" y="2239"/>
                </a:lnTo>
                <a:lnTo>
                  <a:pt x="7543" y="1972"/>
                </a:lnTo>
                <a:lnTo>
                  <a:pt x="7689" y="1728"/>
                </a:lnTo>
                <a:lnTo>
                  <a:pt x="7738" y="1607"/>
                </a:lnTo>
                <a:lnTo>
                  <a:pt x="7762" y="1485"/>
                </a:lnTo>
                <a:lnTo>
                  <a:pt x="7762" y="1363"/>
                </a:lnTo>
                <a:lnTo>
                  <a:pt x="7713" y="1242"/>
                </a:lnTo>
                <a:lnTo>
                  <a:pt x="7616" y="1144"/>
                </a:lnTo>
                <a:lnTo>
                  <a:pt x="7494" y="1071"/>
                </a:lnTo>
                <a:lnTo>
                  <a:pt x="7421" y="1047"/>
                </a:lnTo>
                <a:close/>
                <a:moveTo>
                  <a:pt x="10293" y="1242"/>
                </a:moveTo>
                <a:lnTo>
                  <a:pt x="10268" y="1266"/>
                </a:lnTo>
                <a:lnTo>
                  <a:pt x="10244" y="1363"/>
                </a:lnTo>
                <a:lnTo>
                  <a:pt x="10220" y="1485"/>
                </a:lnTo>
                <a:lnTo>
                  <a:pt x="10195" y="1607"/>
                </a:lnTo>
                <a:lnTo>
                  <a:pt x="10171" y="1680"/>
                </a:lnTo>
                <a:lnTo>
                  <a:pt x="10098" y="1826"/>
                </a:lnTo>
                <a:lnTo>
                  <a:pt x="10001" y="1923"/>
                </a:lnTo>
                <a:lnTo>
                  <a:pt x="9782" y="2166"/>
                </a:lnTo>
                <a:lnTo>
                  <a:pt x="9684" y="2288"/>
                </a:lnTo>
                <a:lnTo>
                  <a:pt x="9611" y="2434"/>
                </a:lnTo>
                <a:lnTo>
                  <a:pt x="9587" y="2604"/>
                </a:lnTo>
                <a:lnTo>
                  <a:pt x="9587" y="2775"/>
                </a:lnTo>
                <a:lnTo>
                  <a:pt x="9636" y="2921"/>
                </a:lnTo>
                <a:lnTo>
                  <a:pt x="9709" y="3042"/>
                </a:lnTo>
                <a:lnTo>
                  <a:pt x="9879" y="3286"/>
                </a:lnTo>
                <a:lnTo>
                  <a:pt x="10001" y="3456"/>
                </a:lnTo>
                <a:lnTo>
                  <a:pt x="10074" y="3626"/>
                </a:lnTo>
                <a:lnTo>
                  <a:pt x="10098" y="3724"/>
                </a:lnTo>
                <a:lnTo>
                  <a:pt x="10098" y="3821"/>
                </a:lnTo>
                <a:lnTo>
                  <a:pt x="10074" y="3918"/>
                </a:lnTo>
                <a:lnTo>
                  <a:pt x="10025" y="4016"/>
                </a:lnTo>
                <a:lnTo>
                  <a:pt x="9952" y="4137"/>
                </a:lnTo>
                <a:lnTo>
                  <a:pt x="9855" y="4235"/>
                </a:lnTo>
                <a:lnTo>
                  <a:pt x="9782" y="4332"/>
                </a:lnTo>
                <a:lnTo>
                  <a:pt x="9709" y="4454"/>
                </a:lnTo>
                <a:lnTo>
                  <a:pt x="9684" y="4502"/>
                </a:lnTo>
                <a:lnTo>
                  <a:pt x="9684" y="4575"/>
                </a:lnTo>
                <a:lnTo>
                  <a:pt x="9733" y="4673"/>
                </a:lnTo>
                <a:lnTo>
                  <a:pt x="9757" y="4721"/>
                </a:lnTo>
                <a:lnTo>
                  <a:pt x="9806" y="4746"/>
                </a:lnTo>
                <a:lnTo>
                  <a:pt x="9855" y="4770"/>
                </a:lnTo>
                <a:lnTo>
                  <a:pt x="9928" y="4746"/>
                </a:lnTo>
                <a:lnTo>
                  <a:pt x="10122" y="4648"/>
                </a:lnTo>
                <a:lnTo>
                  <a:pt x="10268" y="4502"/>
                </a:lnTo>
                <a:lnTo>
                  <a:pt x="10414" y="4332"/>
                </a:lnTo>
                <a:lnTo>
                  <a:pt x="10487" y="4137"/>
                </a:lnTo>
                <a:lnTo>
                  <a:pt x="10536" y="3943"/>
                </a:lnTo>
                <a:lnTo>
                  <a:pt x="10536" y="3724"/>
                </a:lnTo>
                <a:lnTo>
                  <a:pt x="10487" y="3505"/>
                </a:lnTo>
                <a:lnTo>
                  <a:pt x="10414" y="3310"/>
                </a:lnTo>
                <a:lnTo>
                  <a:pt x="10293" y="3140"/>
                </a:lnTo>
                <a:lnTo>
                  <a:pt x="10171" y="2994"/>
                </a:lnTo>
                <a:lnTo>
                  <a:pt x="10074" y="2872"/>
                </a:lnTo>
                <a:lnTo>
                  <a:pt x="10025" y="2775"/>
                </a:lnTo>
                <a:lnTo>
                  <a:pt x="10001" y="2653"/>
                </a:lnTo>
                <a:lnTo>
                  <a:pt x="10025" y="2556"/>
                </a:lnTo>
                <a:lnTo>
                  <a:pt x="10074" y="2434"/>
                </a:lnTo>
                <a:lnTo>
                  <a:pt x="10122" y="2337"/>
                </a:lnTo>
                <a:lnTo>
                  <a:pt x="10293" y="2118"/>
                </a:lnTo>
                <a:lnTo>
                  <a:pt x="10414" y="1947"/>
                </a:lnTo>
                <a:lnTo>
                  <a:pt x="10512" y="1753"/>
                </a:lnTo>
                <a:lnTo>
                  <a:pt x="10512" y="1655"/>
                </a:lnTo>
                <a:lnTo>
                  <a:pt x="10536" y="1558"/>
                </a:lnTo>
                <a:lnTo>
                  <a:pt x="10512" y="1461"/>
                </a:lnTo>
                <a:lnTo>
                  <a:pt x="10487" y="1363"/>
                </a:lnTo>
                <a:lnTo>
                  <a:pt x="10463" y="1290"/>
                </a:lnTo>
                <a:lnTo>
                  <a:pt x="10390" y="1266"/>
                </a:lnTo>
                <a:lnTo>
                  <a:pt x="10317" y="1242"/>
                </a:lnTo>
                <a:close/>
                <a:moveTo>
                  <a:pt x="8322" y="1"/>
                </a:moveTo>
                <a:lnTo>
                  <a:pt x="8273" y="49"/>
                </a:lnTo>
                <a:lnTo>
                  <a:pt x="8249" y="98"/>
                </a:lnTo>
                <a:lnTo>
                  <a:pt x="8273" y="171"/>
                </a:lnTo>
                <a:lnTo>
                  <a:pt x="8492" y="512"/>
                </a:lnTo>
                <a:lnTo>
                  <a:pt x="8614" y="682"/>
                </a:lnTo>
                <a:lnTo>
                  <a:pt x="8687" y="877"/>
                </a:lnTo>
                <a:lnTo>
                  <a:pt x="8711" y="1023"/>
                </a:lnTo>
                <a:lnTo>
                  <a:pt x="8735" y="1144"/>
                </a:lnTo>
                <a:lnTo>
                  <a:pt x="8711" y="1266"/>
                </a:lnTo>
                <a:lnTo>
                  <a:pt x="8687" y="1388"/>
                </a:lnTo>
                <a:lnTo>
                  <a:pt x="8614" y="1631"/>
                </a:lnTo>
                <a:lnTo>
                  <a:pt x="8492" y="1850"/>
                </a:lnTo>
                <a:lnTo>
                  <a:pt x="8322" y="2166"/>
                </a:lnTo>
                <a:lnTo>
                  <a:pt x="8249" y="2312"/>
                </a:lnTo>
                <a:lnTo>
                  <a:pt x="8200" y="2458"/>
                </a:lnTo>
                <a:lnTo>
                  <a:pt x="8200" y="2604"/>
                </a:lnTo>
                <a:lnTo>
                  <a:pt x="8200" y="2775"/>
                </a:lnTo>
                <a:lnTo>
                  <a:pt x="8249" y="2921"/>
                </a:lnTo>
                <a:lnTo>
                  <a:pt x="8322" y="3091"/>
                </a:lnTo>
                <a:lnTo>
                  <a:pt x="8419" y="3213"/>
                </a:lnTo>
                <a:lnTo>
                  <a:pt x="8516" y="3334"/>
                </a:lnTo>
                <a:lnTo>
                  <a:pt x="8589" y="3432"/>
                </a:lnTo>
                <a:lnTo>
                  <a:pt x="8638" y="3529"/>
                </a:lnTo>
                <a:lnTo>
                  <a:pt x="8662" y="3651"/>
                </a:lnTo>
                <a:lnTo>
                  <a:pt x="8662" y="3748"/>
                </a:lnTo>
                <a:lnTo>
                  <a:pt x="8638" y="3845"/>
                </a:lnTo>
                <a:lnTo>
                  <a:pt x="8614" y="3967"/>
                </a:lnTo>
                <a:lnTo>
                  <a:pt x="8516" y="4162"/>
                </a:lnTo>
                <a:lnTo>
                  <a:pt x="8297" y="4551"/>
                </a:lnTo>
                <a:lnTo>
                  <a:pt x="8200" y="4746"/>
                </a:lnTo>
                <a:lnTo>
                  <a:pt x="8103" y="4940"/>
                </a:lnTo>
                <a:lnTo>
                  <a:pt x="8054" y="5062"/>
                </a:lnTo>
                <a:lnTo>
                  <a:pt x="8054" y="5208"/>
                </a:lnTo>
                <a:lnTo>
                  <a:pt x="8054" y="5354"/>
                </a:lnTo>
                <a:lnTo>
                  <a:pt x="8078" y="5476"/>
                </a:lnTo>
                <a:lnTo>
                  <a:pt x="8127" y="5622"/>
                </a:lnTo>
                <a:lnTo>
                  <a:pt x="8224" y="5719"/>
                </a:lnTo>
                <a:lnTo>
                  <a:pt x="8297" y="5816"/>
                </a:lnTo>
                <a:lnTo>
                  <a:pt x="8419" y="5889"/>
                </a:lnTo>
                <a:lnTo>
                  <a:pt x="8492" y="5914"/>
                </a:lnTo>
                <a:lnTo>
                  <a:pt x="8565" y="5914"/>
                </a:lnTo>
                <a:lnTo>
                  <a:pt x="8614" y="5889"/>
                </a:lnTo>
                <a:lnTo>
                  <a:pt x="8662" y="5841"/>
                </a:lnTo>
                <a:lnTo>
                  <a:pt x="8711" y="5792"/>
                </a:lnTo>
                <a:lnTo>
                  <a:pt x="8711" y="5719"/>
                </a:lnTo>
                <a:lnTo>
                  <a:pt x="8687" y="5670"/>
                </a:lnTo>
                <a:lnTo>
                  <a:pt x="8662" y="5597"/>
                </a:lnTo>
                <a:lnTo>
                  <a:pt x="8589" y="5476"/>
                </a:lnTo>
                <a:lnTo>
                  <a:pt x="8541" y="5378"/>
                </a:lnTo>
                <a:lnTo>
                  <a:pt x="8516" y="5257"/>
                </a:lnTo>
                <a:lnTo>
                  <a:pt x="8516" y="5159"/>
                </a:lnTo>
                <a:lnTo>
                  <a:pt x="8541" y="5038"/>
                </a:lnTo>
                <a:lnTo>
                  <a:pt x="8565" y="4940"/>
                </a:lnTo>
                <a:lnTo>
                  <a:pt x="8687" y="4721"/>
                </a:lnTo>
                <a:lnTo>
                  <a:pt x="8954" y="4283"/>
                </a:lnTo>
                <a:lnTo>
                  <a:pt x="9076" y="4040"/>
                </a:lnTo>
                <a:lnTo>
                  <a:pt x="9100" y="3943"/>
                </a:lnTo>
                <a:lnTo>
                  <a:pt x="9125" y="3821"/>
                </a:lnTo>
                <a:lnTo>
                  <a:pt x="9125" y="3626"/>
                </a:lnTo>
                <a:lnTo>
                  <a:pt x="9076" y="3480"/>
                </a:lnTo>
                <a:lnTo>
                  <a:pt x="9027" y="3310"/>
                </a:lnTo>
                <a:lnTo>
                  <a:pt x="8930" y="3164"/>
                </a:lnTo>
                <a:lnTo>
                  <a:pt x="8784" y="2921"/>
                </a:lnTo>
                <a:lnTo>
                  <a:pt x="8711" y="2823"/>
                </a:lnTo>
                <a:lnTo>
                  <a:pt x="8662" y="2726"/>
                </a:lnTo>
                <a:lnTo>
                  <a:pt x="8662" y="2604"/>
                </a:lnTo>
                <a:lnTo>
                  <a:pt x="8662" y="2507"/>
                </a:lnTo>
                <a:lnTo>
                  <a:pt x="8711" y="2361"/>
                </a:lnTo>
                <a:lnTo>
                  <a:pt x="8784" y="2215"/>
                </a:lnTo>
                <a:lnTo>
                  <a:pt x="8954" y="1899"/>
                </a:lnTo>
                <a:lnTo>
                  <a:pt x="9076" y="1582"/>
                </a:lnTo>
                <a:lnTo>
                  <a:pt x="9125" y="1436"/>
                </a:lnTo>
                <a:lnTo>
                  <a:pt x="9149" y="1266"/>
                </a:lnTo>
                <a:lnTo>
                  <a:pt x="9149" y="1096"/>
                </a:lnTo>
                <a:lnTo>
                  <a:pt x="9125" y="901"/>
                </a:lnTo>
                <a:lnTo>
                  <a:pt x="9100" y="755"/>
                </a:lnTo>
                <a:lnTo>
                  <a:pt x="9052" y="609"/>
                </a:lnTo>
                <a:lnTo>
                  <a:pt x="8979" y="463"/>
                </a:lnTo>
                <a:lnTo>
                  <a:pt x="8881" y="341"/>
                </a:lnTo>
                <a:lnTo>
                  <a:pt x="8784" y="220"/>
                </a:lnTo>
                <a:lnTo>
                  <a:pt x="8662" y="122"/>
                </a:lnTo>
                <a:lnTo>
                  <a:pt x="8541" y="49"/>
                </a:lnTo>
                <a:lnTo>
                  <a:pt x="8395" y="1"/>
                </a:lnTo>
                <a:close/>
                <a:moveTo>
                  <a:pt x="6497" y="7982"/>
                </a:moveTo>
                <a:lnTo>
                  <a:pt x="6424" y="8079"/>
                </a:lnTo>
                <a:lnTo>
                  <a:pt x="6229" y="8055"/>
                </a:lnTo>
                <a:lnTo>
                  <a:pt x="5791" y="8030"/>
                </a:lnTo>
                <a:lnTo>
                  <a:pt x="6156" y="8006"/>
                </a:lnTo>
                <a:lnTo>
                  <a:pt x="6497" y="7982"/>
                </a:lnTo>
                <a:close/>
                <a:moveTo>
                  <a:pt x="10512" y="6911"/>
                </a:moveTo>
                <a:lnTo>
                  <a:pt x="11242" y="6960"/>
                </a:lnTo>
                <a:lnTo>
                  <a:pt x="11972" y="7009"/>
                </a:lnTo>
                <a:lnTo>
                  <a:pt x="12677" y="7106"/>
                </a:lnTo>
                <a:lnTo>
                  <a:pt x="13407" y="7228"/>
                </a:lnTo>
                <a:lnTo>
                  <a:pt x="14089" y="7374"/>
                </a:lnTo>
                <a:lnTo>
                  <a:pt x="14186" y="7422"/>
                </a:lnTo>
                <a:lnTo>
                  <a:pt x="14259" y="7471"/>
                </a:lnTo>
                <a:lnTo>
                  <a:pt x="14283" y="7520"/>
                </a:lnTo>
                <a:lnTo>
                  <a:pt x="14283" y="7593"/>
                </a:lnTo>
                <a:lnTo>
                  <a:pt x="14259" y="7666"/>
                </a:lnTo>
                <a:lnTo>
                  <a:pt x="14210" y="7714"/>
                </a:lnTo>
                <a:lnTo>
                  <a:pt x="14162" y="7787"/>
                </a:lnTo>
                <a:lnTo>
                  <a:pt x="14089" y="7836"/>
                </a:lnTo>
                <a:lnTo>
                  <a:pt x="13894" y="7909"/>
                </a:lnTo>
                <a:lnTo>
                  <a:pt x="13699" y="7958"/>
                </a:lnTo>
                <a:lnTo>
                  <a:pt x="13310" y="8030"/>
                </a:lnTo>
                <a:lnTo>
                  <a:pt x="12775" y="8079"/>
                </a:lnTo>
                <a:lnTo>
                  <a:pt x="12750" y="8006"/>
                </a:lnTo>
                <a:lnTo>
                  <a:pt x="12677" y="7982"/>
                </a:lnTo>
                <a:lnTo>
                  <a:pt x="12215" y="7860"/>
                </a:lnTo>
                <a:lnTo>
                  <a:pt x="11753" y="7787"/>
                </a:lnTo>
                <a:lnTo>
                  <a:pt x="11290" y="7714"/>
                </a:lnTo>
                <a:lnTo>
                  <a:pt x="10804" y="7666"/>
                </a:lnTo>
                <a:lnTo>
                  <a:pt x="9855" y="7617"/>
                </a:lnTo>
                <a:lnTo>
                  <a:pt x="8906" y="7593"/>
                </a:lnTo>
                <a:lnTo>
                  <a:pt x="7884" y="7593"/>
                </a:lnTo>
                <a:lnTo>
                  <a:pt x="6862" y="7641"/>
                </a:lnTo>
                <a:lnTo>
                  <a:pt x="6424" y="7666"/>
                </a:lnTo>
                <a:lnTo>
                  <a:pt x="5986" y="7714"/>
                </a:lnTo>
                <a:lnTo>
                  <a:pt x="5767" y="7739"/>
                </a:lnTo>
                <a:lnTo>
                  <a:pt x="5548" y="7787"/>
                </a:lnTo>
                <a:lnTo>
                  <a:pt x="5353" y="7860"/>
                </a:lnTo>
                <a:lnTo>
                  <a:pt x="5159" y="7933"/>
                </a:lnTo>
                <a:lnTo>
                  <a:pt x="5159" y="7958"/>
                </a:lnTo>
                <a:lnTo>
                  <a:pt x="5159" y="7982"/>
                </a:lnTo>
                <a:lnTo>
                  <a:pt x="5207" y="8006"/>
                </a:lnTo>
                <a:lnTo>
                  <a:pt x="5207" y="8006"/>
                </a:lnTo>
                <a:lnTo>
                  <a:pt x="4696" y="7958"/>
                </a:lnTo>
                <a:lnTo>
                  <a:pt x="4331" y="7933"/>
                </a:lnTo>
                <a:lnTo>
                  <a:pt x="3869" y="7909"/>
                </a:lnTo>
                <a:lnTo>
                  <a:pt x="3626" y="7860"/>
                </a:lnTo>
                <a:lnTo>
                  <a:pt x="3431" y="7787"/>
                </a:lnTo>
                <a:lnTo>
                  <a:pt x="3334" y="7739"/>
                </a:lnTo>
                <a:lnTo>
                  <a:pt x="3261" y="7666"/>
                </a:lnTo>
                <a:lnTo>
                  <a:pt x="3212" y="7617"/>
                </a:lnTo>
                <a:lnTo>
                  <a:pt x="3163" y="7520"/>
                </a:lnTo>
                <a:lnTo>
                  <a:pt x="3261" y="7471"/>
                </a:lnTo>
                <a:lnTo>
                  <a:pt x="3358" y="7398"/>
                </a:lnTo>
                <a:lnTo>
                  <a:pt x="3577" y="7325"/>
                </a:lnTo>
                <a:lnTo>
                  <a:pt x="3820" y="7301"/>
                </a:lnTo>
                <a:lnTo>
                  <a:pt x="4064" y="7276"/>
                </a:lnTo>
                <a:lnTo>
                  <a:pt x="5548" y="7130"/>
                </a:lnTo>
                <a:lnTo>
                  <a:pt x="6935" y="7009"/>
                </a:lnTo>
                <a:lnTo>
                  <a:pt x="8322" y="6936"/>
                </a:lnTo>
                <a:lnTo>
                  <a:pt x="9052" y="6911"/>
                </a:lnTo>
                <a:close/>
                <a:moveTo>
                  <a:pt x="7032" y="7933"/>
                </a:moveTo>
                <a:lnTo>
                  <a:pt x="6935" y="8079"/>
                </a:lnTo>
                <a:lnTo>
                  <a:pt x="6935" y="8103"/>
                </a:lnTo>
                <a:lnTo>
                  <a:pt x="6765" y="8079"/>
                </a:lnTo>
                <a:lnTo>
                  <a:pt x="6789" y="8030"/>
                </a:lnTo>
                <a:lnTo>
                  <a:pt x="6862" y="7958"/>
                </a:lnTo>
                <a:lnTo>
                  <a:pt x="6862" y="7933"/>
                </a:lnTo>
                <a:close/>
                <a:moveTo>
                  <a:pt x="7519" y="7909"/>
                </a:moveTo>
                <a:lnTo>
                  <a:pt x="7470" y="8006"/>
                </a:lnTo>
                <a:lnTo>
                  <a:pt x="7421" y="8103"/>
                </a:lnTo>
                <a:lnTo>
                  <a:pt x="7275" y="8103"/>
                </a:lnTo>
                <a:lnTo>
                  <a:pt x="7348" y="8006"/>
                </a:lnTo>
                <a:lnTo>
                  <a:pt x="7421" y="7909"/>
                </a:lnTo>
                <a:close/>
                <a:moveTo>
                  <a:pt x="8054" y="7909"/>
                </a:moveTo>
                <a:lnTo>
                  <a:pt x="7981" y="8006"/>
                </a:lnTo>
                <a:lnTo>
                  <a:pt x="7908" y="8103"/>
                </a:lnTo>
                <a:lnTo>
                  <a:pt x="7908" y="8128"/>
                </a:lnTo>
                <a:lnTo>
                  <a:pt x="7665" y="8128"/>
                </a:lnTo>
                <a:lnTo>
                  <a:pt x="7689" y="8030"/>
                </a:lnTo>
                <a:lnTo>
                  <a:pt x="7786" y="7909"/>
                </a:lnTo>
                <a:close/>
                <a:moveTo>
                  <a:pt x="8468" y="7909"/>
                </a:moveTo>
                <a:lnTo>
                  <a:pt x="8395" y="8006"/>
                </a:lnTo>
                <a:lnTo>
                  <a:pt x="8322" y="8128"/>
                </a:lnTo>
                <a:lnTo>
                  <a:pt x="8224" y="8128"/>
                </a:lnTo>
                <a:lnTo>
                  <a:pt x="8322" y="7909"/>
                </a:lnTo>
                <a:close/>
                <a:moveTo>
                  <a:pt x="8784" y="7909"/>
                </a:moveTo>
                <a:lnTo>
                  <a:pt x="8662" y="8128"/>
                </a:lnTo>
                <a:lnTo>
                  <a:pt x="8541" y="8128"/>
                </a:lnTo>
                <a:lnTo>
                  <a:pt x="8589" y="7909"/>
                </a:lnTo>
                <a:close/>
                <a:moveTo>
                  <a:pt x="10171" y="7958"/>
                </a:moveTo>
                <a:lnTo>
                  <a:pt x="10122" y="8006"/>
                </a:lnTo>
                <a:lnTo>
                  <a:pt x="10001" y="8128"/>
                </a:lnTo>
                <a:lnTo>
                  <a:pt x="9976" y="8128"/>
                </a:lnTo>
                <a:lnTo>
                  <a:pt x="10049" y="7958"/>
                </a:lnTo>
                <a:close/>
                <a:moveTo>
                  <a:pt x="10414" y="7982"/>
                </a:moveTo>
                <a:lnTo>
                  <a:pt x="10585" y="8006"/>
                </a:lnTo>
                <a:lnTo>
                  <a:pt x="10585" y="8055"/>
                </a:lnTo>
                <a:lnTo>
                  <a:pt x="10560" y="8128"/>
                </a:lnTo>
                <a:lnTo>
                  <a:pt x="10341" y="8128"/>
                </a:lnTo>
                <a:lnTo>
                  <a:pt x="10414" y="7982"/>
                </a:lnTo>
                <a:close/>
                <a:moveTo>
                  <a:pt x="10779" y="8006"/>
                </a:moveTo>
                <a:lnTo>
                  <a:pt x="11485" y="8103"/>
                </a:lnTo>
                <a:lnTo>
                  <a:pt x="10804" y="8128"/>
                </a:lnTo>
                <a:lnTo>
                  <a:pt x="10779" y="8055"/>
                </a:lnTo>
                <a:lnTo>
                  <a:pt x="10779" y="8006"/>
                </a:lnTo>
                <a:close/>
                <a:moveTo>
                  <a:pt x="9319" y="7909"/>
                </a:moveTo>
                <a:lnTo>
                  <a:pt x="9222" y="8030"/>
                </a:lnTo>
                <a:lnTo>
                  <a:pt x="9125" y="8152"/>
                </a:lnTo>
                <a:lnTo>
                  <a:pt x="8979" y="8152"/>
                </a:lnTo>
                <a:lnTo>
                  <a:pt x="9027" y="7909"/>
                </a:lnTo>
                <a:close/>
                <a:moveTo>
                  <a:pt x="9417" y="7909"/>
                </a:moveTo>
                <a:lnTo>
                  <a:pt x="9952" y="7958"/>
                </a:lnTo>
                <a:lnTo>
                  <a:pt x="9855" y="8103"/>
                </a:lnTo>
                <a:lnTo>
                  <a:pt x="9855" y="8128"/>
                </a:lnTo>
                <a:lnTo>
                  <a:pt x="9611" y="8128"/>
                </a:lnTo>
                <a:lnTo>
                  <a:pt x="9660" y="8030"/>
                </a:lnTo>
                <a:lnTo>
                  <a:pt x="9660" y="7982"/>
                </a:lnTo>
                <a:lnTo>
                  <a:pt x="9636" y="7958"/>
                </a:lnTo>
                <a:lnTo>
                  <a:pt x="9611" y="7933"/>
                </a:lnTo>
                <a:lnTo>
                  <a:pt x="9563" y="7958"/>
                </a:lnTo>
                <a:lnTo>
                  <a:pt x="9441" y="8103"/>
                </a:lnTo>
                <a:lnTo>
                  <a:pt x="9417" y="8152"/>
                </a:lnTo>
                <a:lnTo>
                  <a:pt x="9344" y="8152"/>
                </a:lnTo>
                <a:lnTo>
                  <a:pt x="9417" y="7933"/>
                </a:lnTo>
                <a:lnTo>
                  <a:pt x="9417" y="7909"/>
                </a:lnTo>
                <a:close/>
                <a:moveTo>
                  <a:pt x="1874" y="8955"/>
                </a:moveTo>
                <a:lnTo>
                  <a:pt x="2117" y="9004"/>
                </a:lnTo>
                <a:lnTo>
                  <a:pt x="2360" y="9052"/>
                </a:lnTo>
                <a:lnTo>
                  <a:pt x="2604" y="9052"/>
                </a:lnTo>
                <a:lnTo>
                  <a:pt x="2823" y="10342"/>
                </a:lnTo>
                <a:lnTo>
                  <a:pt x="3115" y="11607"/>
                </a:lnTo>
                <a:lnTo>
                  <a:pt x="3309" y="12362"/>
                </a:lnTo>
                <a:lnTo>
                  <a:pt x="3309" y="12362"/>
                </a:lnTo>
                <a:lnTo>
                  <a:pt x="3163" y="12167"/>
                </a:lnTo>
                <a:lnTo>
                  <a:pt x="2993" y="11997"/>
                </a:lnTo>
                <a:lnTo>
                  <a:pt x="2823" y="11826"/>
                </a:lnTo>
                <a:lnTo>
                  <a:pt x="2628" y="11656"/>
                </a:lnTo>
                <a:lnTo>
                  <a:pt x="2385" y="11486"/>
                </a:lnTo>
                <a:lnTo>
                  <a:pt x="2117" y="11315"/>
                </a:lnTo>
                <a:lnTo>
                  <a:pt x="1825" y="11145"/>
                </a:lnTo>
                <a:lnTo>
                  <a:pt x="1557" y="10950"/>
                </a:lnTo>
                <a:lnTo>
                  <a:pt x="1338" y="10731"/>
                </a:lnTo>
                <a:lnTo>
                  <a:pt x="1217" y="10610"/>
                </a:lnTo>
                <a:lnTo>
                  <a:pt x="1144" y="10464"/>
                </a:lnTo>
                <a:lnTo>
                  <a:pt x="1071" y="10342"/>
                </a:lnTo>
                <a:lnTo>
                  <a:pt x="998" y="10196"/>
                </a:lnTo>
                <a:lnTo>
                  <a:pt x="973" y="10050"/>
                </a:lnTo>
                <a:lnTo>
                  <a:pt x="949" y="9880"/>
                </a:lnTo>
                <a:lnTo>
                  <a:pt x="949" y="9734"/>
                </a:lnTo>
                <a:lnTo>
                  <a:pt x="998" y="9563"/>
                </a:lnTo>
                <a:lnTo>
                  <a:pt x="1046" y="9442"/>
                </a:lnTo>
                <a:lnTo>
                  <a:pt x="1119" y="9320"/>
                </a:lnTo>
                <a:lnTo>
                  <a:pt x="1241" y="9198"/>
                </a:lnTo>
                <a:lnTo>
                  <a:pt x="1338" y="9101"/>
                </a:lnTo>
                <a:lnTo>
                  <a:pt x="1484" y="9028"/>
                </a:lnTo>
                <a:lnTo>
                  <a:pt x="1630" y="8979"/>
                </a:lnTo>
                <a:lnTo>
                  <a:pt x="1752" y="8955"/>
                </a:lnTo>
                <a:close/>
                <a:moveTo>
                  <a:pt x="14137" y="15525"/>
                </a:moveTo>
                <a:lnTo>
                  <a:pt x="14405" y="15598"/>
                </a:lnTo>
                <a:lnTo>
                  <a:pt x="14405" y="15720"/>
                </a:lnTo>
                <a:lnTo>
                  <a:pt x="14405" y="15841"/>
                </a:lnTo>
                <a:lnTo>
                  <a:pt x="14381" y="15939"/>
                </a:lnTo>
                <a:lnTo>
                  <a:pt x="14356" y="16012"/>
                </a:lnTo>
                <a:lnTo>
                  <a:pt x="14283" y="16060"/>
                </a:lnTo>
                <a:lnTo>
                  <a:pt x="14235" y="16085"/>
                </a:lnTo>
                <a:lnTo>
                  <a:pt x="14137" y="16109"/>
                </a:lnTo>
                <a:lnTo>
                  <a:pt x="14040" y="16109"/>
                </a:lnTo>
                <a:lnTo>
                  <a:pt x="13529" y="16133"/>
                </a:lnTo>
                <a:lnTo>
                  <a:pt x="13018" y="16133"/>
                </a:lnTo>
                <a:lnTo>
                  <a:pt x="13213" y="15866"/>
                </a:lnTo>
                <a:lnTo>
                  <a:pt x="13383" y="15549"/>
                </a:lnTo>
                <a:lnTo>
                  <a:pt x="13797" y="15549"/>
                </a:lnTo>
                <a:lnTo>
                  <a:pt x="14137" y="15525"/>
                </a:lnTo>
                <a:close/>
                <a:moveTo>
                  <a:pt x="4623" y="15379"/>
                </a:moveTo>
                <a:lnTo>
                  <a:pt x="4891" y="15768"/>
                </a:lnTo>
                <a:lnTo>
                  <a:pt x="5183" y="16157"/>
                </a:lnTo>
                <a:lnTo>
                  <a:pt x="5183" y="16157"/>
                </a:lnTo>
                <a:lnTo>
                  <a:pt x="3796" y="16085"/>
                </a:lnTo>
                <a:lnTo>
                  <a:pt x="3674" y="16109"/>
                </a:lnTo>
                <a:lnTo>
                  <a:pt x="3577" y="16060"/>
                </a:lnTo>
                <a:lnTo>
                  <a:pt x="3504" y="15987"/>
                </a:lnTo>
                <a:lnTo>
                  <a:pt x="3455" y="15841"/>
                </a:lnTo>
                <a:lnTo>
                  <a:pt x="3772" y="15695"/>
                </a:lnTo>
                <a:lnTo>
                  <a:pt x="4185" y="15525"/>
                </a:lnTo>
                <a:lnTo>
                  <a:pt x="4623" y="15379"/>
                </a:lnTo>
                <a:close/>
                <a:moveTo>
                  <a:pt x="3017" y="7982"/>
                </a:moveTo>
                <a:lnTo>
                  <a:pt x="3163" y="8079"/>
                </a:lnTo>
                <a:lnTo>
                  <a:pt x="3309" y="8152"/>
                </a:lnTo>
                <a:lnTo>
                  <a:pt x="3480" y="8201"/>
                </a:lnTo>
                <a:lnTo>
                  <a:pt x="3650" y="8249"/>
                </a:lnTo>
                <a:lnTo>
                  <a:pt x="3991" y="8298"/>
                </a:lnTo>
                <a:lnTo>
                  <a:pt x="4331" y="8322"/>
                </a:lnTo>
                <a:lnTo>
                  <a:pt x="5329" y="8420"/>
                </a:lnTo>
                <a:lnTo>
                  <a:pt x="6302" y="8493"/>
                </a:lnTo>
                <a:lnTo>
                  <a:pt x="7300" y="8541"/>
                </a:lnTo>
                <a:lnTo>
                  <a:pt x="8297" y="8566"/>
                </a:lnTo>
                <a:lnTo>
                  <a:pt x="10293" y="8566"/>
                </a:lnTo>
                <a:lnTo>
                  <a:pt x="12288" y="8517"/>
                </a:lnTo>
                <a:lnTo>
                  <a:pt x="13067" y="8493"/>
                </a:lnTo>
                <a:lnTo>
                  <a:pt x="13432" y="8468"/>
                </a:lnTo>
                <a:lnTo>
                  <a:pt x="13821" y="8395"/>
                </a:lnTo>
                <a:lnTo>
                  <a:pt x="14016" y="8347"/>
                </a:lnTo>
                <a:lnTo>
                  <a:pt x="14235" y="8249"/>
                </a:lnTo>
                <a:lnTo>
                  <a:pt x="14454" y="8152"/>
                </a:lnTo>
                <a:lnTo>
                  <a:pt x="14648" y="8006"/>
                </a:lnTo>
                <a:lnTo>
                  <a:pt x="14648" y="8931"/>
                </a:lnTo>
                <a:lnTo>
                  <a:pt x="14478" y="8931"/>
                </a:lnTo>
                <a:lnTo>
                  <a:pt x="14308" y="8955"/>
                </a:lnTo>
                <a:lnTo>
                  <a:pt x="13943" y="9052"/>
                </a:lnTo>
                <a:lnTo>
                  <a:pt x="13334" y="9174"/>
                </a:lnTo>
                <a:lnTo>
                  <a:pt x="12726" y="9247"/>
                </a:lnTo>
                <a:lnTo>
                  <a:pt x="12458" y="9271"/>
                </a:lnTo>
                <a:lnTo>
                  <a:pt x="12191" y="9271"/>
                </a:lnTo>
                <a:lnTo>
                  <a:pt x="11655" y="9247"/>
                </a:lnTo>
                <a:lnTo>
                  <a:pt x="10585" y="9247"/>
                </a:lnTo>
                <a:lnTo>
                  <a:pt x="10536" y="9271"/>
                </a:lnTo>
                <a:lnTo>
                  <a:pt x="10536" y="9296"/>
                </a:lnTo>
                <a:lnTo>
                  <a:pt x="10536" y="9344"/>
                </a:lnTo>
                <a:lnTo>
                  <a:pt x="10560" y="9369"/>
                </a:lnTo>
                <a:lnTo>
                  <a:pt x="10828" y="9442"/>
                </a:lnTo>
                <a:lnTo>
                  <a:pt x="11096" y="9490"/>
                </a:lnTo>
                <a:lnTo>
                  <a:pt x="11363" y="9539"/>
                </a:lnTo>
                <a:lnTo>
                  <a:pt x="11631" y="9563"/>
                </a:lnTo>
                <a:lnTo>
                  <a:pt x="12191" y="9539"/>
                </a:lnTo>
                <a:lnTo>
                  <a:pt x="12726" y="9515"/>
                </a:lnTo>
                <a:lnTo>
                  <a:pt x="13213" y="9490"/>
                </a:lnTo>
                <a:lnTo>
                  <a:pt x="13724" y="9417"/>
                </a:lnTo>
                <a:lnTo>
                  <a:pt x="13967" y="9369"/>
                </a:lnTo>
                <a:lnTo>
                  <a:pt x="14210" y="9320"/>
                </a:lnTo>
                <a:lnTo>
                  <a:pt x="14429" y="9223"/>
                </a:lnTo>
                <a:lnTo>
                  <a:pt x="14648" y="9125"/>
                </a:lnTo>
                <a:lnTo>
                  <a:pt x="14648" y="9125"/>
                </a:lnTo>
                <a:lnTo>
                  <a:pt x="14600" y="9612"/>
                </a:lnTo>
                <a:lnTo>
                  <a:pt x="13748" y="9855"/>
                </a:lnTo>
                <a:lnTo>
                  <a:pt x="13310" y="9977"/>
                </a:lnTo>
                <a:lnTo>
                  <a:pt x="12872" y="10050"/>
                </a:lnTo>
                <a:lnTo>
                  <a:pt x="12410" y="10050"/>
                </a:lnTo>
                <a:lnTo>
                  <a:pt x="11947" y="10026"/>
                </a:lnTo>
                <a:lnTo>
                  <a:pt x="11485" y="9977"/>
                </a:lnTo>
                <a:lnTo>
                  <a:pt x="11266" y="9977"/>
                </a:lnTo>
                <a:lnTo>
                  <a:pt x="11047" y="10001"/>
                </a:lnTo>
                <a:lnTo>
                  <a:pt x="10974" y="10026"/>
                </a:lnTo>
                <a:lnTo>
                  <a:pt x="10950" y="10074"/>
                </a:lnTo>
                <a:lnTo>
                  <a:pt x="10950" y="10123"/>
                </a:lnTo>
                <a:lnTo>
                  <a:pt x="10998" y="10172"/>
                </a:lnTo>
                <a:lnTo>
                  <a:pt x="11217" y="10293"/>
                </a:lnTo>
                <a:lnTo>
                  <a:pt x="11461" y="10366"/>
                </a:lnTo>
                <a:lnTo>
                  <a:pt x="11704" y="10439"/>
                </a:lnTo>
                <a:lnTo>
                  <a:pt x="11996" y="10464"/>
                </a:lnTo>
                <a:lnTo>
                  <a:pt x="12264" y="10464"/>
                </a:lnTo>
                <a:lnTo>
                  <a:pt x="12531" y="10439"/>
                </a:lnTo>
                <a:lnTo>
                  <a:pt x="13042" y="10415"/>
                </a:lnTo>
                <a:lnTo>
                  <a:pt x="13432" y="10342"/>
                </a:lnTo>
                <a:lnTo>
                  <a:pt x="13821" y="10269"/>
                </a:lnTo>
                <a:lnTo>
                  <a:pt x="14210" y="10123"/>
                </a:lnTo>
                <a:lnTo>
                  <a:pt x="14551" y="9953"/>
                </a:lnTo>
                <a:lnTo>
                  <a:pt x="14551" y="10074"/>
                </a:lnTo>
                <a:lnTo>
                  <a:pt x="14454" y="10537"/>
                </a:lnTo>
                <a:lnTo>
                  <a:pt x="14113" y="10585"/>
                </a:lnTo>
                <a:lnTo>
                  <a:pt x="13772" y="10658"/>
                </a:lnTo>
                <a:lnTo>
                  <a:pt x="13456" y="10756"/>
                </a:lnTo>
                <a:lnTo>
                  <a:pt x="13140" y="10829"/>
                </a:lnTo>
                <a:lnTo>
                  <a:pt x="12702" y="10853"/>
                </a:lnTo>
                <a:lnTo>
                  <a:pt x="12264" y="10902"/>
                </a:lnTo>
                <a:lnTo>
                  <a:pt x="11826" y="10950"/>
                </a:lnTo>
                <a:lnTo>
                  <a:pt x="11607" y="10999"/>
                </a:lnTo>
                <a:lnTo>
                  <a:pt x="11412" y="11072"/>
                </a:lnTo>
                <a:lnTo>
                  <a:pt x="11388" y="11096"/>
                </a:lnTo>
                <a:lnTo>
                  <a:pt x="11412" y="11121"/>
                </a:lnTo>
                <a:lnTo>
                  <a:pt x="11607" y="11218"/>
                </a:lnTo>
                <a:lnTo>
                  <a:pt x="11826" y="11267"/>
                </a:lnTo>
                <a:lnTo>
                  <a:pt x="12045" y="11291"/>
                </a:lnTo>
                <a:lnTo>
                  <a:pt x="12288" y="11291"/>
                </a:lnTo>
                <a:lnTo>
                  <a:pt x="12750" y="11242"/>
                </a:lnTo>
                <a:lnTo>
                  <a:pt x="13188" y="11194"/>
                </a:lnTo>
                <a:lnTo>
                  <a:pt x="13748" y="11121"/>
                </a:lnTo>
                <a:lnTo>
                  <a:pt x="14064" y="11048"/>
                </a:lnTo>
                <a:lnTo>
                  <a:pt x="14356" y="10950"/>
                </a:lnTo>
                <a:lnTo>
                  <a:pt x="14162" y="11729"/>
                </a:lnTo>
                <a:lnTo>
                  <a:pt x="13845" y="11753"/>
                </a:lnTo>
                <a:lnTo>
                  <a:pt x="13553" y="11778"/>
                </a:lnTo>
                <a:lnTo>
                  <a:pt x="12921" y="11875"/>
                </a:lnTo>
                <a:lnTo>
                  <a:pt x="12653" y="11875"/>
                </a:lnTo>
                <a:lnTo>
                  <a:pt x="12337" y="11899"/>
                </a:lnTo>
                <a:lnTo>
                  <a:pt x="12191" y="11899"/>
                </a:lnTo>
                <a:lnTo>
                  <a:pt x="12069" y="11948"/>
                </a:lnTo>
                <a:lnTo>
                  <a:pt x="11923" y="11997"/>
                </a:lnTo>
                <a:lnTo>
                  <a:pt x="11801" y="12070"/>
                </a:lnTo>
                <a:lnTo>
                  <a:pt x="11801" y="12094"/>
                </a:lnTo>
                <a:lnTo>
                  <a:pt x="11801" y="12118"/>
                </a:lnTo>
                <a:lnTo>
                  <a:pt x="11923" y="12191"/>
                </a:lnTo>
                <a:lnTo>
                  <a:pt x="12069" y="12240"/>
                </a:lnTo>
                <a:lnTo>
                  <a:pt x="12191" y="12264"/>
                </a:lnTo>
                <a:lnTo>
                  <a:pt x="12653" y="12264"/>
                </a:lnTo>
                <a:lnTo>
                  <a:pt x="12921" y="12216"/>
                </a:lnTo>
                <a:lnTo>
                  <a:pt x="13505" y="12167"/>
                </a:lnTo>
                <a:lnTo>
                  <a:pt x="13772" y="12143"/>
                </a:lnTo>
                <a:lnTo>
                  <a:pt x="14064" y="12070"/>
                </a:lnTo>
                <a:lnTo>
                  <a:pt x="14064" y="12070"/>
                </a:lnTo>
                <a:lnTo>
                  <a:pt x="13943" y="12483"/>
                </a:lnTo>
                <a:lnTo>
                  <a:pt x="13845" y="12848"/>
                </a:lnTo>
                <a:lnTo>
                  <a:pt x="13724" y="12800"/>
                </a:lnTo>
                <a:lnTo>
                  <a:pt x="13626" y="12775"/>
                </a:lnTo>
                <a:lnTo>
                  <a:pt x="13383" y="12775"/>
                </a:lnTo>
                <a:lnTo>
                  <a:pt x="12896" y="12848"/>
                </a:lnTo>
                <a:lnTo>
                  <a:pt x="12337" y="12897"/>
                </a:lnTo>
                <a:lnTo>
                  <a:pt x="12069" y="12946"/>
                </a:lnTo>
                <a:lnTo>
                  <a:pt x="11777" y="13043"/>
                </a:lnTo>
                <a:lnTo>
                  <a:pt x="11753" y="13067"/>
                </a:lnTo>
                <a:lnTo>
                  <a:pt x="11753" y="13116"/>
                </a:lnTo>
                <a:lnTo>
                  <a:pt x="11777" y="13165"/>
                </a:lnTo>
                <a:lnTo>
                  <a:pt x="11801" y="13189"/>
                </a:lnTo>
                <a:lnTo>
                  <a:pt x="12069" y="13238"/>
                </a:lnTo>
                <a:lnTo>
                  <a:pt x="12361" y="13238"/>
                </a:lnTo>
                <a:lnTo>
                  <a:pt x="12896" y="13213"/>
                </a:lnTo>
                <a:lnTo>
                  <a:pt x="13334" y="13189"/>
                </a:lnTo>
                <a:lnTo>
                  <a:pt x="13578" y="13165"/>
                </a:lnTo>
                <a:lnTo>
                  <a:pt x="13675" y="13140"/>
                </a:lnTo>
                <a:lnTo>
                  <a:pt x="13772" y="13092"/>
                </a:lnTo>
                <a:lnTo>
                  <a:pt x="13772" y="13092"/>
                </a:lnTo>
                <a:lnTo>
                  <a:pt x="13505" y="13870"/>
                </a:lnTo>
                <a:lnTo>
                  <a:pt x="13310" y="13870"/>
                </a:lnTo>
                <a:lnTo>
                  <a:pt x="13115" y="13895"/>
                </a:lnTo>
                <a:lnTo>
                  <a:pt x="12896" y="13919"/>
                </a:lnTo>
                <a:lnTo>
                  <a:pt x="12702" y="13943"/>
                </a:lnTo>
                <a:lnTo>
                  <a:pt x="12483" y="13943"/>
                </a:lnTo>
                <a:lnTo>
                  <a:pt x="12239" y="13919"/>
                </a:lnTo>
                <a:lnTo>
                  <a:pt x="11777" y="13870"/>
                </a:lnTo>
                <a:lnTo>
                  <a:pt x="11753" y="13895"/>
                </a:lnTo>
                <a:lnTo>
                  <a:pt x="11753" y="13919"/>
                </a:lnTo>
                <a:lnTo>
                  <a:pt x="11947" y="14041"/>
                </a:lnTo>
                <a:lnTo>
                  <a:pt x="12142" y="14138"/>
                </a:lnTo>
                <a:lnTo>
                  <a:pt x="12361" y="14187"/>
                </a:lnTo>
                <a:lnTo>
                  <a:pt x="12604" y="14211"/>
                </a:lnTo>
                <a:lnTo>
                  <a:pt x="12775" y="14235"/>
                </a:lnTo>
                <a:lnTo>
                  <a:pt x="13188" y="14235"/>
                </a:lnTo>
                <a:lnTo>
                  <a:pt x="13383" y="14187"/>
                </a:lnTo>
                <a:lnTo>
                  <a:pt x="13383" y="14187"/>
                </a:lnTo>
                <a:lnTo>
                  <a:pt x="13286" y="14430"/>
                </a:lnTo>
                <a:lnTo>
                  <a:pt x="13261" y="14454"/>
                </a:lnTo>
                <a:lnTo>
                  <a:pt x="13237" y="14479"/>
                </a:lnTo>
                <a:lnTo>
                  <a:pt x="13213" y="14576"/>
                </a:lnTo>
                <a:lnTo>
                  <a:pt x="13140" y="14527"/>
                </a:lnTo>
                <a:lnTo>
                  <a:pt x="12872" y="14527"/>
                </a:lnTo>
                <a:lnTo>
                  <a:pt x="12507" y="14552"/>
                </a:lnTo>
                <a:lnTo>
                  <a:pt x="12288" y="14552"/>
                </a:lnTo>
                <a:lnTo>
                  <a:pt x="12069" y="14503"/>
                </a:lnTo>
                <a:lnTo>
                  <a:pt x="11850" y="14479"/>
                </a:lnTo>
                <a:lnTo>
                  <a:pt x="11631" y="14454"/>
                </a:lnTo>
                <a:lnTo>
                  <a:pt x="11582" y="14479"/>
                </a:lnTo>
                <a:lnTo>
                  <a:pt x="11558" y="14503"/>
                </a:lnTo>
                <a:lnTo>
                  <a:pt x="11558" y="14552"/>
                </a:lnTo>
                <a:lnTo>
                  <a:pt x="11582" y="14600"/>
                </a:lnTo>
                <a:lnTo>
                  <a:pt x="11655" y="14673"/>
                </a:lnTo>
                <a:lnTo>
                  <a:pt x="11753" y="14746"/>
                </a:lnTo>
                <a:lnTo>
                  <a:pt x="11947" y="14844"/>
                </a:lnTo>
                <a:lnTo>
                  <a:pt x="12166" y="14917"/>
                </a:lnTo>
                <a:lnTo>
                  <a:pt x="12410" y="14941"/>
                </a:lnTo>
                <a:lnTo>
                  <a:pt x="12750" y="14941"/>
                </a:lnTo>
                <a:lnTo>
                  <a:pt x="12945" y="14892"/>
                </a:lnTo>
                <a:lnTo>
                  <a:pt x="13115" y="14819"/>
                </a:lnTo>
                <a:lnTo>
                  <a:pt x="12872" y="15257"/>
                </a:lnTo>
                <a:lnTo>
                  <a:pt x="12750" y="15233"/>
                </a:lnTo>
                <a:lnTo>
                  <a:pt x="12629" y="15257"/>
                </a:lnTo>
                <a:lnTo>
                  <a:pt x="12385" y="15257"/>
                </a:lnTo>
                <a:lnTo>
                  <a:pt x="12191" y="15233"/>
                </a:lnTo>
                <a:lnTo>
                  <a:pt x="11996" y="15209"/>
                </a:lnTo>
                <a:lnTo>
                  <a:pt x="11801" y="15184"/>
                </a:lnTo>
                <a:lnTo>
                  <a:pt x="11631" y="15184"/>
                </a:lnTo>
                <a:lnTo>
                  <a:pt x="11582" y="15209"/>
                </a:lnTo>
                <a:lnTo>
                  <a:pt x="11607" y="15257"/>
                </a:lnTo>
                <a:lnTo>
                  <a:pt x="11655" y="15330"/>
                </a:lnTo>
                <a:lnTo>
                  <a:pt x="11728" y="15403"/>
                </a:lnTo>
                <a:lnTo>
                  <a:pt x="11801" y="15476"/>
                </a:lnTo>
                <a:lnTo>
                  <a:pt x="11899" y="15525"/>
                </a:lnTo>
                <a:lnTo>
                  <a:pt x="12093" y="15574"/>
                </a:lnTo>
                <a:lnTo>
                  <a:pt x="12288" y="15598"/>
                </a:lnTo>
                <a:lnTo>
                  <a:pt x="12458" y="15622"/>
                </a:lnTo>
                <a:lnTo>
                  <a:pt x="12653" y="15622"/>
                </a:lnTo>
                <a:lnTo>
                  <a:pt x="12458" y="15890"/>
                </a:lnTo>
                <a:lnTo>
                  <a:pt x="12264" y="15866"/>
                </a:lnTo>
                <a:lnTo>
                  <a:pt x="12045" y="15890"/>
                </a:lnTo>
                <a:lnTo>
                  <a:pt x="11826" y="15866"/>
                </a:lnTo>
                <a:lnTo>
                  <a:pt x="11631" y="15841"/>
                </a:lnTo>
                <a:lnTo>
                  <a:pt x="11558" y="15841"/>
                </a:lnTo>
                <a:lnTo>
                  <a:pt x="11461" y="15890"/>
                </a:lnTo>
                <a:lnTo>
                  <a:pt x="11509" y="15987"/>
                </a:lnTo>
                <a:lnTo>
                  <a:pt x="11607" y="16060"/>
                </a:lnTo>
                <a:lnTo>
                  <a:pt x="11728" y="16133"/>
                </a:lnTo>
                <a:lnTo>
                  <a:pt x="11850" y="16157"/>
                </a:lnTo>
                <a:lnTo>
                  <a:pt x="8930" y="16206"/>
                </a:lnTo>
                <a:lnTo>
                  <a:pt x="7324" y="16206"/>
                </a:lnTo>
                <a:lnTo>
                  <a:pt x="5694" y="16182"/>
                </a:lnTo>
                <a:lnTo>
                  <a:pt x="5718" y="16109"/>
                </a:lnTo>
                <a:lnTo>
                  <a:pt x="5718" y="16036"/>
                </a:lnTo>
                <a:lnTo>
                  <a:pt x="5694" y="15963"/>
                </a:lnTo>
                <a:lnTo>
                  <a:pt x="5645" y="15890"/>
                </a:lnTo>
                <a:lnTo>
                  <a:pt x="5305" y="15428"/>
                </a:lnTo>
                <a:lnTo>
                  <a:pt x="5013" y="14965"/>
                </a:lnTo>
                <a:lnTo>
                  <a:pt x="4721" y="14454"/>
                </a:lnTo>
                <a:lnTo>
                  <a:pt x="4477" y="13968"/>
                </a:lnTo>
                <a:lnTo>
                  <a:pt x="4258" y="13432"/>
                </a:lnTo>
                <a:lnTo>
                  <a:pt x="4064" y="12897"/>
                </a:lnTo>
                <a:lnTo>
                  <a:pt x="3869" y="12362"/>
                </a:lnTo>
                <a:lnTo>
                  <a:pt x="3723" y="11826"/>
                </a:lnTo>
                <a:lnTo>
                  <a:pt x="3553" y="11267"/>
                </a:lnTo>
                <a:lnTo>
                  <a:pt x="3431" y="10683"/>
                </a:lnTo>
                <a:lnTo>
                  <a:pt x="3163" y="9539"/>
                </a:lnTo>
                <a:lnTo>
                  <a:pt x="3090" y="9125"/>
                </a:lnTo>
                <a:lnTo>
                  <a:pt x="3042" y="8736"/>
                </a:lnTo>
                <a:lnTo>
                  <a:pt x="3017" y="8371"/>
                </a:lnTo>
                <a:lnTo>
                  <a:pt x="3017" y="7982"/>
                </a:lnTo>
                <a:close/>
                <a:moveTo>
                  <a:pt x="4258" y="14746"/>
                </a:moveTo>
                <a:lnTo>
                  <a:pt x="4502" y="15209"/>
                </a:lnTo>
                <a:lnTo>
                  <a:pt x="4064" y="15257"/>
                </a:lnTo>
                <a:lnTo>
                  <a:pt x="3626" y="15379"/>
                </a:lnTo>
                <a:lnTo>
                  <a:pt x="3455" y="15428"/>
                </a:lnTo>
                <a:lnTo>
                  <a:pt x="3285" y="15501"/>
                </a:lnTo>
                <a:lnTo>
                  <a:pt x="3115" y="15622"/>
                </a:lnTo>
                <a:lnTo>
                  <a:pt x="3042" y="15671"/>
                </a:lnTo>
                <a:lnTo>
                  <a:pt x="2993" y="15744"/>
                </a:lnTo>
                <a:lnTo>
                  <a:pt x="2944" y="15914"/>
                </a:lnTo>
                <a:lnTo>
                  <a:pt x="2944" y="16060"/>
                </a:lnTo>
                <a:lnTo>
                  <a:pt x="2993" y="16182"/>
                </a:lnTo>
                <a:lnTo>
                  <a:pt x="3066" y="16279"/>
                </a:lnTo>
                <a:lnTo>
                  <a:pt x="3163" y="16352"/>
                </a:lnTo>
                <a:lnTo>
                  <a:pt x="3309" y="16401"/>
                </a:lnTo>
                <a:lnTo>
                  <a:pt x="3455" y="16449"/>
                </a:lnTo>
                <a:lnTo>
                  <a:pt x="3601" y="16474"/>
                </a:lnTo>
                <a:lnTo>
                  <a:pt x="4283" y="16547"/>
                </a:lnTo>
                <a:lnTo>
                  <a:pt x="4988" y="16571"/>
                </a:lnTo>
                <a:lnTo>
                  <a:pt x="6375" y="16620"/>
                </a:lnTo>
                <a:lnTo>
                  <a:pt x="9125" y="16620"/>
                </a:lnTo>
                <a:lnTo>
                  <a:pt x="11801" y="16571"/>
                </a:lnTo>
                <a:lnTo>
                  <a:pt x="13018" y="16571"/>
                </a:lnTo>
                <a:lnTo>
                  <a:pt x="13626" y="16547"/>
                </a:lnTo>
                <a:lnTo>
                  <a:pt x="13943" y="16522"/>
                </a:lnTo>
                <a:lnTo>
                  <a:pt x="14235" y="16498"/>
                </a:lnTo>
                <a:lnTo>
                  <a:pt x="14381" y="16449"/>
                </a:lnTo>
                <a:lnTo>
                  <a:pt x="14527" y="16376"/>
                </a:lnTo>
                <a:lnTo>
                  <a:pt x="14673" y="16303"/>
                </a:lnTo>
                <a:lnTo>
                  <a:pt x="14819" y="16182"/>
                </a:lnTo>
                <a:lnTo>
                  <a:pt x="14916" y="16060"/>
                </a:lnTo>
                <a:lnTo>
                  <a:pt x="14965" y="15914"/>
                </a:lnTo>
                <a:lnTo>
                  <a:pt x="14965" y="15841"/>
                </a:lnTo>
                <a:lnTo>
                  <a:pt x="14965" y="15744"/>
                </a:lnTo>
                <a:lnTo>
                  <a:pt x="14940" y="15671"/>
                </a:lnTo>
                <a:lnTo>
                  <a:pt x="14916" y="15574"/>
                </a:lnTo>
                <a:lnTo>
                  <a:pt x="14794" y="15403"/>
                </a:lnTo>
                <a:lnTo>
                  <a:pt x="14648" y="15282"/>
                </a:lnTo>
                <a:lnTo>
                  <a:pt x="14478" y="15209"/>
                </a:lnTo>
                <a:lnTo>
                  <a:pt x="14308" y="15184"/>
                </a:lnTo>
                <a:lnTo>
                  <a:pt x="14137" y="15160"/>
                </a:lnTo>
                <a:lnTo>
                  <a:pt x="13553" y="15160"/>
                </a:lnTo>
                <a:lnTo>
                  <a:pt x="13699" y="14819"/>
                </a:lnTo>
                <a:lnTo>
                  <a:pt x="13724" y="14771"/>
                </a:lnTo>
                <a:lnTo>
                  <a:pt x="14454" y="14844"/>
                </a:lnTo>
                <a:lnTo>
                  <a:pt x="14794" y="14917"/>
                </a:lnTo>
                <a:lnTo>
                  <a:pt x="15135" y="14990"/>
                </a:lnTo>
                <a:lnTo>
                  <a:pt x="15500" y="15087"/>
                </a:lnTo>
                <a:lnTo>
                  <a:pt x="15816" y="15184"/>
                </a:lnTo>
                <a:lnTo>
                  <a:pt x="16157" y="15330"/>
                </a:lnTo>
                <a:lnTo>
                  <a:pt x="16497" y="15452"/>
                </a:lnTo>
                <a:lnTo>
                  <a:pt x="16741" y="15598"/>
                </a:lnTo>
                <a:lnTo>
                  <a:pt x="16911" y="15744"/>
                </a:lnTo>
                <a:lnTo>
                  <a:pt x="17033" y="15914"/>
                </a:lnTo>
                <a:lnTo>
                  <a:pt x="17081" y="16060"/>
                </a:lnTo>
                <a:lnTo>
                  <a:pt x="17081" y="16230"/>
                </a:lnTo>
                <a:lnTo>
                  <a:pt x="17008" y="16401"/>
                </a:lnTo>
                <a:lnTo>
                  <a:pt x="16911" y="16547"/>
                </a:lnTo>
                <a:lnTo>
                  <a:pt x="16789" y="16717"/>
                </a:lnTo>
                <a:lnTo>
                  <a:pt x="16643" y="16863"/>
                </a:lnTo>
                <a:lnTo>
                  <a:pt x="16449" y="17009"/>
                </a:lnTo>
                <a:lnTo>
                  <a:pt x="16059" y="17277"/>
                </a:lnTo>
                <a:lnTo>
                  <a:pt x="15670" y="17496"/>
                </a:lnTo>
                <a:lnTo>
                  <a:pt x="15305" y="17642"/>
                </a:lnTo>
                <a:lnTo>
                  <a:pt x="14965" y="17763"/>
                </a:lnTo>
                <a:lnTo>
                  <a:pt x="14600" y="17836"/>
                </a:lnTo>
                <a:lnTo>
                  <a:pt x="14259" y="17909"/>
                </a:lnTo>
                <a:lnTo>
                  <a:pt x="13894" y="17958"/>
                </a:lnTo>
                <a:lnTo>
                  <a:pt x="13140" y="18007"/>
                </a:lnTo>
                <a:lnTo>
                  <a:pt x="12410" y="18055"/>
                </a:lnTo>
                <a:lnTo>
                  <a:pt x="11558" y="18080"/>
                </a:lnTo>
                <a:lnTo>
                  <a:pt x="10706" y="18080"/>
                </a:lnTo>
                <a:lnTo>
                  <a:pt x="9027" y="18055"/>
                </a:lnTo>
                <a:lnTo>
                  <a:pt x="7324" y="18031"/>
                </a:lnTo>
                <a:lnTo>
                  <a:pt x="6473" y="18007"/>
                </a:lnTo>
                <a:lnTo>
                  <a:pt x="5645" y="17982"/>
                </a:lnTo>
                <a:lnTo>
                  <a:pt x="4794" y="17934"/>
                </a:lnTo>
                <a:lnTo>
                  <a:pt x="3942" y="17861"/>
                </a:lnTo>
                <a:lnTo>
                  <a:pt x="3115" y="17739"/>
                </a:lnTo>
                <a:lnTo>
                  <a:pt x="2287" y="17593"/>
                </a:lnTo>
                <a:lnTo>
                  <a:pt x="1898" y="17496"/>
                </a:lnTo>
                <a:lnTo>
                  <a:pt x="1509" y="17350"/>
                </a:lnTo>
                <a:lnTo>
                  <a:pt x="1168" y="17179"/>
                </a:lnTo>
                <a:lnTo>
                  <a:pt x="827" y="16985"/>
                </a:lnTo>
                <a:lnTo>
                  <a:pt x="633" y="16839"/>
                </a:lnTo>
                <a:lnTo>
                  <a:pt x="487" y="16668"/>
                </a:lnTo>
                <a:lnTo>
                  <a:pt x="365" y="16449"/>
                </a:lnTo>
                <a:lnTo>
                  <a:pt x="316" y="16328"/>
                </a:lnTo>
                <a:lnTo>
                  <a:pt x="316" y="16230"/>
                </a:lnTo>
                <a:lnTo>
                  <a:pt x="316" y="16085"/>
                </a:lnTo>
                <a:lnTo>
                  <a:pt x="341" y="15963"/>
                </a:lnTo>
                <a:lnTo>
                  <a:pt x="414" y="15866"/>
                </a:lnTo>
                <a:lnTo>
                  <a:pt x="511" y="15768"/>
                </a:lnTo>
                <a:lnTo>
                  <a:pt x="730" y="15622"/>
                </a:lnTo>
                <a:lnTo>
                  <a:pt x="949" y="15501"/>
                </a:lnTo>
                <a:lnTo>
                  <a:pt x="1314" y="15330"/>
                </a:lnTo>
                <a:lnTo>
                  <a:pt x="1728" y="15184"/>
                </a:lnTo>
                <a:lnTo>
                  <a:pt x="2141" y="15063"/>
                </a:lnTo>
                <a:lnTo>
                  <a:pt x="2555" y="14965"/>
                </a:lnTo>
                <a:lnTo>
                  <a:pt x="2993" y="14892"/>
                </a:lnTo>
                <a:lnTo>
                  <a:pt x="3407" y="14844"/>
                </a:lnTo>
                <a:lnTo>
                  <a:pt x="4258" y="14746"/>
                </a:lnTo>
                <a:close/>
                <a:moveTo>
                  <a:pt x="9076" y="6498"/>
                </a:moveTo>
                <a:lnTo>
                  <a:pt x="8103" y="6522"/>
                </a:lnTo>
                <a:lnTo>
                  <a:pt x="7129" y="6571"/>
                </a:lnTo>
                <a:lnTo>
                  <a:pt x="6156" y="6644"/>
                </a:lnTo>
                <a:lnTo>
                  <a:pt x="5183" y="6717"/>
                </a:lnTo>
                <a:lnTo>
                  <a:pt x="4526" y="6765"/>
                </a:lnTo>
                <a:lnTo>
                  <a:pt x="4161" y="6790"/>
                </a:lnTo>
                <a:lnTo>
                  <a:pt x="3796" y="6838"/>
                </a:lnTo>
                <a:lnTo>
                  <a:pt x="3431" y="6911"/>
                </a:lnTo>
                <a:lnTo>
                  <a:pt x="3285" y="6960"/>
                </a:lnTo>
                <a:lnTo>
                  <a:pt x="3115" y="7033"/>
                </a:lnTo>
                <a:lnTo>
                  <a:pt x="2993" y="7106"/>
                </a:lnTo>
                <a:lnTo>
                  <a:pt x="2847" y="7228"/>
                </a:lnTo>
                <a:lnTo>
                  <a:pt x="2750" y="7325"/>
                </a:lnTo>
                <a:lnTo>
                  <a:pt x="2652" y="7471"/>
                </a:lnTo>
                <a:lnTo>
                  <a:pt x="2628" y="7520"/>
                </a:lnTo>
                <a:lnTo>
                  <a:pt x="2628" y="7593"/>
                </a:lnTo>
                <a:lnTo>
                  <a:pt x="2652" y="7666"/>
                </a:lnTo>
                <a:lnTo>
                  <a:pt x="2579" y="7812"/>
                </a:lnTo>
                <a:lnTo>
                  <a:pt x="2555" y="7982"/>
                </a:lnTo>
                <a:lnTo>
                  <a:pt x="2531" y="8152"/>
                </a:lnTo>
                <a:lnTo>
                  <a:pt x="2506" y="8298"/>
                </a:lnTo>
                <a:lnTo>
                  <a:pt x="2360" y="8249"/>
                </a:lnTo>
                <a:lnTo>
                  <a:pt x="2214" y="8201"/>
                </a:lnTo>
                <a:lnTo>
                  <a:pt x="2044" y="8176"/>
                </a:lnTo>
                <a:lnTo>
                  <a:pt x="1874" y="8176"/>
                </a:lnTo>
                <a:lnTo>
                  <a:pt x="1557" y="8201"/>
                </a:lnTo>
                <a:lnTo>
                  <a:pt x="1265" y="8249"/>
                </a:lnTo>
                <a:lnTo>
                  <a:pt x="1046" y="8347"/>
                </a:lnTo>
                <a:lnTo>
                  <a:pt x="827" y="8468"/>
                </a:lnTo>
                <a:lnTo>
                  <a:pt x="657" y="8639"/>
                </a:lnTo>
                <a:lnTo>
                  <a:pt x="487" y="8833"/>
                </a:lnTo>
                <a:lnTo>
                  <a:pt x="365" y="9052"/>
                </a:lnTo>
                <a:lnTo>
                  <a:pt x="268" y="9271"/>
                </a:lnTo>
                <a:lnTo>
                  <a:pt x="195" y="9515"/>
                </a:lnTo>
                <a:lnTo>
                  <a:pt x="170" y="9758"/>
                </a:lnTo>
                <a:lnTo>
                  <a:pt x="170" y="10026"/>
                </a:lnTo>
                <a:lnTo>
                  <a:pt x="219" y="10293"/>
                </a:lnTo>
                <a:lnTo>
                  <a:pt x="292" y="10537"/>
                </a:lnTo>
                <a:lnTo>
                  <a:pt x="389" y="10780"/>
                </a:lnTo>
                <a:lnTo>
                  <a:pt x="535" y="10999"/>
                </a:lnTo>
                <a:lnTo>
                  <a:pt x="706" y="11194"/>
                </a:lnTo>
                <a:lnTo>
                  <a:pt x="900" y="11388"/>
                </a:lnTo>
                <a:lnTo>
                  <a:pt x="1095" y="11559"/>
                </a:lnTo>
                <a:lnTo>
                  <a:pt x="1363" y="11729"/>
                </a:lnTo>
                <a:lnTo>
                  <a:pt x="1606" y="11899"/>
                </a:lnTo>
                <a:lnTo>
                  <a:pt x="2117" y="12240"/>
                </a:lnTo>
                <a:lnTo>
                  <a:pt x="2409" y="12459"/>
                </a:lnTo>
                <a:lnTo>
                  <a:pt x="2531" y="12581"/>
                </a:lnTo>
                <a:lnTo>
                  <a:pt x="2652" y="12727"/>
                </a:lnTo>
                <a:lnTo>
                  <a:pt x="2725" y="12873"/>
                </a:lnTo>
                <a:lnTo>
                  <a:pt x="2774" y="13043"/>
                </a:lnTo>
                <a:lnTo>
                  <a:pt x="2750" y="13165"/>
                </a:lnTo>
                <a:lnTo>
                  <a:pt x="2725" y="13238"/>
                </a:lnTo>
                <a:lnTo>
                  <a:pt x="2677" y="13262"/>
                </a:lnTo>
                <a:lnTo>
                  <a:pt x="2604" y="13262"/>
                </a:lnTo>
                <a:lnTo>
                  <a:pt x="2531" y="13213"/>
                </a:lnTo>
                <a:lnTo>
                  <a:pt x="2458" y="13189"/>
                </a:lnTo>
                <a:lnTo>
                  <a:pt x="2312" y="13165"/>
                </a:lnTo>
                <a:lnTo>
                  <a:pt x="2190" y="13213"/>
                </a:lnTo>
                <a:lnTo>
                  <a:pt x="2068" y="13286"/>
                </a:lnTo>
                <a:lnTo>
                  <a:pt x="1995" y="13408"/>
                </a:lnTo>
                <a:lnTo>
                  <a:pt x="1971" y="13530"/>
                </a:lnTo>
                <a:lnTo>
                  <a:pt x="1971" y="13603"/>
                </a:lnTo>
                <a:lnTo>
                  <a:pt x="1995" y="13651"/>
                </a:lnTo>
                <a:lnTo>
                  <a:pt x="2020" y="13724"/>
                </a:lnTo>
                <a:lnTo>
                  <a:pt x="2093" y="13773"/>
                </a:lnTo>
                <a:lnTo>
                  <a:pt x="2263" y="13895"/>
                </a:lnTo>
                <a:lnTo>
                  <a:pt x="2458" y="13968"/>
                </a:lnTo>
                <a:lnTo>
                  <a:pt x="2677" y="13992"/>
                </a:lnTo>
                <a:lnTo>
                  <a:pt x="2871" y="13968"/>
                </a:lnTo>
                <a:lnTo>
                  <a:pt x="3066" y="13895"/>
                </a:lnTo>
                <a:lnTo>
                  <a:pt x="3236" y="13773"/>
                </a:lnTo>
                <a:lnTo>
                  <a:pt x="3309" y="13700"/>
                </a:lnTo>
                <a:lnTo>
                  <a:pt x="3358" y="13603"/>
                </a:lnTo>
                <a:lnTo>
                  <a:pt x="3431" y="13505"/>
                </a:lnTo>
                <a:lnTo>
                  <a:pt x="3455" y="13408"/>
                </a:lnTo>
                <a:lnTo>
                  <a:pt x="3504" y="13213"/>
                </a:lnTo>
                <a:lnTo>
                  <a:pt x="3504" y="13019"/>
                </a:lnTo>
                <a:lnTo>
                  <a:pt x="3650" y="13432"/>
                </a:lnTo>
                <a:lnTo>
                  <a:pt x="3820" y="13822"/>
                </a:lnTo>
                <a:lnTo>
                  <a:pt x="3991" y="14211"/>
                </a:lnTo>
                <a:lnTo>
                  <a:pt x="4185" y="14600"/>
                </a:lnTo>
                <a:lnTo>
                  <a:pt x="3723" y="14600"/>
                </a:lnTo>
                <a:lnTo>
                  <a:pt x="3285" y="14625"/>
                </a:lnTo>
                <a:lnTo>
                  <a:pt x="2823" y="14673"/>
                </a:lnTo>
                <a:lnTo>
                  <a:pt x="2385" y="14746"/>
                </a:lnTo>
                <a:lnTo>
                  <a:pt x="1922" y="14819"/>
                </a:lnTo>
                <a:lnTo>
                  <a:pt x="1484" y="14941"/>
                </a:lnTo>
                <a:lnTo>
                  <a:pt x="1071" y="15087"/>
                </a:lnTo>
                <a:lnTo>
                  <a:pt x="657" y="15282"/>
                </a:lnTo>
                <a:lnTo>
                  <a:pt x="487" y="15379"/>
                </a:lnTo>
                <a:lnTo>
                  <a:pt x="341" y="15476"/>
                </a:lnTo>
                <a:lnTo>
                  <a:pt x="219" y="15574"/>
                </a:lnTo>
                <a:lnTo>
                  <a:pt x="122" y="15695"/>
                </a:lnTo>
                <a:lnTo>
                  <a:pt x="49" y="15841"/>
                </a:lnTo>
                <a:lnTo>
                  <a:pt x="24" y="15963"/>
                </a:lnTo>
                <a:lnTo>
                  <a:pt x="0" y="16109"/>
                </a:lnTo>
                <a:lnTo>
                  <a:pt x="0" y="16255"/>
                </a:lnTo>
                <a:lnTo>
                  <a:pt x="24" y="16376"/>
                </a:lnTo>
                <a:lnTo>
                  <a:pt x="49" y="16522"/>
                </a:lnTo>
                <a:lnTo>
                  <a:pt x="122" y="16668"/>
                </a:lnTo>
                <a:lnTo>
                  <a:pt x="195" y="16790"/>
                </a:lnTo>
                <a:lnTo>
                  <a:pt x="292" y="16936"/>
                </a:lnTo>
                <a:lnTo>
                  <a:pt x="389" y="17058"/>
                </a:lnTo>
                <a:lnTo>
                  <a:pt x="511" y="17179"/>
                </a:lnTo>
                <a:lnTo>
                  <a:pt x="633" y="17301"/>
                </a:lnTo>
                <a:lnTo>
                  <a:pt x="827" y="17423"/>
                </a:lnTo>
                <a:lnTo>
                  <a:pt x="1046" y="17544"/>
                </a:lnTo>
                <a:lnTo>
                  <a:pt x="1241" y="17642"/>
                </a:lnTo>
                <a:lnTo>
                  <a:pt x="1460" y="17739"/>
                </a:lnTo>
                <a:lnTo>
                  <a:pt x="1922" y="17885"/>
                </a:lnTo>
                <a:lnTo>
                  <a:pt x="2409" y="18007"/>
                </a:lnTo>
                <a:lnTo>
                  <a:pt x="2896" y="18080"/>
                </a:lnTo>
                <a:lnTo>
                  <a:pt x="3382" y="18128"/>
                </a:lnTo>
                <a:lnTo>
                  <a:pt x="4331" y="18226"/>
                </a:lnTo>
                <a:lnTo>
                  <a:pt x="5451" y="18299"/>
                </a:lnTo>
                <a:lnTo>
                  <a:pt x="6570" y="18347"/>
                </a:lnTo>
                <a:lnTo>
                  <a:pt x="8833" y="18396"/>
                </a:lnTo>
                <a:lnTo>
                  <a:pt x="9928" y="18420"/>
                </a:lnTo>
                <a:lnTo>
                  <a:pt x="11047" y="18420"/>
                </a:lnTo>
                <a:lnTo>
                  <a:pt x="12142" y="18396"/>
                </a:lnTo>
                <a:lnTo>
                  <a:pt x="13261" y="18347"/>
                </a:lnTo>
                <a:lnTo>
                  <a:pt x="13675" y="18323"/>
                </a:lnTo>
                <a:lnTo>
                  <a:pt x="14113" y="18274"/>
                </a:lnTo>
                <a:lnTo>
                  <a:pt x="14527" y="18201"/>
                </a:lnTo>
                <a:lnTo>
                  <a:pt x="14965" y="18128"/>
                </a:lnTo>
                <a:lnTo>
                  <a:pt x="15378" y="18007"/>
                </a:lnTo>
                <a:lnTo>
                  <a:pt x="15767" y="17861"/>
                </a:lnTo>
                <a:lnTo>
                  <a:pt x="16157" y="17690"/>
                </a:lnTo>
                <a:lnTo>
                  <a:pt x="16546" y="17471"/>
                </a:lnTo>
                <a:lnTo>
                  <a:pt x="16814" y="17277"/>
                </a:lnTo>
                <a:lnTo>
                  <a:pt x="17057" y="17033"/>
                </a:lnTo>
                <a:lnTo>
                  <a:pt x="17276" y="16766"/>
                </a:lnTo>
                <a:lnTo>
                  <a:pt x="17349" y="16620"/>
                </a:lnTo>
                <a:lnTo>
                  <a:pt x="17422" y="16474"/>
                </a:lnTo>
                <a:lnTo>
                  <a:pt x="17471" y="16328"/>
                </a:lnTo>
                <a:lnTo>
                  <a:pt x="17495" y="16157"/>
                </a:lnTo>
                <a:lnTo>
                  <a:pt x="17495" y="16012"/>
                </a:lnTo>
                <a:lnTo>
                  <a:pt x="17471" y="15866"/>
                </a:lnTo>
                <a:lnTo>
                  <a:pt x="17398" y="15720"/>
                </a:lnTo>
                <a:lnTo>
                  <a:pt x="17325" y="15598"/>
                </a:lnTo>
                <a:lnTo>
                  <a:pt x="17179" y="15452"/>
                </a:lnTo>
                <a:lnTo>
                  <a:pt x="17033" y="15330"/>
                </a:lnTo>
                <a:lnTo>
                  <a:pt x="16692" y="15111"/>
                </a:lnTo>
                <a:lnTo>
                  <a:pt x="16327" y="14941"/>
                </a:lnTo>
                <a:lnTo>
                  <a:pt x="15938" y="14795"/>
                </a:lnTo>
                <a:lnTo>
                  <a:pt x="15524" y="14673"/>
                </a:lnTo>
                <a:lnTo>
                  <a:pt x="15110" y="14576"/>
                </a:lnTo>
                <a:lnTo>
                  <a:pt x="14697" y="14503"/>
                </a:lnTo>
                <a:lnTo>
                  <a:pt x="14283" y="14454"/>
                </a:lnTo>
                <a:lnTo>
                  <a:pt x="13870" y="14406"/>
                </a:lnTo>
                <a:lnTo>
                  <a:pt x="14040" y="13968"/>
                </a:lnTo>
                <a:lnTo>
                  <a:pt x="14186" y="13530"/>
                </a:lnTo>
                <a:lnTo>
                  <a:pt x="14454" y="12629"/>
                </a:lnTo>
                <a:lnTo>
                  <a:pt x="14794" y="11340"/>
                </a:lnTo>
                <a:lnTo>
                  <a:pt x="14916" y="10683"/>
                </a:lnTo>
                <a:lnTo>
                  <a:pt x="15038" y="10026"/>
                </a:lnTo>
                <a:lnTo>
                  <a:pt x="15135" y="9417"/>
                </a:lnTo>
                <a:lnTo>
                  <a:pt x="15159" y="9077"/>
                </a:lnTo>
                <a:lnTo>
                  <a:pt x="15159" y="8760"/>
                </a:lnTo>
                <a:lnTo>
                  <a:pt x="15159" y="8444"/>
                </a:lnTo>
                <a:lnTo>
                  <a:pt x="15110" y="8128"/>
                </a:lnTo>
                <a:lnTo>
                  <a:pt x="15038" y="7836"/>
                </a:lnTo>
                <a:lnTo>
                  <a:pt x="14940" y="7544"/>
                </a:lnTo>
                <a:lnTo>
                  <a:pt x="14916" y="7495"/>
                </a:lnTo>
                <a:lnTo>
                  <a:pt x="14892" y="7471"/>
                </a:lnTo>
                <a:lnTo>
                  <a:pt x="14794" y="7447"/>
                </a:lnTo>
                <a:lnTo>
                  <a:pt x="14746" y="7325"/>
                </a:lnTo>
                <a:lnTo>
                  <a:pt x="14673" y="7228"/>
                </a:lnTo>
                <a:lnTo>
                  <a:pt x="14600" y="7130"/>
                </a:lnTo>
                <a:lnTo>
                  <a:pt x="14478" y="7057"/>
                </a:lnTo>
                <a:lnTo>
                  <a:pt x="14235" y="6936"/>
                </a:lnTo>
                <a:lnTo>
                  <a:pt x="13943" y="6863"/>
                </a:lnTo>
                <a:lnTo>
                  <a:pt x="13626" y="6790"/>
                </a:lnTo>
                <a:lnTo>
                  <a:pt x="13310" y="6765"/>
                </a:lnTo>
                <a:lnTo>
                  <a:pt x="12823" y="6717"/>
                </a:lnTo>
                <a:lnTo>
                  <a:pt x="11899" y="6595"/>
                </a:lnTo>
                <a:lnTo>
                  <a:pt x="10950" y="6522"/>
                </a:lnTo>
                <a:lnTo>
                  <a:pt x="10025" y="6498"/>
                </a:lnTo>
                <a:close/>
              </a:path>
            </a:pathLst>
          </a:custGeom>
          <a:ln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" name="Google Shape;410;p40"/>
          <p:cNvSpPr/>
          <p:nvPr/>
        </p:nvSpPr>
        <p:spPr>
          <a:xfrm>
            <a:off x="11271516" y="2493539"/>
            <a:ext cx="754504" cy="713090"/>
          </a:xfrm>
          <a:custGeom>
            <a:avLst/>
            <a:gdLst/>
            <a:ahLst/>
            <a:cxnLst/>
            <a:rect l="l" t="t" r="r" b="b"/>
            <a:pathLst>
              <a:path w="17618" h="17812" extrusionOk="0">
                <a:moveTo>
                  <a:pt x="8785" y="3553"/>
                </a:moveTo>
                <a:lnTo>
                  <a:pt x="8931" y="3845"/>
                </a:lnTo>
                <a:lnTo>
                  <a:pt x="9052" y="4137"/>
                </a:lnTo>
                <a:lnTo>
                  <a:pt x="9223" y="4453"/>
                </a:lnTo>
                <a:lnTo>
                  <a:pt x="9198" y="4502"/>
                </a:lnTo>
                <a:lnTo>
                  <a:pt x="9198" y="4551"/>
                </a:lnTo>
                <a:lnTo>
                  <a:pt x="9223" y="4599"/>
                </a:lnTo>
                <a:lnTo>
                  <a:pt x="9247" y="4624"/>
                </a:lnTo>
                <a:lnTo>
                  <a:pt x="9393" y="4721"/>
                </a:lnTo>
                <a:lnTo>
                  <a:pt x="9539" y="4794"/>
                </a:lnTo>
                <a:lnTo>
                  <a:pt x="9685" y="4842"/>
                </a:lnTo>
                <a:lnTo>
                  <a:pt x="9855" y="4891"/>
                </a:lnTo>
                <a:lnTo>
                  <a:pt x="10220" y="4940"/>
                </a:lnTo>
                <a:lnTo>
                  <a:pt x="10561" y="4988"/>
                </a:lnTo>
                <a:lnTo>
                  <a:pt x="10366" y="5110"/>
                </a:lnTo>
                <a:lnTo>
                  <a:pt x="10172" y="5256"/>
                </a:lnTo>
                <a:lnTo>
                  <a:pt x="10001" y="5378"/>
                </a:lnTo>
                <a:lnTo>
                  <a:pt x="9831" y="5524"/>
                </a:lnTo>
                <a:lnTo>
                  <a:pt x="9734" y="5548"/>
                </a:lnTo>
                <a:lnTo>
                  <a:pt x="9661" y="5572"/>
                </a:lnTo>
                <a:lnTo>
                  <a:pt x="9612" y="5645"/>
                </a:lnTo>
                <a:lnTo>
                  <a:pt x="9588" y="5743"/>
                </a:lnTo>
                <a:lnTo>
                  <a:pt x="9588" y="5962"/>
                </a:lnTo>
                <a:lnTo>
                  <a:pt x="9636" y="6156"/>
                </a:lnTo>
                <a:lnTo>
                  <a:pt x="9758" y="6570"/>
                </a:lnTo>
                <a:lnTo>
                  <a:pt x="9831" y="6911"/>
                </a:lnTo>
                <a:lnTo>
                  <a:pt x="9831" y="6911"/>
                </a:lnTo>
                <a:lnTo>
                  <a:pt x="9466" y="6740"/>
                </a:lnTo>
                <a:lnTo>
                  <a:pt x="9125" y="6546"/>
                </a:lnTo>
                <a:lnTo>
                  <a:pt x="8979" y="6473"/>
                </a:lnTo>
                <a:lnTo>
                  <a:pt x="8785" y="6400"/>
                </a:lnTo>
                <a:lnTo>
                  <a:pt x="8687" y="6400"/>
                </a:lnTo>
                <a:lnTo>
                  <a:pt x="8614" y="6473"/>
                </a:lnTo>
                <a:lnTo>
                  <a:pt x="8444" y="6497"/>
                </a:lnTo>
                <a:lnTo>
                  <a:pt x="8274" y="6570"/>
                </a:lnTo>
                <a:lnTo>
                  <a:pt x="7957" y="6765"/>
                </a:lnTo>
                <a:lnTo>
                  <a:pt x="7592" y="6984"/>
                </a:lnTo>
                <a:lnTo>
                  <a:pt x="7714" y="6351"/>
                </a:lnTo>
                <a:lnTo>
                  <a:pt x="7787" y="6083"/>
                </a:lnTo>
                <a:lnTo>
                  <a:pt x="7836" y="6083"/>
                </a:lnTo>
                <a:lnTo>
                  <a:pt x="7909" y="6059"/>
                </a:lnTo>
                <a:lnTo>
                  <a:pt x="7957" y="6035"/>
                </a:lnTo>
                <a:lnTo>
                  <a:pt x="8006" y="5986"/>
                </a:lnTo>
                <a:lnTo>
                  <a:pt x="8030" y="5937"/>
                </a:lnTo>
                <a:lnTo>
                  <a:pt x="8030" y="5889"/>
                </a:lnTo>
                <a:lnTo>
                  <a:pt x="8030" y="5816"/>
                </a:lnTo>
                <a:lnTo>
                  <a:pt x="8006" y="5767"/>
                </a:lnTo>
                <a:lnTo>
                  <a:pt x="7860" y="5572"/>
                </a:lnTo>
                <a:lnTo>
                  <a:pt x="7690" y="5426"/>
                </a:lnTo>
                <a:lnTo>
                  <a:pt x="7300" y="5159"/>
                </a:lnTo>
                <a:lnTo>
                  <a:pt x="6960" y="4915"/>
                </a:lnTo>
                <a:lnTo>
                  <a:pt x="7057" y="4915"/>
                </a:lnTo>
                <a:lnTo>
                  <a:pt x="7325" y="4867"/>
                </a:lnTo>
                <a:lnTo>
                  <a:pt x="7592" y="4818"/>
                </a:lnTo>
                <a:lnTo>
                  <a:pt x="7884" y="4745"/>
                </a:lnTo>
                <a:lnTo>
                  <a:pt x="8006" y="4721"/>
                </a:lnTo>
                <a:lnTo>
                  <a:pt x="8128" y="4648"/>
                </a:lnTo>
                <a:lnTo>
                  <a:pt x="8201" y="4599"/>
                </a:lnTo>
                <a:lnTo>
                  <a:pt x="8225" y="4526"/>
                </a:lnTo>
                <a:lnTo>
                  <a:pt x="8298" y="4453"/>
                </a:lnTo>
                <a:lnTo>
                  <a:pt x="8371" y="4380"/>
                </a:lnTo>
                <a:lnTo>
                  <a:pt x="8493" y="4186"/>
                </a:lnTo>
                <a:lnTo>
                  <a:pt x="8663" y="3821"/>
                </a:lnTo>
                <a:lnTo>
                  <a:pt x="8785" y="3553"/>
                </a:lnTo>
                <a:close/>
                <a:moveTo>
                  <a:pt x="8712" y="3042"/>
                </a:moveTo>
                <a:lnTo>
                  <a:pt x="8614" y="3091"/>
                </a:lnTo>
                <a:lnTo>
                  <a:pt x="8541" y="3139"/>
                </a:lnTo>
                <a:lnTo>
                  <a:pt x="8468" y="3237"/>
                </a:lnTo>
                <a:lnTo>
                  <a:pt x="8347" y="3431"/>
                </a:lnTo>
                <a:lnTo>
                  <a:pt x="8274" y="3602"/>
                </a:lnTo>
                <a:lnTo>
                  <a:pt x="8152" y="3821"/>
                </a:lnTo>
                <a:lnTo>
                  <a:pt x="8006" y="4040"/>
                </a:lnTo>
                <a:lnTo>
                  <a:pt x="7909" y="4161"/>
                </a:lnTo>
                <a:lnTo>
                  <a:pt x="7860" y="4234"/>
                </a:lnTo>
                <a:lnTo>
                  <a:pt x="7811" y="4307"/>
                </a:lnTo>
                <a:lnTo>
                  <a:pt x="7617" y="4356"/>
                </a:lnTo>
                <a:lnTo>
                  <a:pt x="7398" y="4405"/>
                </a:lnTo>
                <a:lnTo>
                  <a:pt x="7008" y="4526"/>
                </a:lnTo>
                <a:lnTo>
                  <a:pt x="6643" y="4575"/>
                </a:lnTo>
                <a:lnTo>
                  <a:pt x="6546" y="4599"/>
                </a:lnTo>
                <a:lnTo>
                  <a:pt x="6449" y="4648"/>
                </a:lnTo>
                <a:lnTo>
                  <a:pt x="6400" y="4697"/>
                </a:lnTo>
                <a:lnTo>
                  <a:pt x="6376" y="4745"/>
                </a:lnTo>
                <a:lnTo>
                  <a:pt x="6400" y="4818"/>
                </a:lnTo>
                <a:lnTo>
                  <a:pt x="6449" y="4867"/>
                </a:lnTo>
                <a:lnTo>
                  <a:pt x="6449" y="4940"/>
                </a:lnTo>
                <a:lnTo>
                  <a:pt x="6497" y="5013"/>
                </a:lnTo>
                <a:lnTo>
                  <a:pt x="6619" y="5159"/>
                </a:lnTo>
                <a:lnTo>
                  <a:pt x="6741" y="5280"/>
                </a:lnTo>
                <a:lnTo>
                  <a:pt x="6887" y="5378"/>
                </a:lnTo>
                <a:lnTo>
                  <a:pt x="7495" y="5889"/>
                </a:lnTo>
                <a:lnTo>
                  <a:pt x="7446" y="5962"/>
                </a:lnTo>
                <a:lnTo>
                  <a:pt x="7398" y="6059"/>
                </a:lnTo>
                <a:lnTo>
                  <a:pt x="7325" y="6229"/>
                </a:lnTo>
                <a:lnTo>
                  <a:pt x="7179" y="6765"/>
                </a:lnTo>
                <a:lnTo>
                  <a:pt x="7057" y="7300"/>
                </a:lnTo>
                <a:lnTo>
                  <a:pt x="7057" y="7397"/>
                </a:lnTo>
                <a:lnTo>
                  <a:pt x="7106" y="7470"/>
                </a:lnTo>
                <a:lnTo>
                  <a:pt x="7154" y="7519"/>
                </a:lnTo>
                <a:lnTo>
                  <a:pt x="7203" y="7543"/>
                </a:lnTo>
                <a:lnTo>
                  <a:pt x="7276" y="7568"/>
                </a:lnTo>
                <a:lnTo>
                  <a:pt x="7349" y="7543"/>
                </a:lnTo>
                <a:lnTo>
                  <a:pt x="7422" y="7519"/>
                </a:lnTo>
                <a:lnTo>
                  <a:pt x="7471" y="7446"/>
                </a:lnTo>
                <a:lnTo>
                  <a:pt x="7617" y="7397"/>
                </a:lnTo>
                <a:lnTo>
                  <a:pt x="7763" y="7324"/>
                </a:lnTo>
                <a:lnTo>
                  <a:pt x="8030" y="7178"/>
                </a:lnTo>
                <a:lnTo>
                  <a:pt x="8371" y="7032"/>
                </a:lnTo>
                <a:lnTo>
                  <a:pt x="8541" y="6935"/>
                </a:lnTo>
                <a:lnTo>
                  <a:pt x="8712" y="6838"/>
                </a:lnTo>
                <a:lnTo>
                  <a:pt x="8736" y="6838"/>
                </a:lnTo>
                <a:lnTo>
                  <a:pt x="8833" y="6935"/>
                </a:lnTo>
                <a:lnTo>
                  <a:pt x="8955" y="7008"/>
                </a:lnTo>
                <a:lnTo>
                  <a:pt x="9174" y="7130"/>
                </a:lnTo>
                <a:lnTo>
                  <a:pt x="9369" y="7251"/>
                </a:lnTo>
                <a:lnTo>
                  <a:pt x="9612" y="7373"/>
                </a:lnTo>
                <a:lnTo>
                  <a:pt x="9855" y="7446"/>
                </a:lnTo>
                <a:lnTo>
                  <a:pt x="10074" y="7519"/>
                </a:lnTo>
                <a:lnTo>
                  <a:pt x="10147" y="7495"/>
                </a:lnTo>
                <a:lnTo>
                  <a:pt x="10220" y="7470"/>
                </a:lnTo>
                <a:lnTo>
                  <a:pt x="10269" y="7446"/>
                </a:lnTo>
                <a:lnTo>
                  <a:pt x="10293" y="7373"/>
                </a:lnTo>
                <a:lnTo>
                  <a:pt x="10293" y="7324"/>
                </a:lnTo>
                <a:lnTo>
                  <a:pt x="10293" y="7251"/>
                </a:lnTo>
                <a:lnTo>
                  <a:pt x="10293" y="7178"/>
                </a:lnTo>
                <a:lnTo>
                  <a:pt x="10245" y="7130"/>
                </a:lnTo>
                <a:lnTo>
                  <a:pt x="10269" y="7032"/>
                </a:lnTo>
                <a:lnTo>
                  <a:pt x="10269" y="6935"/>
                </a:lnTo>
                <a:lnTo>
                  <a:pt x="10245" y="6716"/>
                </a:lnTo>
                <a:lnTo>
                  <a:pt x="10196" y="6497"/>
                </a:lnTo>
                <a:lnTo>
                  <a:pt x="10123" y="6278"/>
                </a:lnTo>
                <a:lnTo>
                  <a:pt x="10074" y="6059"/>
                </a:lnTo>
                <a:lnTo>
                  <a:pt x="10050" y="5840"/>
                </a:lnTo>
                <a:lnTo>
                  <a:pt x="10293" y="5694"/>
                </a:lnTo>
                <a:lnTo>
                  <a:pt x="10537" y="5524"/>
                </a:lnTo>
                <a:lnTo>
                  <a:pt x="10683" y="5426"/>
                </a:lnTo>
                <a:lnTo>
                  <a:pt x="10829" y="5305"/>
                </a:lnTo>
                <a:lnTo>
                  <a:pt x="10975" y="5183"/>
                </a:lnTo>
                <a:lnTo>
                  <a:pt x="11096" y="5037"/>
                </a:lnTo>
                <a:lnTo>
                  <a:pt x="11121" y="4940"/>
                </a:lnTo>
                <a:lnTo>
                  <a:pt x="11096" y="4842"/>
                </a:lnTo>
                <a:lnTo>
                  <a:pt x="11121" y="4745"/>
                </a:lnTo>
                <a:lnTo>
                  <a:pt x="11072" y="4648"/>
                </a:lnTo>
                <a:lnTo>
                  <a:pt x="10999" y="4551"/>
                </a:lnTo>
                <a:lnTo>
                  <a:pt x="10950" y="4526"/>
                </a:lnTo>
                <a:lnTo>
                  <a:pt x="10877" y="4526"/>
                </a:lnTo>
                <a:lnTo>
                  <a:pt x="10610" y="4502"/>
                </a:lnTo>
                <a:lnTo>
                  <a:pt x="10318" y="4453"/>
                </a:lnTo>
                <a:lnTo>
                  <a:pt x="10026" y="4429"/>
                </a:lnTo>
                <a:lnTo>
                  <a:pt x="9734" y="4380"/>
                </a:lnTo>
                <a:lnTo>
                  <a:pt x="9709" y="4283"/>
                </a:lnTo>
                <a:lnTo>
                  <a:pt x="9490" y="3942"/>
                </a:lnTo>
                <a:lnTo>
                  <a:pt x="9296" y="3602"/>
                </a:lnTo>
                <a:lnTo>
                  <a:pt x="9150" y="3334"/>
                </a:lnTo>
                <a:lnTo>
                  <a:pt x="9052" y="3212"/>
                </a:lnTo>
                <a:lnTo>
                  <a:pt x="8979" y="3164"/>
                </a:lnTo>
                <a:lnTo>
                  <a:pt x="8906" y="3139"/>
                </a:lnTo>
                <a:lnTo>
                  <a:pt x="8882" y="3139"/>
                </a:lnTo>
                <a:lnTo>
                  <a:pt x="8858" y="3091"/>
                </a:lnTo>
                <a:lnTo>
                  <a:pt x="8785" y="3066"/>
                </a:lnTo>
                <a:lnTo>
                  <a:pt x="8712" y="3042"/>
                </a:lnTo>
                <a:close/>
                <a:moveTo>
                  <a:pt x="14430" y="2507"/>
                </a:moveTo>
                <a:lnTo>
                  <a:pt x="14576" y="2531"/>
                </a:lnTo>
                <a:lnTo>
                  <a:pt x="14868" y="2531"/>
                </a:lnTo>
                <a:lnTo>
                  <a:pt x="15403" y="2580"/>
                </a:lnTo>
                <a:lnTo>
                  <a:pt x="15695" y="2604"/>
                </a:lnTo>
                <a:lnTo>
                  <a:pt x="15987" y="2604"/>
                </a:lnTo>
                <a:lnTo>
                  <a:pt x="15890" y="2945"/>
                </a:lnTo>
                <a:lnTo>
                  <a:pt x="15865" y="3310"/>
                </a:lnTo>
                <a:lnTo>
                  <a:pt x="15817" y="3675"/>
                </a:lnTo>
                <a:lnTo>
                  <a:pt x="15768" y="4015"/>
                </a:lnTo>
                <a:lnTo>
                  <a:pt x="15671" y="4599"/>
                </a:lnTo>
                <a:lnTo>
                  <a:pt x="15500" y="5159"/>
                </a:lnTo>
                <a:lnTo>
                  <a:pt x="15306" y="5718"/>
                </a:lnTo>
                <a:lnTo>
                  <a:pt x="15184" y="5986"/>
                </a:lnTo>
                <a:lnTo>
                  <a:pt x="15062" y="6254"/>
                </a:lnTo>
                <a:lnTo>
                  <a:pt x="14843" y="6594"/>
                </a:lnTo>
                <a:lnTo>
                  <a:pt x="14576" y="6935"/>
                </a:lnTo>
                <a:lnTo>
                  <a:pt x="14308" y="7227"/>
                </a:lnTo>
                <a:lnTo>
                  <a:pt x="14040" y="7543"/>
                </a:lnTo>
                <a:lnTo>
                  <a:pt x="13700" y="7860"/>
                </a:lnTo>
                <a:lnTo>
                  <a:pt x="13335" y="8127"/>
                </a:lnTo>
                <a:lnTo>
                  <a:pt x="13286" y="8152"/>
                </a:lnTo>
                <a:lnTo>
                  <a:pt x="13408" y="7641"/>
                </a:lnTo>
                <a:lnTo>
                  <a:pt x="13529" y="7251"/>
                </a:lnTo>
                <a:lnTo>
                  <a:pt x="13602" y="6862"/>
                </a:lnTo>
                <a:lnTo>
                  <a:pt x="13724" y="6059"/>
                </a:lnTo>
                <a:lnTo>
                  <a:pt x="13748" y="5937"/>
                </a:lnTo>
                <a:lnTo>
                  <a:pt x="13992" y="4624"/>
                </a:lnTo>
                <a:lnTo>
                  <a:pt x="14089" y="4088"/>
                </a:lnTo>
                <a:lnTo>
                  <a:pt x="14186" y="3553"/>
                </a:lnTo>
                <a:lnTo>
                  <a:pt x="14259" y="3018"/>
                </a:lnTo>
                <a:lnTo>
                  <a:pt x="14284" y="2507"/>
                </a:lnTo>
                <a:close/>
                <a:moveTo>
                  <a:pt x="2118" y="2482"/>
                </a:moveTo>
                <a:lnTo>
                  <a:pt x="2677" y="2507"/>
                </a:lnTo>
                <a:lnTo>
                  <a:pt x="3261" y="2555"/>
                </a:lnTo>
                <a:lnTo>
                  <a:pt x="3213" y="2750"/>
                </a:lnTo>
                <a:lnTo>
                  <a:pt x="3213" y="2945"/>
                </a:lnTo>
                <a:lnTo>
                  <a:pt x="3237" y="3310"/>
                </a:lnTo>
                <a:lnTo>
                  <a:pt x="3286" y="3699"/>
                </a:lnTo>
                <a:lnTo>
                  <a:pt x="3334" y="4064"/>
                </a:lnTo>
                <a:lnTo>
                  <a:pt x="3456" y="4842"/>
                </a:lnTo>
                <a:lnTo>
                  <a:pt x="3529" y="5305"/>
                </a:lnTo>
                <a:lnTo>
                  <a:pt x="3602" y="5791"/>
                </a:lnTo>
                <a:lnTo>
                  <a:pt x="3699" y="6254"/>
                </a:lnTo>
                <a:lnTo>
                  <a:pt x="3845" y="6716"/>
                </a:lnTo>
                <a:lnTo>
                  <a:pt x="3991" y="7154"/>
                </a:lnTo>
                <a:lnTo>
                  <a:pt x="4162" y="7592"/>
                </a:lnTo>
                <a:lnTo>
                  <a:pt x="4381" y="8030"/>
                </a:lnTo>
                <a:lnTo>
                  <a:pt x="4600" y="8444"/>
                </a:lnTo>
                <a:lnTo>
                  <a:pt x="4381" y="8346"/>
                </a:lnTo>
                <a:lnTo>
                  <a:pt x="4162" y="8225"/>
                </a:lnTo>
                <a:lnTo>
                  <a:pt x="3967" y="8103"/>
                </a:lnTo>
                <a:lnTo>
                  <a:pt x="3772" y="7933"/>
                </a:lnTo>
                <a:lnTo>
                  <a:pt x="3602" y="7762"/>
                </a:lnTo>
                <a:lnTo>
                  <a:pt x="3407" y="7568"/>
                </a:lnTo>
                <a:lnTo>
                  <a:pt x="3091" y="7130"/>
                </a:lnTo>
                <a:lnTo>
                  <a:pt x="2823" y="6692"/>
                </a:lnTo>
                <a:lnTo>
                  <a:pt x="2580" y="6229"/>
                </a:lnTo>
                <a:lnTo>
                  <a:pt x="2385" y="5767"/>
                </a:lnTo>
                <a:lnTo>
                  <a:pt x="2191" y="5305"/>
                </a:lnTo>
                <a:lnTo>
                  <a:pt x="1947" y="4624"/>
                </a:lnTo>
                <a:lnTo>
                  <a:pt x="1728" y="3918"/>
                </a:lnTo>
                <a:lnTo>
                  <a:pt x="1607" y="3480"/>
                </a:lnTo>
                <a:lnTo>
                  <a:pt x="1534" y="3042"/>
                </a:lnTo>
                <a:lnTo>
                  <a:pt x="1534" y="2920"/>
                </a:lnTo>
                <a:lnTo>
                  <a:pt x="1534" y="2799"/>
                </a:lnTo>
                <a:lnTo>
                  <a:pt x="1558" y="2677"/>
                </a:lnTo>
                <a:lnTo>
                  <a:pt x="1534" y="2555"/>
                </a:lnTo>
                <a:lnTo>
                  <a:pt x="1850" y="2507"/>
                </a:lnTo>
                <a:lnTo>
                  <a:pt x="2118" y="2482"/>
                </a:lnTo>
                <a:close/>
                <a:moveTo>
                  <a:pt x="1850" y="1996"/>
                </a:moveTo>
                <a:lnTo>
                  <a:pt x="1558" y="2044"/>
                </a:lnTo>
                <a:lnTo>
                  <a:pt x="1412" y="2069"/>
                </a:lnTo>
                <a:lnTo>
                  <a:pt x="1290" y="2142"/>
                </a:lnTo>
                <a:lnTo>
                  <a:pt x="1193" y="2215"/>
                </a:lnTo>
                <a:lnTo>
                  <a:pt x="1120" y="2336"/>
                </a:lnTo>
                <a:lnTo>
                  <a:pt x="1120" y="2409"/>
                </a:lnTo>
                <a:lnTo>
                  <a:pt x="1169" y="2482"/>
                </a:lnTo>
                <a:lnTo>
                  <a:pt x="1096" y="2604"/>
                </a:lnTo>
                <a:lnTo>
                  <a:pt x="1047" y="2750"/>
                </a:lnTo>
                <a:lnTo>
                  <a:pt x="1023" y="2945"/>
                </a:lnTo>
                <a:lnTo>
                  <a:pt x="1023" y="3139"/>
                </a:lnTo>
                <a:lnTo>
                  <a:pt x="1047" y="3358"/>
                </a:lnTo>
                <a:lnTo>
                  <a:pt x="1071" y="3577"/>
                </a:lnTo>
                <a:lnTo>
                  <a:pt x="1193" y="4064"/>
                </a:lnTo>
                <a:lnTo>
                  <a:pt x="1363" y="4551"/>
                </a:lnTo>
                <a:lnTo>
                  <a:pt x="1509" y="4988"/>
                </a:lnTo>
                <a:lnTo>
                  <a:pt x="1753" y="5597"/>
                </a:lnTo>
                <a:lnTo>
                  <a:pt x="1972" y="6132"/>
                </a:lnTo>
                <a:lnTo>
                  <a:pt x="2215" y="6692"/>
                </a:lnTo>
                <a:lnTo>
                  <a:pt x="2531" y="7227"/>
                </a:lnTo>
                <a:lnTo>
                  <a:pt x="2726" y="7495"/>
                </a:lnTo>
                <a:lnTo>
                  <a:pt x="2896" y="7762"/>
                </a:lnTo>
                <a:lnTo>
                  <a:pt x="3115" y="7981"/>
                </a:lnTo>
                <a:lnTo>
                  <a:pt x="3334" y="8200"/>
                </a:lnTo>
                <a:lnTo>
                  <a:pt x="3553" y="8395"/>
                </a:lnTo>
                <a:lnTo>
                  <a:pt x="3797" y="8565"/>
                </a:lnTo>
                <a:lnTo>
                  <a:pt x="4064" y="8711"/>
                </a:lnTo>
                <a:lnTo>
                  <a:pt x="4332" y="8833"/>
                </a:lnTo>
                <a:lnTo>
                  <a:pt x="4624" y="8882"/>
                </a:lnTo>
                <a:lnTo>
                  <a:pt x="4916" y="8930"/>
                </a:lnTo>
                <a:lnTo>
                  <a:pt x="4964" y="8906"/>
                </a:lnTo>
                <a:lnTo>
                  <a:pt x="5013" y="8906"/>
                </a:lnTo>
                <a:lnTo>
                  <a:pt x="5062" y="8833"/>
                </a:lnTo>
                <a:lnTo>
                  <a:pt x="5110" y="8736"/>
                </a:lnTo>
                <a:lnTo>
                  <a:pt x="5086" y="8663"/>
                </a:lnTo>
                <a:lnTo>
                  <a:pt x="5110" y="8590"/>
                </a:lnTo>
                <a:lnTo>
                  <a:pt x="5135" y="8492"/>
                </a:lnTo>
                <a:lnTo>
                  <a:pt x="5110" y="8322"/>
                </a:lnTo>
                <a:lnTo>
                  <a:pt x="5037" y="8152"/>
                </a:lnTo>
                <a:lnTo>
                  <a:pt x="4940" y="7957"/>
                </a:lnTo>
                <a:lnTo>
                  <a:pt x="4721" y="7568"/>
                </a:lnTo>
                <a:lnTo>
                  <a:pt x="4527" y="7276"/>
                </a:lnTo>
                <a:lnTo>
                  <a:pt x="4405" y="7032"/>
                </a:lnTo>
                <a:lnTo>
                  <a:pt x="4283" y="6740"/>
                </a:lnTo>
                <a:lnTo>
                  <a:pt x="4186" y="6448"/>
                </a:lnTo>
                <a:lnTo>
                  <a:pt x="4113" y="6156"/>
                </a:lnTo>
                <a:lnTo>
                  <a:pt x="4040" y="5864"/>
                </a:lnTo>
                <a:lnTo>
                  <a:pt x="3991" y="5572"/>
                </a:lnTo>
                <a:lnTo>
                  <a:pt x="3918" y="4964"/>
                </a:lnTo>
                <a:lnTo>
                  <a:pt x="3894" y="4672"/>
                </a:lnTo>
                <a:lnTo>
                  <a:pt x="3845" y="4380"/>
                </a:lnTo>
                <a:lnTo>
                  <a:pt x="3724" y="3796"/>
                </a:lnTo>
                <a:lnTo>
                  <a:pt x="3651" y="3480"/>
                </a:lnTo>
                <a:lnTo>
                  <a:pt x="3626" y="3188"/>
                </a:lnTo>
                <a:lnTo>
                  <a:pt x="3602" y="2896"/>
                </a:lnTo>
                <a:lnTo>
                  <a:pt x="3602" y="2580"/>
                </a:lnTo>
                <a:lnTo>
                  <a:pt x="3699" y="2555"/>
                </a:lnTo>
                <a:lnTo>
                  <a:pt x="3748" y="2507"/>
                </a:lnTo>
                <a:lnTo>
                  <a:pt x="3797" y="2409"/>
                </a:lnTo>
                <a:lnTo>
                  <a:pt x="3821" y="2336"/>
                </a:lnTo>
                <a:lnTo>
                  <a:pt x="3821" y="2263"/>
                </a:lnTo>
                <a:lnTo>
                  <a:pt x="3797" y="2190"/>
                </a:lnTo>
                <a:lnTo>
                  <a:pt x="3724" y="2117"/>
                </a:lnTo>
                <a:lnTo>
                  <a:pt x="3651" y="2093"/>
                </a:lnTo>
                <a:lnTo>
                  <a:pt x="2872" y="2020"/>
                </a:lnTo>
                <a:lnTo>
                  <a:pt x="2507" y="1996"/>
                </a:lnTo>
                <a:close/>
                <a:moveTo>
                  <a:pt x="16425" y="1558"/>
                </a:moveTo>
                <a:lnTo>
                  <a:pt x="16522" y="1582"/>
                </a:lnTo>
                <a:lnTo>
                  <a:pt x="16717" y="1679"/>
                </a:lnTo>
                <a:lnTo>
                  <a:pt x="16839" y="1801"/>
                </a:lnTo>
                <a:lnTo>
                  <a:pt x="16960" y="1971"/>
                </a:lnTo>
                <a:lnTo>
                  <a:pt x="17033" y="2166"/>
                </a:lnTo>
                <a:lnTo>
                  <a:pt x="17106" y="2385"/>
                </a:lnTo>
                <a:lnTo>
                  <a:pt x="17131" y="2628"/>
                </a:lnTo>
                <a:lnTo>
                  <a:pt x="17155" y="2872"/>
                </a:lnTo>
                <a:lnTo>
                  <a:pt x="17131" y="3407"/>
                </a:lnTo>
                <a:lnTo>
                  <a:pt x="17058" y="3918"/>
                </a:lnTo>
                <a:lnTo>
                  <a:pt x="16985" y="4356"/>
                </a:lnTo>
                <a:lnTo>
                  <a:pt x="16936" y="4672"/>
                </a:lnTo>
                <a:lnTo>
                  <a:pt x="16814" y="5134"/>
                </a:lnTo>
                <a:lnTo>
                  <a:pt x="16668" y="5572"/>
                </a:lnTo>
                <a:lnTo>
                  <a:pt x="16498" y="6010"/>
                </a:lnTo>
                <a:lnTo>
                  <a:pt x="16279" y="6424"/>
                </a:lnTo>
                <a:lnTo>
                  <a:pt x="16060" y="6838"/>
                </a:lnTo>
                <a:lnTo>
                  <a:pt x="15792" y="7227"/>
                </a:lnTo>
                <a:lnTo>
                  <a:pt x="15525" y="7592"/>
                </a:lnTo>
                <a:lnTo>
                  <a:pt x="15233" y="7957"/>
                </a:lnTo>
                <a:lnTo>
                  <a:pt x="15062" y="8127"/>
                </a:lnTo>
                <a:lnTo>
                  <a:pt x="14892" y="8298"/>
                </a:lnTo>
                <a:lnTo>
                  <a:pt x="14503" y="8614"/>
                </a:lnTo>
                <a:lnTo>
                  <a:pt x="14089" y="8906"/>
                </a:lnTo>
                <a:lnTo>
                  <a:pt x="13675" y="9149"/>
                </a:lnTo>
                <a:lnTo>
                  <a:pt x="13456" y="9247"/>
                </a:lnTo>
                <a:lnTo>
                  <a:pt x="13262" y="9320"/>
                </a:lnTo>
                <a:lnTo>
                  <a:pt x="12824" y="9441"/>
                </a:lnTo>
                <a:lnTo>
                  <a:pt x="12970" y="9076"/>
                </a:lnTo>
                <a:lnTo>
                  <a:pt x="13091" y="8760"/>
                </a:lnTo>
                <a:lnTo>
                  <a:pt x="13237" y="8711"/>
                </a:lnTo>
                <a:lnTo>
                  <a:pt x="13359" y="8663"/>
                </a:lnTo>
                <a:lnTo>
                  <a:pt x="13627" y="8492"/>
                </a:lnTo>
                <a:lnTo>
                  <a:pt x="13870" y="8298"/>
                </a:lnTo>
                <a:lnTo>
                  <a:pt x="14089" y="8127"/>
                </a:lnTo>
                <a:lnTo>
                  <a:pt x="14430" y="7787"/>
                </a:lnTo>
                <a:lnTo>
                  <a:pt x="14746" y="7446"/>
                </a:lnTo>
                <a:lnTo>
                  <a:pt x="15062" y="7057"/>
                </a:lnTo>
                <a:lnTo>
                  <a:pt x="15330" y="6667"/>
                </a:lnTo>
                <a:lnTo>
                  <a:pt x="15500" y="6424"/>
                </a:lnTo>
                <a:lnTo>
                  <a:pt x="15622" y="6156"/>
                </a:lnTo>
                <a:lnTo>
                  <a:pt x="15744" y="5889"/>
                </a:lnTo>
                <a:lnTo>
                  <a:pt x="15841" y="5597"/>
                </a:lnTo>
                <a:lnTo>
                  <a:pt x="16011" y="5013"/>
                </a:lnTo>
                <a:lnTo>
                  <a:pt x="16133" y="4429"/>
                </a:lnTo>
                <a:lnTo>
                  <a:pt x="16255" y="3894"/>
                </a:lnTo>
                <a:lnTo>
                  <a:pt x="16328" y="3334"/>
                </a:lnTo>
                <a:lnTo>
                  <a:pt x="16401" y="2896"/>
                </a:lnTo>
                <a:lnTo>
                  <a:pt x="16425" y="2677"/>
                </a:lnTo>
                <a:lnTo>
                  <a:pt x="16425" y="2580"/>
                </a:lnTo>
                <a:lnTo>
                  <a:pt x="16425" y="2482"/>
                </a:lnTo>
                <a:lnTo>
                  <a:pt x="16449" y="2409"/>
                </a:lnTo>
                <a:lnTo>
                  <a:pt x="16449" y="2336"/>
                </a:lnTo>
                <a:lnTo>
                  <a:pt x="16425" y="2288"/>
                </a:lnTo>
                <a:lnTo>
                  <a:pt x="16376" y="2215"/>
                </a:lnTo>
                <a:lnTo>
                  <a:pt x="16230" y="2166"/>
                </a:lnTo>
                <a:lnTo>
                  <a:pt x="16060" y="2117"/>
                </a:lnTo>
                <a:lnTo>
                  <a:pt x="15890" y="2093"/>
                </a:lnTo>
                <a:lnTo>
                  <a:pt x="15719" y="2069"/>
                </a:lnTo>
                <a:lnTo>
                  <a:pt x="14624" y="2069"/>
                </a:lnTo>
                <a:lnTo>
                  <a:pt x="14430" y="2093"/>
                </a:lnTo>
                <a:lnTo>
                  <a:pt x="14259" y="2142"/>
                </a:lnTo>
                <a:lnTo>
                  <a:pt x="14235" y="1606"/>
                </a:lnTo>
                <a:lnTo>
                  <a:pt x="14478" y="1679"/>
                </a:lnTo>
                <a:lnTo>
                  <a:pt x="14746" y="1704"/>
                </a:lnTo>
                <a:lnTo>
                  <a:pt x="15014" y="1679"/>
                </a:lnTo>
                <a:lnTo>
                  <a:pt x="15281" y="1655"/>
                </a:lnTo>
                <a:lnTo>
                  <a:pt x="15817" y="1582"/>
                </a:lnTo>
                <a:lnTo>
                  <a:pt x="16060" y="1558"/>
                </a:lnTo>
                <a:close/>
                <a:moveTo>
                  <a:pt x="12556" y="463"/>
                </a:moveTo>
                <a:lnTo>
                  <a:pt x="12337" y="536"/>
                </a:lnTo>
                <a:lnTo>
                  <a:pt x="12118" y="633"/>
                </a:lnTo>
                <a:lnTo>
                  <a:pt x="11948" y="755"/>
                </a:lnTo>
                <a:lnTo>
                  <a:pt x="11875" y="828"/>
                </a:lnTo>
                <a:lnTo>
                  <a:pt x="11826" y="925"/>
                </a:lnTo>
                <a:lnTo>
                  <a:pt x="11826" y="949"/>
                </a:lnTo>
                <a:lnTo>
                  <a:pt x="11851" y="974"/>
                </a:lnTo>
                <a:lnTo>
                  <a:pt x="12921" y="682"/>
                </a:lnTo>
                <a:lnTo>
                  <a:pt x="13505" y="560"/>
                </a:lnTo>
                <a:lnTo>
                  <a:pt x="13700" y="536"/>
                </a:lnTo>
                <a:lnTo>
                  <a:pt x="13797" y="536"/>
                </a:lnTo>
                <a:lnTo>
                  <a:pt x="13894" y="511"/>
                </a:lnTo>
                <a:lnTo>
                  <a:pt x="13894" y="511"/>
                </a:lnTo>
                <a:lnTo>
                  <a:pt x="13870" y="682"/>
                </a:lnTo>
                <a:lnTo>
                  <a:pt x="13748" y="730"/>
                </a:lnTo>
                <a:lnTo>
                  <a:pt x="13627" y="779"/>
                </a:lnTo>
                <a:lnTo>
                  <a:pt x="13383" y="876"/>
                </a:lnTo>
                <a:lnTo>
                  <a:pt x="13018" y="1022"/>
                </a:lnTo>
                <a:lnTo>
                  <a:pt x="12654" y="1144"/>
                </a:lnTo>
                <a:lnTo>
                  <a:pt x="12289" y="1266"/>
                </a:lnTo>
                <a:lnTo>
                  <a:pt x="11948" y="1412"/>
                </a:lnTo>
                <a:lnTo>
                  <a:pt x="11924" y="1436"/>
                </a:lnTo>
                <a:lnTo>
                  <a:pt x="11924" y="1460"/>
                </a:lnTo>
                <a:lnTo>
                  <a:pt x="11924" y="1485"/>
                </a:lnTo>
                <a:lnTo>
                  <a:pt x="12337" y="1485"/>
                </a:lnTo>
                <a:lnTo>
                  <a:pt x="12751" y="1412"/>
                </a:lnTo>
                <a:lnTo>
                  <a:pt x="13140" y="1314"/>
                </a:lnTo>
                <a:lnTo>
                  <a:pt x="13505" y="1193"/>
                </a:lnTo>
                <a:lnTo>
                  <a:pt x="13651" y="1120"/>
                </a:lnTo>
                <a:lnTo>
                  <a:pt x="13870" y="1047"/>
                </a:lnTo>
                <a:lnTo>
                  <a:pt x="13870" y="1047"/>
                </a:lnTo>
                <a:lnTo>
                  <a:pt x="13821" y="1290"/>
                </a:lnTo>
                <a:lnTo>
                  <a:pt x="13821" y="1339"/>
                </a:lnTo>
                <a:lnTo>
                  <a:pt x="13529" y="1387"/>
                </a:lnTo>
                <a:lnTo>
                  <a:pt x="13262" y="1460"/>
                </a:lnTo>
                <a:lnTo>
                  <a:pt x="12970" y="1558"/>
                </a:lnTo>
                <a:lnTo>
                  <a:pt x="12702" y="1631"/>
                </a:lnTo>
                <a:lnTo>
                  <a:pt x="12508" y="1679"/>
                </a:lnTo>
                <a:lnTo>
                  <a:pt x="12264" y="1728"/>
                </a:lnTo>
                <a:lnTo>
                  <a:pt x="12143" y="1777"/>
                </a:lnTo>
                <a:lnTo>
                  <a:pt x="12045" y="1825"/>
                </a:lnTo>
                <a:lnTo>
                  <a:pt x="11972" y="1898"/>
                </a:lnTo>
                <a:lnTo>
                  <a:pt x="11924" y="1971"/>
                </a:lnTo>
                <a:lnTo>
                  <a:pt x="11948" y="1996"/>
                </a:lnTo>
                <a:lnTo>
                  <a:pt x="12021" y="2069"/>
                </a:lnTo>
                <a:lnTo>
                  <a:pt x="12118" y="2093"/>
                </a:lnTo>
                <a:lnTo>
                  <a:pt x="12240" y="2093"/>
                </a:lnTo>
                <a:lnTo>
                  <a:pt x="12362" y="2069"/>
                </a:lnTo>
                <a:lnTo>
                  <a:pt x="12605" y="2020"/>
                </a:lnTo>
                <a:lnTo>
                  <a:pt x="12800" y="1971"/>
                </a:lnTo>
                <a:lnTo>
                  <a:pt x="13335" y="1874"/>
                </a:lnTo>
                <a:lnTo>
                  <a:pt x="13602" y="1801"/>
                </a:lnTo>
                <a:lnTo>
                  <a:pt x="13870" y="1704"/>
                </a:lnTo>
                <a:lnTo>
                  <a:pt x="13821" y="2020"/>
                </a:lnTo>
                <a:lnTo>
                  <a:pt x="13773" y="1996"/>
                </a:lnTo>
                <a:lnTo>
                  <a:pt x="13748" y="1971"/>
                </a:lnTo>
                <a:lnTo>
                  <a:pt x="13529" y="1971"/>
                </a:lnTo>
                <a:lnTo>
                  <a:pt x="13310" y="2069"/>
                </a:lnTo>
                <a:lnTo>
                  <a:pt x="12921" y="2263"/>
                </a:lnTo>
                <a:lnTo>
                  <a:pt x="12508" y="2458"/>
                </a:lnTo>
                <a:lnTo>
                  <a:pt x="12313" y="2604"/>
                </a:lnTo>
                <a:lnTo>
                  <a:pt x="12216" y="2677"/>
                </a:lnTo>
                <a:lnTo>
                  <a:pt x="12143" y="2750"/>
                </a:lnTo>
                <a:lnTo>
                  <a:pt x="12143" y="2774"/>
                </a:lnTo>
                <a:lnTo>
                  <a:pt x="12362" y="2774"/>
                </a:lnTo>
                <a:lnTo>
                  <a:pt x="12581" y="2701"/>
                </a:lnTo>
                <a:lnTo>
                  <a:pt x="12970" y="2555"/>
                </a:lnTo>
                <a:lnTo>
                  <a:pt x="13408" y="2409"/>
                </a:lnTo>
                <a:lnTo>
                  <a:pt x="13627" y="2312"/>
                </a:lnTo>
                <a:lnTo>
                  <a:pt x="13797" y="2215"/>
                </a:lnTo>
                <a:lnTo>
                  <a:pt x="13797" y="2458"/>
                </a:lnTo>
                <a:lnTo>
                  <a:pt x="13602" y="2531"/>
                </a:lnTo>
                <a:lnTo>
                  <a:pt x="13432" y="2604"/>
                </a:lnTo>
                <a:lnTo>
                  <a:pt x="13091" y="2774"/>
                </a:lnTo>
                <a:lnTo>
                  <a:pt x="12581" y="3018"/>
                </a:lnTo>
                <a:lnTo>
                  <a:pt x="12313" y="3164"/>
                </a:lnTo>
                <a:lnTo>
                  <a:pt x="12094" y="3358"/>
                </a:lnTo>
                <a:lnTo>
                  <a:pt x="12118" y="3383"/>
                </a:lnTo>
                <a:lnTo>
                  <a:pt x="12240" y="3383"/>
                </a:lnTo>
                <a:lnTo>
                  <a:pt x="12386" y="3358"/>
                </a:lnTo>
                <a:lnTo>
                  <a:pt x="12678" y="3261"/>
                </a:lnTo>
                <a:lnTo>
                  <a:pt x="13213" y="3042"/>
                </a:lnTo>
                <a:lnTo>
                  <a:pt x="13481" y="2945"/>
                </a:lnTo>
                <a:lnTo>
                  <a:pt x="13627" y="2896"/>
                </a:lnTo>
                <a:lnTo>
                  <a:pt x="13773" y="2823"/>
                </a:lnTo>
                <a:lnTo>
                  <a:pt x="13773" y="3164"/>
                </a:lnTo>
                <a:lnTo>
                  <a:pt x="13748" y="3285"/>
                </a:lnTo>
                <a:lnTo>
                  <a:pt x="13602" y="3285"/>
                </a:lnTo>
                <a:lnTo>
                  <a:pt x="13432" y="3358"/>
                </a:lnTo>
                <a:lnTo>
                  <a:pt x="13140" y="3529"/>
                </a:lnTo>
                <a:lnTo>
                  <a:pt x="12727" y="3748"/>
                </a:lnTo>
                <a:lnTo>
                  <a:pt x="12508" y="3894"/>
                </a:lnTo>
                <a:lnTo>
                  <a:pt x="12337" y="4040"/>
                </a:lnTo>
                <a:lnTo>
                  <a:pt x="12313" y="4064"/>
                </a:lnTo>
                <a:lnTo>
                  <a:pt x="12362" y="4064"/>
                </a:lnTo>
                <a:lnTo>
                  <a:pt x="12556" y="4015"/>
                </a:lnTo>
                <a:lnTo>
                  <a:pt x="12775" y="3942"/>
                </a:lnTo>
                <a:lnTo>
                  <a:pt x="13164" y="3748"/>
                </a:lnTo>
                <a:lnTo>
                  <a:pt x="13456" y="3650"/>
                </a:lnTo>
                <a:lnTo>
                  <a:pt x="13602" y="3577"/>
                </a:lnTo>
                <a:lnTo>
                  <a:pt x="13748" y="3480"/>
                </a:lnTo>
                <a:lnTo>
                  <a:pt x="13700" y="3796"/>
                </a:lnTo>
                <a:lnTo>
                  <a:pt x="13627" y="3772"/>
                </a:lnTo>
                <a:lnTo>
                  <a:pt x="13554" y="3796"/>
                </a:lnTo>
                <a:lnTo>
                  <a:pt x="13189" y="3967"/>
                </a:lnTo>
                <a:lnTo>
                  <a:pt x="12824" y="4137"/>
                </a:lnTo>
                <a:lnTo>
                  <a:pt x="12459" y="4332"/>
                </a:lnTo>
                <a:lnTo>
                  <a:pt x="12289" y="4453"/>
                </a:lnTo>
                <a:lnTo>
                  <a:pt x="12143" y="4575"/>
                </a:lnTo>
                <a:lnTo>
                  <a:pt x="12118" y="4624"/>
                </a:lnTo>
                <a:lnTo>
                  <a:pt x="12143" y="4648"/>
                </a:lnTo>
                <a:lnTo>
                  <a:pt x="12337" y="4672"/>
                </a:lnTo>
                <a:lnTo>
                  <a:pt x="12532" y="4648"/>
                </a:lnTo>
                <a:lnTo>
                  <a:pt x="12727" y="4599"/>
                </a:lnTo>
                <a:lnTo>
                  <a:pt x="12921" y="4502"/>
                </a:lnTo>
                <a:lnTo>
                  <a:pt x="13310" y="4307"/>
                </a:lnTo>
                <a:lnTo>
                  <a:pt x="13481" y="4210"/>
                </a:lnTo>
                <a:lnTo>
                  <a:pt x="13651" y="4137"/>
                </a:lnTo>
                <a:lnTo>
                  <a:pt x="13578" y="4502"/>
                </a:lnTo>
                <a:lnTo>
                  <a:pt x="13456" y="4526"/>
                </a:lnTo>
                <a:lnTo>
                  <a:pt x="13310" y="4551"/>
                </a:lnTo>
                <a:lnTo>
                  <a:pt x="13067" y="4672"/>
                </a:lnTo>
                <a:lnTo>
                  <a:pt x="12605" y="4915"/>
                </a:lnTo>
                <a:lnTo>
                  <a:pt x="12337" y="5013"/>
                </a:lnTo>
                <a:lnTo>
                  <a:pt x="12216" y="5086"/>
                </a:lnTo>
                <a:lnTo>
                  <a:pt x="12118" y="5159"/>
                </a:lnTo>
                <a:lnTo>
                  <a:pt x="12094" y="5207"/>
                </a:lnTo>
                <a:lnTo>
                  <a:pt x="12118" y="5256"/>
                </a:lnTo>
                <a:lnTo>
                  <a:pt x="12216" y="5305"/>
                </a:lnTo>
                <a:lnTo>
                  <a:pt x="12313" y="5353"/>
                </a:lnTo>
                <a:lnTo>
                  <a:pt x="12508" y="5353"/>
                </a:lnTo>
                <a:lnTo>
                  <a:pt x="12727" y="5280"/>
                </a:lnTo>
                <a:lnTo>
                  <a:pt x="12921" y="5207"/>
                </a:lnTo>
                <a:lnTo>
                  <a:pt x="13383" y="5013"/>
                </a:lnTo>
                <a:lnTo>
                  <a:pt x="13481" y="4964"/>
                </a:lnTo>
                <a:lnTo>
                  <a:pt x="13432" y="5280"/>
                </a:lnTo>
                <a:lnTo>
                  <a:pt x="13286" y="5305"/>
                </a:lnTo>
                <a:lnTo>
                  <a:pt x="13140" y="5353"/>
                </a:lnTo>
                <a:lnTo>
                  <a:pt x="12872" y="5499"/>
                </a:lnTo>
                <a:lnTo>
                  <a:pt x="12435" y="5645"/>
                </a:lnTo>
                <a:lnTo>
                  <a:pt x="12240" y="5743"/>
                </a:lnTo>
                <a:lnTo>
                  <a:pt x="12021" y="5840"/>
                </a:lnTo>
                <a:lnTo>
                  <a:pt x="12021" y="5864"/>
                </a:lnTo>
                <a:lnTo>
                  <a:pt x="12045" y="5889"/>
                </a:lnTo>
                <a:lnTo>
                  <a:pt x="12216" y="5913"/>
                </a:lnTo>
                <a:lnTo>
                  <a:pt x="12410" y="5889"/>
                </a:lnTo>
                <a:lnTo>
                  <a:pt x="12605" y="5840"/>
                </a:lnTo>
                <a:lnTo>
                  <a:pt x="12775" y="5791"/>
                </a:lnTo>
                <a:lnTo>
                  <a:pt x="13067" y="5694"/>
                </a:lnTo>
                <a:lnTo>
                  <a:pt x="13359" y="5572"/>
                </a:lnTo>
                <a:lnTo>
                  <a:pt x="13335" y="5694"/>
                </a:lnTo>
                <a:lnTo>
                  <a:pt x="13310" y="5913"/>
                </a:lnTo>
                <a:lnTo>
                  <a:pt x="13116" y="5937"/>
                </a:lnTo>
                <a:lnTo>
                  <a:pt x="12945" y="5986"/>
                </a:lnTo>
                <a:lnTo>
                  <a:pt x="12605" y="6108"/>
                </a:lnTo>
                <a:lnTo>
                  <a:pt x="12191" y="6254"/>
                </a:lnTo>
                <a:lnTo>
                  <a:pt x="11997" y="6351"/>
                </a:lnTo>
                <a:lnTo>
                  <a:pt x="11826" y="6473"/>
                </a:lnTo>
                <a:lnTo>
                  <a:pt x="11826" y="6497"/>
                </a:lnTo>
                <a:lnTo>
                  <a:pt x="11826" y="6521"/>
                </a:lnTo>
                <a:lnTo>
                  <a:pt x="12021" y="6497"/>
                </a:lnTo>
                <a:lnTo>
                  <a:pt x="12216" y="6448"/>
                </a:lnTo>
                <a:lnTo>
                  <a:pt x="12581" y="6327"/>
                </a:lnTo>
                <a:lnTo>
                  <a:pt x="12921" y="6229"/>
                </a:lnTo>
                <a:lnTo>
                  <a:pt x="13262" y="6132"/>
                </a:lnTo>
                <a:lnTo>
                  <a:pt x="13262" y="6132"/>
                </a:lnTo>
                <a:lnTo>
                  <a:pt x="13213" y="6327"/>
                </a:lnTo>
                <a:lnTo>
                  <a:pt x="13140" y="6351"/>
                </a:lnTo>
                <a:lnTo>
                  <a:pt x="12800" y="6546"/>
                </a:lnTo>
                <a:lnTo>
                  <a:pt x="12459" y="6740"/>
                </a:lnTo>
                <a:lnTo>
                  <a:pt x="12118" y="6935"/>
                </a:lnTo>
                <a:lnTo>
                  <a:pt x="11948" y="7057"/>
                </a:lnTo>
                <a:lnTo>
                  <a:pt x="11802" y="7178"/>
                </a:lnTo>
                <a:lnTo>
                  <a:pt x="11802" y="7227"/>
                </a:lnTo>
                <a:lnTo>
                  <a:pt x="11802" y="7251"/>
                </a:lnTo>
                <a:lnTo>
                  <a:pt x="11826" y="7251"/>
                </a:lnTo>
                <a:lnTo>
                  <a:pt x="12167" y="7203"/>
                </a:lnTo>
                <a:lnTo>
                  <a:pt x="12508" y="7081"/>
                </a:lnTo>
                <a:lnTo>
                  <a:pt x="12824" y="6935"/>
                </a:lnTo>
                <a:lnTo>
                  <a:pt x="13140" y="6789"/>
                </a:lnTo>
                <a:lnTo>
                  <a:pt x="13140" y="6789"/>
                </a:lnTo>
                <a:lnTo>
                  <a:pt x="13091" y="6984"/>
                </a:lnTo>
                <a:lnTo>
                  <a:pt x="12945" y="7081"/>
                </a:lnTo>
                <a:lnTo>
                  <a:pt x="12848" y="7130"/>
                </a:lnTo>
                <a:lnTo>
                  <a:pt x="12362" y="7495"/>
                </a:lnTo>
                <a:lnTo>
                  <a:pt x="11851" y="7860"/>
                </a:lnTo>
                <a:lnTo>
                  <a:pt x="11875" y="7884"/>
                </a:lnTo>
                <a:lnTo>
                  <a:pt x="11997" y="7908"/>
                </a:lnTo>
                <a:lnTo>
                  <a:pt x="12216" y="7908"/>
                </a:lnTo>
                <a:lnTo>
                  <a:pt x="12337" y="7860"/>
                </a:lnTo>
                <a:lnTo>
                  <a:pt x="12556" y="7762"/>
                </a:lnTo>
                <a:lnTo>
                  <a:pt x="12775" y="7616"/>
                </a:lnTo>
                <a:lnTo>
                  <a:pt x="12994" y="7470"/>
                </a:lnTo>
                <a:lnTo>
                  <a:pt x="12994" y="7470"/>
                </a:lnTo>
                <a:lnTo>
                  <a:pt x="12921" y="7762"/>
                </a:lnTo>
                <a:lnTo>
                  <a:pt x="12872" y="7762"/>
                </a:lnTo>
                <a:lnTo>
                  <a:pt x="12556" y="7957"/>
                </a:lnTo>
                <a:lnTo>
                  <a:pt x="12216" y="8103"/>
                </a:lnTo>
                <a:lnTo>
                  <a:pt x="12070" y="8176"/>
                </a:lnTo>
                <a:lnTo>
                  <a:pt x="11924" y="8273"/>
                </a:lnTo>
                <a:lnTo>
                  <a:pt x="11802" y="8371"/>
                </a:lnTo>
                <a:lnTo>
                  <a:pt x="11680" y="8492"/>
                </a:lnTo>
                <a:lnTo>
                  <a:pt x="11680" y="8541"/>
                </a:lnTo>
                <a:lnTo>
                  <a:pt x="11729" y="8565"/>
                </a:lnTo>
                <a:lnTo>
                  <a:pt x="11972" y="8517"/>
                </a:lnTo>
                <a:lnTo>
                  <a:pt x="12240" y="8468"/>
                </a:lnTo>
                <a:lnTo>
                  <a:pt x="12508" y="8371"/>
                </a:lnTo>
                <a:lnTo>
                  <a:pt x="12775" y="8273"/>
                </a:lnTo>
                <a:lnTo>
                  <a:pt x="12702" y="8419"/>
                </a:lnTo>
                <a:lnTo>
                  <a:pt x="12629" y="8590"/>
                </a:lnTo>
                <a:lnTo>
                  <a:pt x="12483" y="8614"/>
                </a:lnTo>
                <a:lnTo>
                  <a:pt x="12337" y="8687"/>
                </a:lnTo>
                <a:lnTo>
                  <a:pt x="12070" y="8784"/>
                </a:lnTo>
                <a:lnTo>
                  <a:pt x="11899" y="8857"/>
                </a:lnTo>
                <a:lnTo>
                  <a:pt x="11729" y="8955"/>
                </a:lnTo>
                <a:lnTo>
                  <a:pt x="11583" y="9052"/>
                </a:lnTo>
                <a:lnTo>
                  <a:pt x="11461" y="9198"/>
                </a:lnTo>
                <a:lnTo>
                  <a:pt x="11461" y="9222"/>
                </a:lnTo>
                <a:lnTo>
                  <a:pt x="11486" y="9222"/>
                </a:lnTo>
                <a:lnTo>
                  <a:pt x="11851" y="9174"/>
                </a:lnTo>
                <a:lnTo>
                  <a:pt x="12240" y="9101"/>
                </a:lnTo>
                <a:lnTo>
                  <a:pt x="12459" y="9028"/>
                </a:lnTo>
                <a:lnTo>
                  <a:pt x="12386" y="9174"/>
                </a:lnTo>
                <a:lnTo>
                  <a:pt x="12143" y="9271"/>
                </a:lnTo>
                <a:lnTo>
                  <a:pt x="11899" y="9344"/>
                </a:lnTo>
                <a:lnTo>
                  <a:pt x="11534" y="9466"/>
                </a:lnTo>
                <a:lnTo>
                  <a:pt x="11340" y="9563"/>
                </a:lnTo>
                <a:lnTo>
                  <a:pt x="11194" y="9660"/>
                </a:lnTo>
                <a:lnTo>
                  <a:pt x="11169" y="9685"/>
                </a:lnTo>
                <a:lnTo>
                  <a:pt x="11169" y="9733"/>
                </a:lnTo>
                <a:lnTo>
                  <a:pt x="11194" y="9758"/>
                </a:lnTo>
                <a:lnTo>
                  <a:pt x="11218" y="9782"/>
                </a:lnTo>
                <a:lnTo>
                  <a:pt x="11413" y="9831"/>
                </a:lnTo>
                <a:lnTo>
                  <a:pt x="11583" y="9806"/>
                </a:lnTo>
                <a:lnTo>
                  <a:pt x="11778" y="9758"/>
                </a:lnTo>
                <a:lnTo>
                  <a:pt x="11948" y="9709"/>
                </a:lnTo>
                <a:lnTo>
                  <a:pt x="11875" y="9782"/>
                </a:lnTo>
                <a:lnTo>
                  <a:pt x="11875" y="9879"/>
                </a:lnTo>
                <a:lnTo>
                  <a:pt x="11851" y="9879"/>
                </a:lnTo>
                <a:lnTo>
                  <a:pt x="11656" y="9928"/>
                </a:lnTo>
                <a:lnTo>
                  <a:pt x="11437" y="10001"/>
                </a:lnTo>
                <a:lnTo>
                  <a:pt x="11072" y="10147"/>
                </a:lnTo>
                <a:lnTo>
                  <a:pt x="10683" y="10293"/>
                </a:lnTo>
                <a:lnTo>
                  <a:pt x="10683" y="10317"/>
                </a:lnTo>
                <a:lnTo>
                  <a:pt x="10707" y="10342"/>
                </a:lnTo>
                <a:lnTo>
                  <a:pt x="10877" y="10317"/>
                </a:lnTo>
                <a:lnTo>
                  <a:pt x="11048" y="10317"/>
                </a:lnTo>
                <a:lnTo>
                  <a:pt x="11413" y="10220"/>
                </a:lnTo>
                <a:lnTo>
                  <a:pt x="11583" y="10171"/>
                </a:lnTo>
                <a:lnTo>
                  <a:pt x="11583" y="10171"/>
                </a:lnTo>
                <a:lnTo>
                  <a:pt x="11291" y="10463"/>
                </a:lnTo>
                <a:lnTo>
                  <a:pt x="11023" y="10536"/>
                </a:lnTo>
                <a:lnTo>
                  <a:pt x="10658" y="10585"/>
                </a:lnTo>
                <a:lnTo>
                  <a:pt x="10464" y="10634"/>
                </a:lnTo>
                <a:lnTo>
                  <a:pt x="10391" y="10682"/>
                </a:lnTo>
                <a:lnTo>
                  <a:pt x="10318" y="10731"/>
                </a:lnTo>
                <a:lnTo>
                  <a:pt x="10293" y="10755"/>
                </a:lnTo>
                <a:lnTo>
                  <a:pt x="10318" y="10804"/>
                </a:lnTo>
                <a:lnTo>
                  <a:pt x="10439" y="10853"/>
                </a:lnTo>
                <a:lnTo>
                  <a:pt x="10585" y="10877"/>
                </a:lnTo>
                <a:lnTo>
                  <a:pt x="10731" y="10877"/>
                </a:lnTo>
                <a:lnTo>
                  <a:pt x="10877" y="10853"/>
                </a:lnTo>
                <a:lnTo>
                  <a:pt x="10756" y="10926"/>
                </a:lnTo>
                <a:lnTo>
                  <a:pt x="10512" y="10999"/>
                </a:lnTo>
                <a:lnTo>
                  <a:pt x="10172" y="11047"/>
                </a:lnTo>
                <a:lnTo>
                  <a:pt x="10001" y="11096"/>
                </a:lnTo>
                <a:lnTo>
                  <a:pt x="9831" y="11169"/>
                </a:lnTo>
                <a:lnTo>
                  <a:pt x="9807" y="11218"/>
                </a:lnTo>
                <a:lnTo>
                  <a:pt x="9831" y="11242"/>
                </a:lnTo>
                <a:lnTo>
                  <a:pt x="9953" y="11315"/>
                </a:lnTo>
                <a:lnTo>
                  <a:pt x="10074" y="11339"/>
                </a:lnTo>
                <a:lnTo>
                  <a:pt x="9782" y="11461"/>
                </a:lnTo>
                <a:lnTo>
                  <a:pt x="9490" y="11534"/>
                </a:lnTo>
                <a:lnTo>
                  <a:pt x="9198" y="11607"/>
                </a:lnTo>
                <a:lnTo>
                  <a:pt x="8906" y="11656"/>
                </a:lnTo>
                <a:lnTo>
                  <a:pt x="8639" y="11680"/>
                </a:lnTo>
                <a:lnTo>
                  <a:pt x="8347" y="11680"/>
                </a:lnTo>
                <a:lnTo>
                  <a:pt x="8079" y="11656"/>
                </a:lnTo>
                <a:lnTo>
                  <a:pt x="7836" y="11607"/>
                </a:lnTo>
                <a:lnTo>
                  <a:pt x="7568" y="11534"/>
                </a:lnTo>
                <a:lnTo>
                  <a:pt x="7325" y="11437"/>
                </a:lnTo>
                <a:lnTo>
                  <a:pt x="7081" y="11315"/>
                </a:lnTo>
                <a:lnTo>
                  <a:pt x="6838" y="11193"/>
                </a:lnTo>
                <a:lnTo>
                  <a:pt x="6595" y="11047"/>
                </a:lnTo>
                <a:lnTo>
                  <a:pt x="6376" y="10901"/>
                </a:lnTo>
                <a:lnTo>
                  <a:pt x="6157" y="10731"/>
                </a:lnTo>
                <a:lnTo>
                  <a:pt x="5962" y="10536"/>
                </a:lnTo>
                <a:lnTo>
                  <a:pt x="5840" y="10390"/>
                </a:lnTo>
                <a:lnTo>
                  <a:pt x="5719" y="10220"/>
                </a:lnTo>
                <a:lnTo>
                  <a:pt x="5524" y="9904"/>
                </a:lnTo>
                <a:lnTo>
                  <a:pt x="5548" y="9782"/>
                </a:lnTo>
                <a:lnTo>
                  <a:pt x="5500" y="9660"/>
                </a:lnTo>
                <a:lnTo>
                  <a:pt x="5475" y="9612"/>
                </a:lnTo>
                <a:lnTo>
                  <a:pt x="5427" y="9563"/>
                </a:lnTo>
                <a:lnTo>
                  <a:pt x="5378" y="9539"/>
                </a:lnTo>
                <a:lnTo>
                  <a:pt x="5305" y="9539"/>
                </a:lnTo>
                <a:lnTo>
                  <a:pt x="4867" y="9441"/>
                </a:lnTo>
                <a:lnTo>
                  <a:pt x="4429" y="9320"/>
                </a:lnTo>
                <a:lnTo>
                  <a:pt x="4040" y="9174"/>
                </a:lnTo>
                <a:lnTo>
                  <a:pt x="3651" y="8955"/>
                </a:lnTo>
                <a:lnTo>
                  <a:pt x="3310" y="8711"/>
                </a:lnTo>
                <a:lnTo>
                  <a:pt x="2994" y="8444"/>
                </a:lnTo>
                <a:lnTo>
                  <a:pt x="2677" y="8152"/>
                </a:lnTo>
                <a:lnTo>
                  <a:pt x="2410" y="7811"/>
                </a:lnTo>
                <a:lnTo>
                  <a:pt x="2142" y="7470"/>
                </a:lnTo>
                <a:lnTo>
                  <a:pt x="1923" y="7081"/>
                </a:lnTo>
                <a:lnTo>
                  <a:pt x="1704" y="6716"/>
                </a:lnTo>
                <a:lnTo>
                  <a:pt x="1509" y="6302"/>
                </a:lnTo>
                <a:lnTo>
                  <a:pt x="1339" y="5913"/>
                </a:lnTo>
                <a:lnTo>
                  <a:pt x="1169" y="5499"/>
                </a:lnTo>
                <a:lnTo>
                  <a:pt x="1047" y="5086"/>
                </a:lnTo>
                <a:lnTo>
                  <a:pt x="925" y="4672"/>
                </a:lnTo>
                <a:lnTo>
                  <a:pt x="731" y="4040"/>
                </a:lnTo>
                <a:lnTo>
                  <a:pt x="560" y="3358"/>
                </a:lnTo>
                <a:lnTo>
                  <a:pt x="487" y="3018"/>
                </a:lnTo>
                <a:lnTo>
                  <a:pt x="463" y="2701"/>
                </a:lnTo>
                <a:lnTo>
                  <a:pt x="463" y="2361"/>
                </a:lnTo>
                <a:lnTo>
                  <a:pt x="512" y="2020"/>
                </a:lnTo>
                <a:lnTo>
                  <a:pt x="560" y="1923"/>
                </a:lnTo>
                <a:lnTo>
                  <a:pt x="609" y="1850"/>
                </a:lnTo>
                <a:lnTo>
                  <a:pt x="731" y="1679"/>
                </a:lnTo>
                <a:lnTo>
                  <a:pt x="877" y="1582"/>
                </a:lnTo>
                <a:lnTo>
                  <a:pt x="1071" y="1485"/>
                </a:lnTo>
                <a:lnTo>
                  <a:pt x="1266" y="1436"/>
                </a:lnTo>
                <a:lnTo>
                  <a:pt x="1485" y="1387"/>
                </a:lnTo>
                <a:lnTo>
                  <a:pt x="1874" y="1339"/>
                </a:lnTo>
                <a:lnTo>
                  <a:pt x="2215" y="1314"/>
                </a:lnTo>
                <a:lnTo>
                  <a:pt x="2580" y="1339"/>
                </a:lnTo>
                <a:lnTo>
                  <a:pt x="3115" y="1339"/>
                </a:lnTo>
                <a:lnTo>
                  <a:pt x="3286" y="1314"/>
                </a:lnTo>
                <a:lnTo>
                  <a:pt x="3383" y="1339"/>
                </a:lnTo>
                <a:lnTo>
                  <a:pt x="3456" y="1339"/>
                </a:lnTo>
                <a:lnTo>
                  <a:pt x="3553" y="1290"/>
                </a:lnTo>
                <a:lnTo>
                  <a:pt x="3578" y="1241"/>
                </a:lnTo>
                <a:lnTo>
                  <a:pt x="3578" y="1193"/>
                </a:lnTo>
                <a:lnTo>
                  <a:pt x="3602" y="1047"/>
                </a:lnTo>
                <a:lnTo>
                  <a:pt x="3602" y="876"/>
                </a:lnTo>
                <a:lnTo>
                  <a:pt x="3578" y="584"/>
                </a:lnTo>
                <a:lnTo>
                  <a:pt x="3894" y="536"/>
                </a:lnTo>
                <a:lnTo>
                  <a:pt x="4210" y="511"/>
                </a:lnTo>
                <a:lnTo>
                  <a:pt x="4867" y="511"/>
                </a:lnTo>
                <a:lnTo>
                  <a:pt x="5500" y="536"/>
                </a:lnTo>
                <a:lnTo>
                  <a:pt x="6132" y="536"/>
                </a:lnTo>
                <a:lnTo>
                  <a:pt x="7422" y="511"/>
                </a:lnTo>
                <a:lnTo>
                  <a:pt x="11315" y="511"/>
                </a:lnTo>
                <a:lnTo>
                  <a:pt x="11948" y="487"/>
                </a:lnTo>
                <a:lnTo>
                  <a:pt x="12556" y="463"/>
                </a:lnTo>
                <a:close/>
                <a:moveTo>
                  <a:pt x="9636" y="12069"/>
                </a:moveTo>
                <a:lnTo>
                  <a:pt x="9612" y="12118"/>
                </a:lnTo>
                <a:lnTo>
                  <a:pt x="9466" y="12167"/>
                </a:lnTo>
                <a:lnTo>
                  <a:pt x="9320" y="12240"/>
                </a:lnTo>
                <a:lnTo>
                  <a:pt x="9052" y="12386"/>
                </a:lnTo>
                <a:lnTo>
                  <a:pt x="8906" y="12483"/>
                </a:lnTo>
                <a:lnTo>
                  <a:pt x="8809" y="12580"/>
                </a:lnTo>
                <a:lnTo>
                  <a:pt x="8785" y="12629"/>
                </a:lnTo>
                <a:lnTo>
                  <a:pt x="8809" y="12702"/>
                </a:lnTo>
                <a:lnTo>
                  <a:pt x="8858" y="12751"/>
                </a:lnTo>
                <a:lnTo>
                  <a:pt x="9052" y="12751"/>
                </a:lnTo>
                <a:lnTo>
                  <a:pt x="9198" y="12702"/>
                </a:lnTo>
                <a:lnTo>
                  <a:pt x="9466" y="12580"/>
                </a:lnTo>
                <a:lnTo>
                  <a:pt x="9563" y="12556"/>
                </a:lnTo>
                <a:lnTo>
                  <a:pt x="9563" y="12678"/>
                </a:lnTo>
                <a:lnTo>
                  <a:pt x="9198" y="12872"/>
                </a:lnTo>
                <a:lnTo>
                  <a:pt x="8955" y="13018"/>
                </a:lnTo>
                <a:lnTo>
                  <a:pt x="8833" y="13115"/>
                </a:lnTo>
                <a:lnTo>
                  <a:pt x="8760" y="13237"/>
                </a:lnTo>
                <a:lnTo>
                  <a:pt x="8736" y="13261"/>
                </a:lnTo>
                <a:lnTo>
                  <a:pt x="8760" y="13310"/>
                </a:lnTo>
                <a:lnTo>
                  <a:pt x="8785" y="13334"/>
                </a:lnTo>
                <a:lnTo>
                  <a:pt x="8955" y="13334"/>
                </a:lnTo>
                <a:lnTo>
                  <a:pt x="9077" y="13286"/>
                </a:lnTo>
                <a:lnTo>
                  <a:pt x="9320" y="13188"/>
                </a:lnTo>
                <a:lnTo>
                  <a:pt x="9588" y="13042"/>
                </a:lnTo>
                <a:lnTo>
                  <a:pt x="9588" y="13213"/>
                </a:lnTo>
                <a:lnTo>
                  <a:pt x="9223" y="13383"/>
                </a:lnTo>
                <a:lnTo>
                  <a:pt x="9077" y="13480"/>
                </a:lnTo>
                <a:lnTo>
                  <a:pt x="8931" y="13578"/>
                </a:lnTo>
                <a:lnTo>
                  <a:pt x="8906" y="13626"/>
                </a:lnTo>
                <a:lnTo>
                  <a:pt x="8882" y="13675"/>
                </a:lnTo>
                <a:lnTo>
                  <a:pt x="8882" y="13797"/>
                </a:lnTo>
                <a:lnTo>
                  <a:pt x="8882" y="13821"/>
                </a:lnTo>
                <a:lnTo>
                  <a:pt x="8906" y="13845"/>
                </a:lnTo>
                <a:lnTo>
                  <a:pt x="9004" y="13845"/>
                </a:lnTo>
                <a:lnTo>
                  <a:pt x="9077" y="13821"/>
                </a:lnTo>
                <a:lnTo>
                  <a:pt x="9247" y="13748"/>
                </a:lnTo>
                <a:lnTo>
                  <a:pt x="9393" y="13675"/>
                </a:lnTo>
                <a:lnTo>
                  <a:pt x="9612" y="13578"/>
                </a:lnTo>
                <a:lnTo>
                  <a:pt x="9588" y="13602"/>
                </a:lnTo>
                <a:lnTo>
                  <a:pt x="9417" y="13699"/>
                </a:lnTo>
                <a:lnTo>
                  <a:pt x="9223" y="13845"/>
                </a:lnTo>
                <a:lnTo>
                  <a:pt x="9077" y="13991"/>
                </a:lnTo>
                <a:lnTo>
                  <a:pt x="8931" y="14162"/>
                </a:lnTo>
                <a:lnTo>
                  <a:pt x="8931" y="14186"/>
                </a:lnTo>
                <a:lnTo>
                  <a:pt x="8931" y="14210"/>
                </a:lnTo>
                <a:lnTo>
                  <a:pt x="8955" y="14235"/>
                </a:lnTo>
                <a:lnTo>
                  <a:pt x="8979" y="14235"/>
                </a:lnTo>
                <a:lnTo>
                  <a:pt x="9271" y="14137"/>
                </a:lnTo>
                <a:lnTo>
                  <a:pt x="9563" y="14016"/>
                </a:lnTo>
                <a:lnTo>
                  <a:pt x="9563" y="14259"/>
                </a:lnTo>
                <a:lnTo>
                  <a:pt x="9320" y="14405"/>
                </a:lnTo>
                <a:lnTo>
                  <a:pt x="9198" y="14454"/>
                </a:lnTo>
                <a:lnTo>
                  <a:pt x="9052" y="14551"/>
                </a:lnTo>
                <a:lnTo>
                  <a:pt x="8955" y="14648"/>
                </a:lnTo>
                <a:lnTo>
                  <a:pt x="8906" y="14697"/>
                </a:lnTo>
                <a:lnTo>
                  <a:pt x="8882" y="14770"/>
                </a:lnTo>
                <a:lnTo>
                  <a:pt x="8882" y="14819"/>
                </a:lnTo>
                <a:lnTo>
                  <a:pt x="8931" y="14843"/>
                </a:lnTo>
                <a:lnTo>
                  <a:pt x="9004" y="14867"/>
                </a:lnTo>
                <a:lnTo>
                  <a:pt x="9077" y="14843"/>
                </a:lnTo>
                <a:lnTo>
                  <a:pt x="9223" y="14819"/>
                </a:lnTo>
                <a:lnTo>
                  <a:pt x="9490" y="14673"/>
                </a:lnTo>
                <a:lnTo>
                  <a:pt x="9539" y="14648"/>
                </a:lnTo>
                <a:lnTo>
                  <a:pt x="9563" y="14940"/>
                </a:lnTo>
                <a:lnTo>
                  <a:pt x="9442" y="14965"/>
                </a:lnTo>
                <a:lnTo>
                  <a:pt x="9320" y="15038"/>
                </a:lnTo>
                <a:lnTo>
                  <a:pt x="9174" y="15159"/>
                </a:lnTo>
                <a:lnTo>
                  <a:pt x="9101" y="15232"/>
                </a:lnTo>
                <a:lnTo>
                  <a:pt x="9052" y="15281"/>
                </a:lnTo>
                <a:lnTo>
                  <a:pt x="9028" y="15305"/>
                </a:lnTo>
                <a:lnTo>
                  <a:pt x="9028" y="15354"/>
                </a:lnTo>
                <a:lnTo>
                  <a:pt x="9174" y="15354"/>
                </a:lnTo>
                <a:lnTo>
                  <a:pt x="9271" y="15330"/>
                </a:lnTo>
                <a:lnTo>
                  <a:pt x="9442" y="15257"/>
                </a:lnTo>
                <a:lnTo>
                  <a:pt x="9539" y="15208"/>
                </a:lnTo>
                <a:lnTo>
                  <a:pt x="9612" y="15159"/>
                </a:lnTo>
                <a:lnTo>
                  <a:pt x="9661" y="15208"/>
                </a:lnTo>
                <a:lnTo>
                  <a:pt x="9539" y="15281"/>
                </a:lnTo>
                <a:lnTo>
                  <a:pt x="9393" y="15378"/>
                </a:lnTo>
                <a:lnTo>
                  <a:pt x="9296" y="15500"/>
                </a:lnTo>
                <a:lnTo>
                  <a:pt x="9223" y="15622"/>
                </a:lnTo>
                <a:lnTo>
                  <a:pt x="9223" y="15646"/>
                </a:lnTo>
                <a:lnTo>
                  <a:pt x="9223" y="15695"/>
                </a:lnTo>
                <a:lnTo>
                  <a:pt x="9271" y="15743"/>
                </a:lnTo>
                <a:lnTo>
                  <a:pt x="9344" y="15768"/>
                </a:lnTo>
                <a:lnTo>
                  <a:pt x="9417" y="15768"/>
                </a:lnTo>
                <a:lnTo>
                  <a:pt x="9636" y="15670"/>
                </a:lnTo>
                <a:lnTo>
                  <a:pt x="9855" y="15573"/>
                </a:lnTo>
                <a:lnTo>
                  <a:pt x="10123" y="15500"/>
                </a:lnTo>
                <a:lnTo>
                  <a:pt x="10196" y="15524"/>
                </a:lnTo>
                <a:lnTo>
                  <a:pt x="10074" y="15573"/>
                </a:lnTo>
                <a:lnTo>
                  <a:pt x="9953" y="15670"/>
                </a:lnTo>
                <a:lnTo>
                  <a:pt x="9855" y="15768"/>
                </a:lnTo>
                <a:lnTo>
                  <a:pt x="9807" y="15865"/>
                </a:lnTo>
                <a:lnTo>
                  <a:pt x="9807" y="15938"/>
                </a:lnTo>
                <a:lnTo>
                  <a:pt x="9831" y="15987"/>
                </a:lnTo>
                <a:lnTo>
                  <a:pt x="9880" y="16035"/>
                </a:lnTo>
                <a:lnTo>
                  <a:pt x="9928" y="16035"/>
                </a:lnTo>
                <a:lnTo>
                  <a:pt x="10099" y="16011"/>
                </a:lnTo>
                <a:lnTo>
                  <a:pt x="10245" y="15962"/>
                </a:lnTo>
                <a:lnTo>
                  <a:pt x="10537" y="15841"/>
                </a:lnTo>
                <a:lnTo>
                  <a:pt x="10829" y="15768"/>
                </a:lnTo>
                <a:lnTo>
                  <a:pt x="10950" y="15743"/>
                </a:lnTo>
                <a:lnTo>
                  <a:pt x="11096" y="15670"/>
                </a:lnTo>
                <a:lnTo>
                  <a:pt x="11267" y="15719"/>
                </a:lnTo>
                <a:lnTo>
                  <a:pt x="11169" y="15743"/>
                </a:lnTo>
                <a:lnTo>
                  <a:pt x="11072" y="15768"/>
                </a:lnTo>
                <a:lnTo>
                  <a:pt x="10877" y="15865"/>
                </a:lnTo>
                <a:lnTo>
                  <a:pt x="10610" y="15987"/>
                </a:lnTo>
                <a:lnTo>
                  <a:pt x="10488" y="16060"/>
                </a:lnTo>
                <a:lnTo>
                  <a:pt x="10366" y="16157"/>
                </a:lnTo>
                <a:lnTo>
                  <a:pt x="10342" y="16230"/>
                </a:lnTo>
                <a:lnTo>
                  <a:pt x="10366" y="16303"/>
                </a:lnTo>
                <a:lnTo>
                  <a:pt x="10415" y="16352"/>
                </a:lnTo>
                <a:lnTo>
                  <a:pt x="10634" y="16352"/>
                </a:lnTo>
                <a:lnTo>
                  <a:pt x="10780" y="16303"/>
                </a:lnTo>
                <a:lnTo>
                  <a:pt x="11048" y="16181"/>
                </a:lnTo>
                <a:lnTo>
                  <a:pt x="11315" y="16084"/>
                </a:lnTo>
                <a:lnTo>
                  <a:pt x="11437" y="16011"/>
                </a:lnTo>
                <a:lnTo>
                  <a:pt x="11486" y="15962"/>
                </a:lnTo>
                <a:lnTo>
                  <a:pt x="11510" y="15889"/>
                </a:lnTo>
                <a:lnTo>
                  <a:pt x="11510" y="15841"/>
                </a:lnTo>
                <a:lnTo>
                  <a:pt x="11510" y="15816"/>
                </a:lnTo>
                <a:lnTo>
                  <a:pt x="11826" y="15962"/>
                </a:lnTo>
                <a:lnTo>
                  <a:pt x="11583" y="16035"/>
                </a:lnTo>
                <a:lnTo>
                  <a:pt x="11340" y="16108"/>
                </a:lnTo>
                <a:lnTo>
                  <a:pt x="11121" y="16230"/>
                </a:lnTo>
                <a:lnTo>
                  <a:pt x="11048" y="16303"/>
                </a:lnTo>
                <a:lnTo>
                  <a:pt x="10975" y="16376"/>
                </a:lnTo>
                <a:lnTo>
                  <a:pt x="10950" y="16449"/>
                </a:lnTo>
                <a:lnTo>
                  <a:pt x="10950" y="16522"/>
                </a:lnTo>
                <a:lnTo>
                  <a:pt x="10999" y="16571"/>
                </a:lnTo>
                <a:lnTo>
                  <a:pt x="11072" y="16571"/>
                </a:lnTo>
                <a:lnTo>
                  <a:pt x="11291" y="16473"/>
                </a:lnTo>
                <a:lnTo>
                  <a:pt x="11510" y="16376"/>
                </a:lnTo>
                <a:lnTo>
                  <a:pt x="11802" y="16279"/>
                </a:lnTo>
                <a:lnTo>
                  <a:pt x="12094" y="16206"/>
                </a:lnTo>
                <a:lnTo>
                  <a:pt x="12143" y="16181"/>
                </a:lnTo>
                <a:lnTo>
                  <a:pt x="12313" y="16303"/>
                </a:lnTo>
                <a:lnTo>
                  <a:pt x="12021" y="16352"/>
                </a:lnTo>
                <a:lnTo>
                  <a:pt x="11851" y="16376"/>
                </a:lnTo>
                <a:lnTo>
                  <a:pt x="11705" y="16425"/>
                </a:lnTo>
                <a:lnTo>
                  <a:pt x="11559" y="16498"/>
                </a:lnTo>
                <a:lnTo>
                  <a:pt x="11413" y="16571"/>
                </a:lnTo>
                <a:lnTo>
                  <a:pt x="11364" y="16619"/>
                </a:lnTo>
                <a:lnTo>
                  <a:pt x="11340" y="16668"/>
                </a:lnTo>
                <a:lnTo>
                  <a:pt x="11340" y="16717"/>
                </a:lnTo>
                <a:lnTo>
                  <a:pt x="11340" y="16765"/>
                </a:lnTo>
                <a:lnTo>
                  <a:pt x="11364" y="16814"/>
                </a:lnTo>
                <a:lnTo>
                  <a:pt x="11413" y="16863"/>
                </a:lnTo>
                <a:lnTo>
                  <a:pt x="11534" y="16863"/>
                </a:lnTo>
                <a:lnTo>
                  <a:pt x="11778" y="16790"/>
                </a:lnTo>
                <a:lnTo>
                  <a:pt x="12045" y="16717"/>
                </a:lnTo>
                <a:lnTo>
                  <a:pt x="12337" y="16692"/>
                </a:lnTo>
                <a:lnTo>
                  <a:pt x="12629" y="16644"/>
                </a:lnTo>
                <a:lnTo>
                  <a:pt x="12702" y="16741"/>
                </a:lnTo>
                <a:lnTo>
                  <a:pt x="12532" y="16814"/>
                </a:lnTo>
                <a:lnTo>
                  <a:pt x="12362" y="16887"/>
                </a:lnTo>
                <a:lnTo>
                  <a:pt x="11997" y="16984"/>
                </a:lnTo>
                <a:lnTo>
                  <a:pt x="11242" y="17106"/>
                </a:lnTo>
                <a:lnTo>
                  <a:pt x="10658" y="17203"/>
                </a:lnTo>
                <a:lnTo>
                  <a:pt x="10074" y="17252"/>
                </a:lnTo>
                <a:lnTo>
                  <a:pt x="9466" y="17276"/>
                </a:lnTo>
                <a:lnTo>
                  <a:pt x="7860" y="17276"/>
                </a:lnTo>
                <a:lnTo>
                  <a:pt x="7373" y="17228"/>
                </a:lnTo>
                <a:lnTo>
                  <a:pt x="6862" y="17179"/>
                </a:lnTo>
                <a:lnTo>
                  <a:pt x="5865" y="17057"/>
                </a:lnTo>
                <a:lnTo>
                  <a:pt x="4892" y="16863"/>
                </a:lnTo>
                <a:lnTo>
                  <a:pt x="4989" y="16668"/>
                </a:lnTo>
                <a:lnTo>
                  <a:pt x="5110" y="16522"/>
                </a:lnTo>
                <a:lnTo>
                  <a:pt x="5256" y="16376"/>
                </a:lnTo>
                <a:lnTo>
                  <a:pt x="5427" y="16254"/>
                </a:lnTo>
                <a:lnTo>
                  <a:pt x="5597" y="16157"/>
                </a:lnTo>
                <a:lnTo>
                  <a:pt x="5792" y="16060"/>
                </a:lnTo>
                <a:lnTo>
                  <a:pt x="6181" y="15914"/>
                </a:lnTo>
                <a:lnTo>
                  <a:pt x="6546" y="15768"/>
                </a:lnTo>
                <a:lnTo>
                  <a:pt x="6911" y="15622"/>
                </a:lnTo>
                <a:lnTo>
                  <a:pt x="7276" y="15476"/>
                </a:lnTo>
                <a:lnTo>
                  <a:pt x="7641" y="15354"/>
                </a:lnTo>
                <a:lnTo>
                  <a:pt x="7714" y="15330"/>
                </a:lnTo>
                <a:lnTo>
                  <a:pt x="7763" y="15281"/>
                </a:lnTo>
                <a:lnTo>
                  <a:pt x="7787" y="15257"/>
                </a:lnTo>
                <a:lnTo>
                  <a:pt x="7860" y="15159"/>
                </a:lnTo>
                <a:lnTo>
                  <a:pt x="7909" y="15086"/>
                </a:lnTo>
                <a:lnTo>
                  <a:pt x="7957" y="14892"/>
                </a:lnTo>
                <a:lnTo>
                  <a:pt x="7982" y="14697"/>
                </a:lnTo>
                <a:lnTo>
                  <a:pt x="8006" y="14478"/>
                </a:lnTo>
                <a:lnTo>
                  <a:pt x="8055" y="13894"/>
                </a:lnTo>
                <a:lnTo>
                  <a:pt x="8055" y="13286"/>
                </a:lnTo>
                <a:lnTo>
                  <a:pt x="8055" y="12726"/>
                </a:lnTo>
                <a:lnTo>
                  <a:pt x="8030" y="12434"/>
                </a:lnTo>
                <a:lnTo>
                  <a:pt x="7982" y="12167"/>
                </a:lnTo>
                <a:lnTo>
                  <a:pt x="8371" y="12191"/>
                </a:lnTo>
                <a:lnTo>
                  <a:pt x="8760" y="12191"/>
                </a:lnTo>
                <a:lnTo>
                  <a:pt x="9198" y="12167"/>
                </a:lnTo>
                <a:lnTo>
                  <a:pt x="9636" y="12069"/>
                </a:lnTo>
                <a:close/>
                <a:moveTo>
                  <a:pt x="12945" y="0"/>
                </a:moveTo>
                <a:lnTo>
                  <a:pt x="11705" y="49"/>
                </a:lnTo>
                <a:lnTo>
                  <a:pt x="7519" y="49"/>
                </a:lnTo>
                <a:lnTo>
                  <a:pt x="6132" y="73"/>
                </a:lnTo>
                <a:lnTo>
                  <a:pt x="5427" y="49"/>
                </a:lnTo>
                <a:lnTo>
                  <a:pt x="4697" y="49"/>
                </a:lnTo>
                <a:lnTo>
                  <a:pt x="3967" y="73"/>
                </a:lnTo>
                <a:lnTo>
                  <a:pt x="3626" y="98"/>
                </a:lnTo>
                <a:lnTo>
                  <a:pt x="3261" y="146"/>
                </a:lnTo>
                <a:lnTo>
                  <a:pt x="3213" y="171"/>
                </a:lnTo>
                <a:lnTo>
                  <a:pt x="3140" y="244"/>
                </a:lnTo>
                <a:lnTo>
                  <a:pt x="3115" y="292"/>
                </a:lnTo>
                <a:lnTo>
                  <a:pt x="3091" y="365"/>
                </a:lnTo>
                <a:lnTo>
                  <a:pt x="3164" y="1071"/>
                </a:lnTo>
                <a:lnTo>
                  <a:pt x="2994" y="998"/>
                </a:lnTo>
                <a:lnTo>
                  <a:pt x="2823" y="974"/>
                </a:lnTo>
                <a:lnTo>
                  <a:pt x="2434" y="949"/>
                </a:lnTo>
                <a:lnTo>
                  <a:pt x="2045" y="949"/>
                </a:lnTo>
                <a:lnTo>
                  <a:pt x="1728" y="974"/>
                </a:lnTo>
                <a:lnTo>
                  <a:pt x="1339" y="1022"/>
                </a:lnTo>
                <a:lnTo>
                  <a:pt x="1144" y="1047"/>
                </a:lnTo>
                <a:lnTo>
                  <a:pt x="974" y="1095"/>
                </a:lnTo>
                <a:lnTo>
                  <a:pt x="779" y="1168"/>
                </a:lnTo>
                <a:lnTo>
                  <a:pt x="609" y="1266"/>
                </a:lnTo>
                <a:lnTo>
                  <a:pt x="463" y="1387"/>
                </a:lnTo>
                <a:lnTo>
                  <a:pt x="317" y="1509"/>
                </a:lnTo>
                <a:lnTo>
                  <a:pt x="220" y="1679"/>
                </a:lnTo>
                <a:lnTo>
                  <a:pt x="122" y="1825"/>
                </a:lnTo>
                <a:lnTo>
                  <a:pt x="74" y="2020"/>
                </a:lnTo>
                <a:lnTo>
                  <a:pt x="25" y="2190"/>
                </a:lnTo>
                <a:lnTo>
                  <a:pt x="25" y="2385"/>
                </a:lnTo>
                <a:lnTo>
                  <a:pt x="1" y="2604"/>
                </a:lnTo>
                <a:lnTo>
                  <a:pt x="49" y="2993"/>
                </a:lnTo>
                <a:lnTo>
                  <a:pt x="98" y="3431"/>
                </a:lnTo>
                <a:lnTo>
                  <a:pt x="195" y="3821"/>
                </a:lnTo>
                <a:lnTo>
                  <a:pt x="414" y="4551"/>
                </a:lnTo>
                <a:lnTo>
                  <a:pt x="536" y="4988"/>
                </a:lnTo>
                <a:lnTo>
                  <a:pt x="682" y="5451"/>
                </a:lnTo>
                <a:lnTo>
                  <a:pt x="852" y="5913"/>
                </a:lnTo>
                <a:lnTo>
                  <a:pt x="1047" y="6351"/>
                </a:lnTo>
                <a:lnTo>
                  <a:pt x="1242" y="6789"/>
                </a:lnTo>
                <a:lnTo>
                  <a:pt x="1461" y="7203"/>
                </a:lnTo>
                <a:lnTo>
                  <a:pt x="1704" y="7616"/>
                </a:lnTo>
                <a:lnTo>
                  <a:pt x="1972" y="8006"/>
                </a:lnTo>
                <a:lnTo>
                  <a:pt x="2264" y="8371"/>
                </a:lnTo>
                <a:lnTo>
                  <a:pt x="2580" y="8687"/>
                </a:lnTo>
                <a:lnTo>
                  <a:pt x="2896" y="9003"/>
                </a:lnTo>
                <a:lnTo>
                  <a:pt x="3286" y="9271"/>
                </a:lnTo>
                <a:lnTo>
                  <a:pt x="3675" y="9514"/>
                </a:lnTo>
                <a:lnTo>
                  <a:pt x="4089" y="9709"/>
                </a:lnTo>
                <a:lnTo>
                  <a:pt x="4551" y="9879"/>
                </a:lnTo>
                <a:lnTo>
                  <a:pt x="5037" y="9977"/>
                </a:lnTo>
                <a:lnTo>
                  <a:pt x="5037" y="10098"/>
                </a:lnTo>
                <a:lnTo>
                  <a:pt x="5062" y="10196"/>
                </a:lnTo>
                <a:lnTo>
                  <a:pt x="5183" y="10415"/>
                </a:lnTo>
                <a:lnTo>
                  <a:pt x="5329" y="10634"/>
                </a:lnTo>
                <a:lnTo>
                  <a:pt x="5500" y="10828"/>
                </a:lnTo>
                <a:lnTo>
                  <a:pt x="5694" y="11023"/>
                </a:lnTo>
                <a:lnTo>
                  <a:pt x="5889" y="11169"/>
                </a:lnTo>
                <a:lnTo>
                  <a:pt x="6254" y="11437"/>
                </a:lnTo>
                <a:lnTo>
                  <a:pt x="6546" y="11631"/>
                </a:lnTo>
                <a:lnTo>
                  <a:pt x="6862" y="11802"/>
                </a:lnTo>
                <a:lnTo>
                  <a:pt x="7179" y="11948"/>
                </a:lnTo>
                <a:lnTo>
                  <a:pt x="7519" y="12045"/>
                </a:lnTo>
                <a:lnTo>
                  <a:pt x="7471" y="12313"/>
                </a:lnTo>
                <a:lnTo>
                  <a:pt x="7471" y="12580"/>
                </a:lnTo>
                <a:lnTo>
                  <a:pt x="7471" y="12872"/>
                </a:lnTo>
                <a:lnTo>
                  <a:pt x="7519" y="13115"/>
                </a:lnTo>
                <a:lnTo>
                  <a:pt x="7519" y="13407"/>
                </a:lnTo>
                <a:lnTo>
                  <a:pt x="7519" y="13724"/>
                </a:lnTo>
                <a:lnTo>
                  <a:pt x="7471" y="14308"/>
                </a:lnTo>
                <a:lnTo>
                  <a:pt x="7422" y="14624"/>
                </a:lnTo>
                <a:lnTo>
                  <a:pt x="7422" y="14770"/>
                </a:lnTo>
                <a:lnTo>
                  <a:pt x="7422" y="14916"/>
                </a:lnTo>
                <a:lnTo>
                  <a:pt x="7203" y="14965"/>
                </a:lnTo>
                <a:lnTo>
                  <a:pt x="6984" y="15013"/>
                </a:lnTo>
                <a:lnTo>
                  <a:pt x="6741" y="15086"/>
                </a:lnTo>
                <a:lnTo>
                  <a:pt x="6522" y="15184"/>
                </a:lnTo>
                <a:lnTo>
                  <a:pt x="6084" y="15378"/>
                </a:lnTo>
                <a:lnTo>
                  <a:pt x="5670" y="15549"/>
                </a:lnTo>
                <a:lnTo>
                  <a:pt x="5451" y="15646"/>
                </a:lnTo>
                <a:lnTo>
                  <a:pt x="5232" y="15743"/>
                </a:lnTo>
                <a:lnTo>
                  <a:pt x="5037" y="15889"/>
                </a:lnTo>
                <a:lnTo>
                  <a:pt x="4867" y="16011"/>
                </a:lnTo>
                <a:lnTo>
                  <a:pt x="4697" y="16181"/>
                </a:lnTo>
                <a:lnTo>
                  <a:pt x="4551" y="16376"/>
                </a:lnTo>
                <a:lnTo>
                  <a:pt x="4429" y="16571"/>
                </a:lnTo>
                <a:lnTo>
                  <a:pt x="4332" y="16814"/>
                </a:lnTo>
                <a:lnTo>
                  <a:pt x="4308" y="16887"/>
                </a:lnTo>
                <a:lnTo>
                  <a:pt x="4308" y="16936"/>
                </a:lnTo>
                <a:lnTo>
                  <a:pt x="4332" y="16984"/>
                </a:lnTo>
                <a:lnTo>
                  <a:pt x="4356" y="17033"/>
                </a:lnTo>
                <a:lnTo>
                  <a:pt x="4454" y="17106"/>
                </a:lnTo>
                <a:lnTo>
                  <a:pt x="4575" y="17130"/>
                </a:lnTo>
                <a:lnTo>
                  <a:pt x="4746" y="17252"/>
                </a:lnTo>
                <a:lnTo>
                  <a:pt x="4940" y="17374"/>
                </a:lnTo>
                <a:lnTo>
                  <a:pt x="5159" y="17447"/>
                </a:lnTo>
                <a:lnTo>
                  <a:pt x="5402" y="17495"/>
                </a:lnTo>
                <a:lnTo>
                  <a:pt x="5865" y="17568"/>
                </a:lnTo>
                <a:lnTo>
                  <a:pt x="6303" y="17617"/>
                </a:lnTo>
                <a:lnTo>
                  <a:pt x="6984" y="17714"/>
                </a:lnTo>
                <a:lnTo>
                  <a:pt x="7665" y="17763"/>
                </a:lnTo>
                <a:lnTo>
                  <a:pt x="8371" y="17787"/>
                </a:lnTo>
                <a:lnTo>
                  <a:pt x="9052" y="17812"/>
                </a:lnTo>
                <a:lnTo>
                  <a:pt x="9685" y="17787"/>
                </a:lnTo>
                <a:lnTo>
                  <a:pt x="10318" y="17739"/>
                </a:lnTo>
                <a:lnTo>
                  <a:pt x="10950" y="17690"/>
                </a:lnTo>
                <a:lnTo>
                  <a:pt x="11559" y="17593"/>
                </a:lnTo>
                <a:lnTo>
                  <a:pt x="11948" y="17520"/>
                </a:lnTo>
                <a:lnTo>
                  <a:pt x="12410" y="17447"/>
                </a:lnTo>
                <a:lnTo>
                  <a:pt x="12654" y="17398"/>
                </a:lnTo>
                <a:lnTo>
                  <a:pt x="12848" y="17301"/>
                </a:lnTo>
                <a:lnTo>
                  <a:pt x="13018" y="17203"/>
                </a:lnTo>
                <a:lnTo>
                  <a:pt x="13091" y="17130"/>
                </a:lnTo>
                <a:lnTo>
                  <a:pt x="13164" y="17057"/>
                </a:lnTo>
                <a:lnTo>
                  <a:pt x="13237" y="16984"/>
                </a:lnTo>
                <a:lnTo>
                  <a:pt x="13286" y="16911"/>
                </a:lnTo>
                <a:lnTo>
                  <a:pt x="13310" y="16814"/>
                </a:lnTo>
                <a:lnTo>
                  <a:pt x="13286" y="16692"/>
                </a:lnTo>
                <a:lnTo>
                  <a:pt x="13140" y="16400"/>
                </a:lnTo>
                <a:lnTo>
                  <a:pt x="12921" y="16157"/>
                </a:lnTo>
                <a:lnTo>
                  <a:pt x="12702" y="15914"/>
                </a:lnTo>
                <a:lnTo>
                  <a:pt x="12435" y="15719"/>
                </a:lnTo>
                <a:lnTo>
                  <a:pt x="12167" y="15549"/>
                </a:lnTo>
                <a:lnTo>
                  <a:pt x="11851" y="15403"/>
                </a:lnTo>
                <a:lnTo>
                  <a:pt x="11559" y="15281"/>
                </a:lnTo>
                <a:lnTo>
                  <a:pt x="11242" y="15184"/>
                </a:lnTo>
                <a:lnTo>
                  <a:pt x="10780" y="15062"/>
                </a:lnTo>
                <a:lnTo>
                  <a:pt x="10439" y="15013"/>
                </a:lnTo>
                <a:lnTo>
                  <a:pt x="10123" y="14965"/>
                </a:lnTo>
                <a:lnTo>
                  <a:pt x="10147" y="14746"/>
                </a:lnTo>
                <a:lnTo>
                  <a:pt x="10123" y="14502"/>
                </a:lnTo>
                <a:lnTo>
                  <a:pt x="10123" y="14259"/>
                </a:lnTo>
                <a:lnTo>
                  <a:pt x="10099" y="14089"/>
                </a:lnTo>
                <a:lnTo>
                  <a:pt x="10123" y="13529"/>
                </a:lnTo>
                <a:lnTo>
                  <a:pt x="10099" y="12945"/>
                </a:lnTo>
                <a:lnTo>
                  <a:pt x="10099" y="12434"/>
                </a:lnTo>
                <a:lnTo>
                  <a:pt x="10074" y="12191"/>
                </a:lnTo>
                <a:lnTo>
                  <a:pt x="10050" y="12069"/>
                </a:lnTo>
                <a:lnTo>
                  <a:pt x="10001" y="11948"/>
                </a:lnTo>
                <a:lnTo>
                  <a:pt x="10391" y="11777"/>
                </a:lnTo>
                <a:lnTo>
                  <a:pt x="10756" y="11583"/>
                </a:lnTo>
                <a:lnTo>
                  <a:pt x="11096" y="11364"/>
                </a:lnTo>
                <a:lnTo>
                  <a:pt x="11413" y="11096"/>
                </a:lnTo>
                <a:lnTo>
                  <a:pt x="11851" y="10707"/>
                </a:lnTo>
                <a:lnTo>
                  <a:pt x="12118" y="10463"/>
                </a:lnTo>
                <a:lnTo>
                  <a:pt x="12240" y="10317"/>
                </a:lnTo>
                <a:lnTo>
                  <a:pt x="12337" y="10196"/>
                </a:lnTo>
                <a:lnTo>
                  <a:pt x="12508" y="10001"/>
                </a:lnTo>
                <a:lnTo>
                  <a:pt x="12897" y="9879"/>
                </a:lnTo>
                <a:lnTo>
                  <a:pt x="13286" y="9782"/>
                </a:lnTo>
                <a:lnTo>
                  <a:pt x="13675" y="9660"/>
                </a:lnTo>
                <a:lnTo>
                  <a:pt x="13870" y="9587"/>
                </a:lnTo>
                <a:lnTo>
                  <a:pt x="14040" y="9490"/>
                </a:lnTo>
                <a:lnTo>
                  <a:pt x="14478" y="9222"/>
                </a:lnTo>
                <a:lnTo>
                  <a:pt x="14916" y="8906"/>
                </a:lnTo>
                <a:lnTo>
                  <a:pt x="15306" y="8565"/>
                </a:lnTo>
                <a:lnTo>
                  <a:pt x="15646" y="8176"/>
                </a:lnTo>
                <a:lnTo>
                  <a:pt x="15963" y="7787"/>
                </a:lnTo>
                <a:lnTo>
                  <a:pt x="16255" y="7397"/>
                </a:lnTo>
                <a:lnTo>
                  <a:pt x="16522" y="6959"/>
                </a:lnTo>
                <a:lnTo>
                  <a:pt x="16766" y="6521"/>
                </a:lnTo>
                <a:lnTo>
                  <a:pt x="16960" y="6083"/>
                </a:lnTo>
                <a:lnTo>
                  <a:pt x="17155" y="5621"/>
                </a:lnTo>
                <a:lnTo>
                  <a:pt x="17301" y="5134"/>
                </a:lnTo>
                <a:lnTo>
                  <a:pt x="17398" y="4648"/>
                </a:lnTo>
                <a:lnTo>
                  <a:pt x="17544" y="3869"/>
                </a:lnTo>
                <a:lnTo>
                  <a:pt x="17593" y="3431"/>
                </a:lnTo>
                <a:lnTo>
                  <a:pt x="17617" y="2993"/>
                </a:lnTo>
                <a:lnTo>
                  <a:pt x="17593" y="2555"/>
                </a:lnTo>
                <a:lnTo>
                  <a:pt x="17569" y="2361"/>
                </a:lnTo>
                <a:lnTo>
                  <a:pt x="17520" y="2142"/>
                </a:lnTo>
                <a:lnTo>
                  <a:pt x="17447" y="1947"/>
                </a:lnTo>
                <a:lnTo>
                  <a:pt x="17374" y="1777"/>
                </a:lnTo>
                <a:lnTo>
                  <a:pt x="17277" y="1606"/>
                </a:lnTo>
                <a:lnTo>
                  <a:pt x="17131" y="1460"/>
                </a:lnTo>
                <a:lnTo>
                  <a:pt x="17009" y="1339"/>
                </a:lnTo>
                <a:lnTo>
                  <a:pt x="16863" y="1241"/>
                </a:lnTo>
                <a:lnTo>
                  <a:pt x="16693" y="1168"/>
                </a:lnTo>
                <a:lnTo>
                  <a:pt x="16547" y="1120"/>
                </a:lnTo>
                <a:lnTo>
                  <a:pt x="16376" y="1095"/>
                </a:lnTo>
                <a:lnTo>
                  <a:pt x="16206" y="1095"/>
                </a:lnTo>
                <a:lnTo>
                  <a:pt x="15841" y="1120"/>
                </a:lnTo>
                <a:lnTo>
                  <a:pt x="15476" y="1168"/>
                </a:lnTo>
                <a:lnTo>
                  <a:pt x="15087" y="1241"/>
                </a:lnTo>
                <a:lnTo>
                  <a:pt x="14868" y="1266"/>
                </a:lnTo>
                <a:lnTo>
                  <a:pt x="14478" y="1266"/>
                </a:lnTo>
                <a:lnTo>
                  <a:pt x="14308" y="1217"/>
                </a:lnTo>
                <a:lnTo>
                  <a:pt x="14332" y="755"/>
                </a:lnTo>
                <a:lnTo>
                  <a:pt x="14357" y="292"/>
                </a:lnTo>
                <a:lnTo>
                  <a:pt x="14357" y="219"/>
                </a:lnTo>
                <a:lnTo>
                  <a:pt x="14332" y="146"/>
                </a:lnTo>
                <a:lnTo>
                  <a:pt x="14259" y="98"/>
                </a:lnTo>
                <a:lnTo>
                  <a:pt x="14186" y="73"/>
                </a:lnTo>
                <a:lnTo>
                  <a:pt x="13894" y="25"/>
                </a:lnTo>
                <a:lnTo>
                  <a:pt x="13578" y="0"/>
                </a:lnTo>
                <a:close/>
              </a:path>
            </a:pathLst>
          </a:cu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F3526FF6-93C0-4668-ABD6-DCA4644EF04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20150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28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10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xmlns="" id="{C19A566D-18C1-4C6E-9C31-C3ACFBB7A3B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6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xmlns="" id="{B62A1B46-EE91-4D85-9559-A03F293711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4284" y="135188"/>
            <a:ext cx="10927676" cy="1210093"/>
          </a:xfrm>
        </p:spPr>
        <p:txBody>
          <a:bodyPr>
            <a:normAutofit fontScale="90000"/>
          </a:bodyPr>
          <a:lstStyle/>
          <a:p>
            <a:r>
              <a:rPr lang="ru-RU" dirty="0" smtClean="0"/>
              <a:t>                 </a:t>
            </a:r>
            <a:r>
              <a:rPr lang="ru-RU" sz="3100" dirty="0" smtClean="0"/>
              <a:t>Пространство родительских инициатив: клубное движение</a:t>
            </a:r>
            <a:r>
              <a:rPr lang="ru-RU" dirty="0" smtClean="0"/>
              <a:t/>
            </a:r>
            <a:br>
              <a:rPr lang="ru-RU" dirty="0" smtClean="0"/>
            </a:br>
            <a:endParaRPr lang="en-US" dirty="0"/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xmlns="" id="{494E6301-EB23-4685-88EB-C44A54F0F7DD}"/>
              </a:ext>
            </a:extLst>
          </p:cNvPr>
          <p:cNvSpPr/>
          <p:nvPr/>
        </p:nvSpPr>
        <p:spPr>
          <a:xfrm>
            <a:off x="6887143" y="1394997"/>
            <a:ext cx="4590128" cy="5207491"/>
          </a:xfrm>
          <a:prstGeom prst="roundRect">
            <a:avLst>
              <a:gd name="adj" fmla="val 6764"/>
            </a:avLst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82" name="Rectangle 34">
            <a:extLst>
              <a:ext uri="{FF2B5EF4-FFF2-40B4-BE49-F238E27FC236}">
                <a16:creationId xmlns:a16="http://schemas.microsoft.com/office/drawing/2014/main" xmlns="" id="{95E76223-C7DF-44AE-AF5C-211291AB60BA}"/>
              </a:ext>
            </a:extLst>
          </p:cNvPr>
          <p:cNvSpPr/>
          <p:nvPr/>
        </p:nvSpPr>
        <p:spPr>
          <a:xfrm flipH="1" flipV="1">
            <a:off x="0" y="6217920"/>
            <a:ext cx="5719156" cy="640080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99887" h="1207779">
                <a:moveTo>
                  <a:pt x="20077" y="0"/>
                </a:moveTo>
                <a:lnTo>
                  <a:pt x="3499887" y="4553"/>
                </a:lnTo>
                <a:lnTo>
                  <a:pt x="3499887" y="1130405"/>
                </a:lnTo>
                <a:cubicBezTo>
                  <a:pt x="3499588" y="1433772"/>
                  <a:pt x="3468504" y="745115"/>
                  <a:pt x="2205570" y="775263"/>
                </a:cubicBezTo>
                <a:cubicBezTo>
                  <a:pt x="942636" y="805411"/>
                  <a:pt x="-163771" y="183848"/>
                  <a:pt x="20077" y="0"/>
                </a:cubicBezTo>
                <a:close/>
              </a:path>
            </a:pathLst>
          </a:cu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423" name="Picture 111" descr="Идеи на тему «Моя семья» (11) в 2024 г | моя семья, детские рисунки, рисунки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622771" y="1704109"/>
            <a:ext cx="3450878" cy="440133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grpSp>
        <p:nvGrpSpPr>
          <p:cNvPr id="12" name="Group 9">
            <a:extLst>
              <a:ext uri="{FF2B5EF4-FFF2-40B4-BE49-F238E27FC236}">
                <a16:creationId xmlns:a16="http://schemas.microsoft.com/office/drawing/2014/main" xmlns="" id="{2EB978E7-A19C-4366-B94D-EEC57A5AE8DC}"/>
              </a:ext>
            </a:extLst>
          </p:cNvPr>
          <p:cNvGrpSpPr/>
          <p:nvPr/>
        </p:nvGrpSpPr>
        <p:grpSpPr>
          <a:xfrm>
            <a:off x="1597110" y="617301"/>
            <a:ext cx="1039529" cy="996291"/>
            <a:chOff x="6705600" y="1238250"/>
            <a:chExt cx="866776" cy="866776"/>
          </a:xfrm>
        </p:grpSpPr>
        <p:sp>
          <p:nvSpPr>
            <p:cNvPr id="13" name="Oval 8">
              <a:extLst>
                <a:ext uri="{FF2B5EF4-FFF2-40B4-BE49-F238E27FC236}">
                  <a16:creationId xmlns:a16="http://schemas.microsoft.com/office/drawing/2014/main" xmlns="" id="{4A46D147-0CC5-4735-AE1F-65BCC6509DC0}"/>
                </a:ext>
              </a:extLst>
            </p:cNvPr>
            <p:cNvSpPr/>
            <p:nvPr/>
          </p:nvSpPr>
          <p:spPr>
            <a:xfrm>
              <a:off x="6705600" y="1238250"/>
              <a:ext cx="866776" cy="866776"/>
            </a:xfrm>
            <a:prstGeom prst="ellipse">
              <a:avLst/>
            </a:prstGeom>
            <a:ln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4" name="Oval 7">
              <a:extLst>
                <a:ext uri="{FF2B5EF4-FFF2-40B4-BE49-F238E27FC236}">
                  <a16:creationId xmlns:a16="http://schemas.microsoft.com/office/drawing/2014/main" xmlns="" id="{97103F70-3F4B-4955-9BCE-2928397D6D93}"/>
                </a:ext>
              </a:extLst>
            </p:cNvPr>
            <p:cNvSpPr/>
            <p:nvPr/>
          </p:nvSpPr>
          <p:spPr>
            <a:xfrm>
              <a:off x="6800851" y="1333501"/>
              <a:ext cx="676275" cy="676275"/>
            </a:xfrm>
            <a:prstGeom prst="ellipse">
              <a:avLst/>
            </a:prstGeom>
            <a:ln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9">
            <a:extLst>
              <a:ext uri="{FF2B5EF4-FFF2-40B4-BE49-F238E27FC236}">
                <a16:creationId xmlns:a16="http://schemas.microsoft.com/office/drawing/2014/main" xmlns="" id="{2EB978E7-A19C-4366-B94D-EEC57A5AE8DC}"/>
              </a:ext>
            </a:extLst>
          </p:cNvPr>
          <p:cNvGrpSpPr/>
          <p:nvPr/>
        </p:nvGrpSpPr>
        <p:grpSpPr>
          <a:xfrm>
            <a:off x="326187" y="1597280"/>
            <a:ext cx="1039529" cy="996291"/>
            <a:chOff x="6705600" y="1238250"/>
            <a:chExt cx="866776" cy="866776"/>
          </a:xfrm>
        </p:grpSpPr>
        <p:sp>
          <p:nvSpPr>
            <p:cNvPr id="19" name="Oval 8">
              <a:extLst>
                <a:ext uri="{FF2B5EF4-FFF2-40B4-BE49-F238E27FC236}">
                  <a16:creationId xmlns:a16="http://schemas.microsoft.com/office/drawing/2014/main" xmlns="" id="{4A46D147-0CC5-4735-AE1F-65BCC6509DC0}"/>
                </a:ext>
              </a:extLst>
            </p:cNvPr>
            <p:cNvSpPr/>
            <p:nvPr/>
          </p:nvSpPr>
          <p:spPr>
            <a:xfrm>
              <a:off x="6705600" y="1238250"/>
              <a:ext cx="866776" cy="866776"/>
            </a:xfrm>
            <a:prstGeom prst="ellipse">
              <a:avLst/>
            </a:prstGeom>
            <a:ln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Oval 7">
              <a:extLst>
                <a:ext uri="{FF2B5EF4-FFF2-40B4-BE49-F238E27FC236}">
                  <a16:creationId xmlns:a16="http://schemas.microsoft.com/office/drawing/2014/main" xmlns="" id="{97103F70-3F4B-4955-9BCE-2928397D6D93}"/>
                </a:ext>
              </a:extLst>
            </p:cNvPr>
            <p:cNvSpPr/>
            <p:nvPr/>
          </p:nvSpPr>
          <p:spPr>
            <a:xfrm>
              <a:off x="6800851" y="1333501"/>
              <a:ext cx="676275" cy="676275"/>
            </a:xfrm>
            <a:prstGeom prst="ellipse">
              <a:avLst/>
            </a:prstGeom>
            <a:ln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1" name="Group 9">
            <a:extLst>
              <a:ext uri="{FF2B5EF4-FFF2-40B4-BE49-F238E27FC236}">
                <a16:creationId xmlns:a16="http://schemas.microsoft.com/office/drawing/2014/main" xmlns="" id="{2EB978E7-A19C-4366-B94D-EEC57A5AE8DC}"/>
              </a:ext>
            </a:extLst>
          </p:cNvPr>
          <p:cNvGrpSpPr/>
          <p:nvPr/>
        </p:nvGrpSpPr>
        <p:grpSpPr>
          <a:xfrm>
            <a:off x="156238" y="3056625"/>
            <a:ext cx="1039529" cy="996291"/>
            <a:chOff x="6705600" y="1238250"/>
            <a:chExt cx="866776" cy="866776"/>
          </a:xfrm>
        </p:grpSpPr>
        <p:sp>
          <p:nvSpPr>
            <p:cNvPr id="22" name="Oval 8">
              <a:extLst>
                <a:ext uri="{FF2B5EF4-FFF2-40B4-BE49-F238E27FC236}">
                  <a16:creationId xmlns:a16="http://schemas.microsoft.com/office/drawing/2014/main" xmlns="" id="{4A46D147-0CC5-4735-AE1F-65BCC6509DC0}"/>
                </a:ext>
              </a:extLst>
            </p:cNvPr>
            <p:cNvSpPr/>
            <p:nvPr/>
          </p:nvSpPr>
          <p:spPr>
            <a:xfrm>
              <a:off x="6705600" y="1238250"/>
              <a:ext cx="866776" cy="866776"/>
            </a:xfrm>
            <a:prstGeom prst="ellipse">
              <a:avLst/>
            </a:prstGeom>
            <a:ln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3" name="Oval 7">
              <a:extLst>
                <a:ext uri="{FF2B5EF4-FFF2-40B4-BE49-F238E27FC236}">
                  <a16:creationId xmlns:a16="http://schemas.microsoft.com/office/drawing/2014/main" xmlns="" id="{97103F70-3F4B-4955-9BCE-2928397D6D93}"/>
                </a:ext>
              </a:extLst>
            </p:cNvPr>
            <p:cNvSpPr/>
            <p:nvPr/>
          </p:nvSpPr>
          <p:spPr>
            <a:xfrm>
              <a:off x="6800851" y="1333501"/>
              <a:ext cx="676275" cy="676275"/>
            </a:xfrm>
            <a:prstGeom prst="ellipse">
              <a:avLst/>
            </a:prstGeom>
            <a:ln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4" name="Group 9">
            <a:extLst>
              <a:ext uri="{FF2B5EF4-FFF2-40B4-BE49-F238E27FC236}">
                <a16:creationId xmlns:a16="http://schemas.microsoft.com/office/drawing/2014/main" xmlns="" id="{2EB978E7-A19C-4366-B94D-EEC57A5AE8DC}"/>
              </a:ext>
            </a:extLst>
          </p:cNvPr>
          <p:cNvGrpSpPr/>
          <p:nvPr/>
        </p:nvGrpSpPr>
        <p:grpSpPr>
          <a:xfrm>
            <a:off x="430558" y="4407905"/>
            <a:ext cx="1039529" cy="996291"/>
            <a:chOff x="6705600" y="1238250"/>
            <a:chExt cx="866776" cy="866776"/>
          </a:xfrm>
        </p:grpSpPr>
        <p:sp>
          <p:nvSpPr>
            <p:cNvPr id="26" name="Oval 8">
              <a:extLst>
                <a:ext uri="{FF2B5EF4-FFF2-40B4-BE49-F238E27FC236}">
                  <a16:creationId xmlns:a16="http://schemas.microsoft.com/office/drawing/2014/main" xmlns="" id="{4A46D147-0CC5-4735-AE1F-65BCC6509DC0}"/>
                </a:ext>
              </a:extLst>
            </p:cNvPr>
            <p:cNvSpPr/>
            <p:nvPr/>
          </p:nvSpPr>
          <p:spPr>
            <a:xfrm>
              <a:off x="6705600" y="1238250"/>
              <a:ext cx="866776" cy="866776"/>
            </a:xfrm>
            <a:prstGeom prst="ellipse">
              <a:avLst/>
            </a:prstGeom>
            <a:ln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8" name="Oval 7">
              <a:extLst>
                <a:ext uri="{FF2B5EF4-FFF2-40B4-BE49-F238E27FC236}">
                  <a16:creationId xmlns:a16="http://schemas.microsoft.com/office/drawing/2014/main" xmlns="" id="{97103F70-3F4B-4955-9BCE-2928397D6D93}"/>
                </a:ext>
              </a:extLst>
            </p:cNvPr>
            <p:cNvSpPr/>
            <p:nvPr/>
          </p:nvSpPr>
          <p:spPr>
            <a:xfrm>
              <a:off x="6800851" y="1333501"/>
              <a:ext cx="676275" cy="676275"/>
            </a:xfrm>
            <a:prstGeom prst="ellipse">
              <a:avLst/>
            </a:prstGeom>
            <a:ln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9" name="Group 9">
            <a:extLst>
              <a:ext uri="{FF2B5EF4-FFF2-40B4-BE49-F238E27FC236}">
                <a16:creationId xmlns:a16="http://schemas.microsoft.com/office/drawing/2014/main" xmlns="" id="{2EB978E7-A19C-4366-B94D-EEC57A5AE8DC}"/>
              </a:ext>
            </a:extLst>
          </p:cNvPr>
          <p:cNvGrpSpPr/>
          <p:nvPr/>
        </p:nvGrpSpPr>
        <p:grpSpPr>
          <a:xfrm>
            <a:off x="1380984" y="5154275"/>
            <a:ext cx="1039529" cy="996291"/>
            <a:chOff x="6705600" y="1238250"/>
            <a:chExt cx="866776" cy="866776"/>
          </a:xfrm>
        </p:grpSpPr>
        <p:sp>
          <p:nvSpPr>
            <p:cNvPr id="30" name="Oval 8">
              <a:extLst>
                <a:ext uri="{FF2B5EF4-FFF2-40B4-BE49-F238E27FC236}">
                  <a16:creationId xmlns:a16="http://schemas.microsoft.com/office/drawing/2014/main" xmlns="" id="{4A46D147-0CC5-4735-AE1F-65BCC6509DC0}"/>
                </a:ext>
              </a:extLst>
            </p:cNvPr>
            <p:cNvSpPr/>
            <p:nvPr/>
          </p:nvSpPr>
          <p:spPr>
            <a:xfrm>
              <a:off x="6705600" y="1238250"/>
              <a:ext cx="866776" cy="866776"/>
            </a:xfrm>
            <a:prstGeom prst="ellipse">
              <a:avLst/>
            </a:prstGeom>
            <a:ln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31" name="Oval 7">
              <a:extLst>
                <a:ext uri="{FF2B5EF4-FFF2-40B4-BE49-F238E27FC236}">
                  <a16:creationId xmlns:a16="http://schemas.microsoft.com/office/drawing/2014/main" xmlns="" id="{97103F70-3F4B-4955-9BCE-2928397D6D93}"/>
                </a:ext>
              </a:extLst>
            </p:cNvPr>
            <p:cNvSpPr/>
            <p:nvPr/>
          </p:nvSpPr>
          <p:spPr>
            <a:xfrm>
              <a:off x="6800851" y="1333501"/>
              <a:ext cx="676275" cy="676275"/>
            </a:xfrm>
            <a:prstGeom prst="ellipse">
              <a:avLst/>
            </a:prstGeom>
            <a:ln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2" name="Прямоугольник 31"/>
          <p:cNvSpPr/>
          <p:nvPr/>
        </p:nvSpPr>
        <p:spPr>
          <a:xfrm rot="540000">
            <a:off x="3119760" y="1322621"/>
            <a:ext cx="322246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/>
              <a:t>Родительский  клуб «</a:t>
            </a:r>
            <a:r>
              <a:rPr lang="ru-RU" b="1" dirty="0" err="1" smtClean="0"/>
              <a:t>ЗОЖиК</a:t>
            </a:r>
            <a:r>
              <a:rPr lang="ru-RU" b="1" dirty="0" smtClean="0"/>
              <a:t>»</a:t>
            </a:r>
            <a:endParaRPr lang="ru-RU" dirty="0"/>
          </a:p>
        </p:txBody>
      </p:sp>
      <p:cxnSp>
        <p:nvCxnSpPr>
          <p:cNvPr id="34" name="Прямая со стрелкой 33"/>
          <p:cNvCxnSpPr/>
          <p:nvPr/>
        </p:nvCxnSpPr>
        <p:spPr>
          <a:xfrm flipH="1" flipV="1">
            <a:off x="3119120" y="1544320"/>
            <a:ext cx="3566160" cy="599440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36" name="Прямая со стрелкой 35"/>
          <p:cNvCxnSpPr/>
          <p:nvPr/>
        </p:nvCxnSpPr>
        <p:spPr>
          <a:xfrm flipH="1" flipV="1">
            <a:off x="1524000" y="2194560"/>
            <a:ext cx="5039360" cy="782320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8" name="Прямая со стрелкой 37"/>
          <p:cNvCxnSpPr/>
          <p:nvPr/>
        </p:nvCxnSpPr>
        <p:spPr>
          <a:xfrm flipH="1" flipV="1">
            <a:off x="1483360" y="3616960"/>
            <a:ext cx="5049520" cy="182880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40" name="Прямая со стрелкой 39"/>
          <p:cNvCxnSpPr/>
          <p:nvPr/>
        </p:nvCxnSpPr>
        <p:spPr>
          <a:xfrm flipH="1">
            <a:off x="1747520" y="4460240"/>
            <a:ext cx="4744720" cy="162560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42" name="Прямая со стрелкой 41"/>
          <p:cNvCxnSpPr/>
          <p:nvPr/>
        </p:nvCxnSpPr>
        <p:spPr>
          <a:xfrm flipH="1">
            <a:off x="3190240" y="5201920"/>
            <a:ext cx="3383280" cy="314960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43" name="Прямоугольник 42"/>
          <p:cNvSpPr/>
          <p:nvPr/>
        </p:nvSpPr>
        <p:spPr>
          <a:xfrm rot="540000">
            <a:off x="1809021" y="1954015"/>
            <a:ext cx="312758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/>
              <a:t>Клуб «Родительский причал»</a:t>
            </a:r>
            <a:endParaRPr lang="ru-RU" dirty="0"/>
          </a:p>
        </p:txBody>
      </p:sp>
      <p:sp>
        <p:nvSpPr>
          <p:cNvPr id="13425" name="Rectangle 113"/>
          <p:cNvSpPr>
            <a:spLocks noChangeArrowheads="1"/>
          </p:cNvSpPr>
          <p:nvPr/>
        </p:nvSpPr>
        <p:spPr bwMode="auto">
          <a:xfrm rot="-120000">
            <a:off x="1666240" y="4077453"/>
            <a:ext cx="4165600" cy="369332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449263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ea typeface="Times New Roman" pitchFamily="18" charset="0"/>
                <a:cs typeface="Times New Roman" pitchFamily="18" charset="0"/>
              </a:rPr>
              <a:t>Клуб «Содружество «Родитель +»</a:t>
            </a:r>
            <a:endParaRPr kumimoji="0" lang="ru-RU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cs typeface="Arial" pitchFamily="34" charset="0"/>
            </a:endParaRPr>
          </a:p>
        </p:txBody>
      </p:sp>
      <p:sp>
        <p:nvSpPr>
          <p:cNvPr id="45" name="Прямоугольник 44"/>
          <p:cNvSpPr/>
          <p:nvPr/>
        </p:nvSpPr>
        <p:spPr>
          <a:xfrm rot="21300000">
            <a:off x="2434161" y="4910573"/>
            <a:ext cx="47836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/>
              <a:t>Родительская  гостиная «Детские Бирюльки» </a:t>
            </a:r>
            <a:endParaRPr lang="ru-RU" dirty="0"/>
          </a:p>
        </p:txBody>
      </p:sp>
      <p:grpSp>
        <p:nvGrpSpPr>
          <p:cNvPr id="46" name="Google Shape;707;p41"/>
          <p:cNvGrpSpPr/>
          <p:nvPr/>
        </p:nvGrpSpPr>
        <p:grpSpPr>
          <a:xfrm>
            <a:off x="1912028" y="939127"/>
            <a:ext cx="445767" cy="359478"/>
            <a:chOff x="2595501" y="3253725"/>
            <a:chExt cx="720141" cy="580739"/>
          </a:xfrm>
        </p:grpSpPr>
        <p:sp>
          <p:nvSpPr>
            <p:cNvPr id="47" name="Google Shape;708;p41"/>
            <p:cNvSpPr/>
            <p:nvPr/>
          </p:nvSpPr>
          <p:spPr>
            <a:xfrm>
              <a:off x="2595501" y="3269807"/>
              <a:ext cx="416349" cy="273171"/>
            </a:xfrm>
            <a:custGeom>
              <a:avLst/>
              <a:gdLst/>
              <a:ahLst/>
              <a:cxnLst/>
              <a:rect l="l" t="t" r="r" b="b"/>
              <a:pathLst>
                <a:path w="722" h="472" extrusionOk="0">
                  <a:moveTo>
                    <a:pt x="250" y="429"/>
                  </a:moveTo>
                  <a:cubicBezTo>
                    <a:pt x="250" y="413"/>
                    <a:pt x="258" y="398"/>
                    <a:pt x="270" y="388"/>
                  </a:cubicBezTo>
                  <a:cubicBezTo>
                    <a:pt x="289" y="372"/>
                    <a:pt x="315" y="364"/>
                    <a:pt x="344" y="365"/>
                  </a:cubicBezTo>
                  <a:cubicBezTo>
                    <a:pt x="373" y="364"/>
                    <a:pt x="399" y="372"/>
                    <a:pt x="418" y="388"/>
                  </a:cubicBezTo>
                  <a:cubicBezTo>
                    <a:pt x="431" y="398"/>
                    <a:pt x="438" y="413"/>
                    <a:pt x="438" y="429"/>
                  </a:cubicBezTo>
                  <a:cubicBezTo>
                    <a:pt x="438" y="446"/>
                    <a:pt x="430" y="461"/>
                    <a:pt x="417" y="472"/>
                  </a:cubicBezTo>
                  <a:cubicBezTo>
                    <a:pt x="598" y="472"/>
                    <a:pt x="598" y="472"/>
                    <a:pt x="598" y="472"/>
                  </a:cubicBezTo>
                  <a:cubicBezTo>
                    <a:pt x="606" y="472"/>
                    <a:pt x="613" y="465"/>
                    <a:pt x="613" y="457"/>
                  </a:cubicBezTo>
                  <a:cubicBezTo>
                    <a:pt x="613" y="457"/>
                    <a:pt x="613" y="457"/>
                    <a:pt x="613" y="457"/>
                  </a:cubicBezTo>
                  <a:cubicBezTo>
                    <a:pt x="613" y="457"/>
                    <a:pt x="613" y="457"/>
                    <a:pt x="613" y="457"/>
                  </a:cubicBezTo>
                  <a:cubicBezTo>
                    <a:pt x="613" y="320"/>
                    <a:pt x="613" y="320"/>
                    <a:pt x="613" y="320"/>
                  </a:cubicBezTo>
                  <a:cubicBezTo>
                    <a:pt x="615" y="315"/>
                    <a:pt x="619" y="310"/>
                    <a:pt x="624" y="310"/>
                  </a:cubicBezTo>
                  <a:cubicBezTo>
                    <a:pt x="635" y="310"/>
                    <a:pt x="645" y="310"/>
                    <a:pt x="651" y="319"/>
                  </a:cubicBezTo>
                  <a:cubicBezTo>
                    <a:pt x="655" y="325"/>
                    <a:pt x="657" y="331"/>
                    <a:pt x="661" y="336"/>
                  </a:cubicBezTo>
                  <a:cubicBezTo>
                    <a:pt x="671" y="353"/>
                    <a:pt x="693" y="355"/>
                    <a:pt x="705" y="340"/>
                  </a:cubicBezTo>
                  <a:cubicBezTo>
                    <a:pt x="718" y="325"/>
                    <a:pt x="722" y="303"/>
                    <a:pt x="722" y="283"/>
                  </a:cubicBezTo>
                  <a:cubicBezTo>
                    <a:pt x="722" y="263"/>
                    <a:pt x="718" y="242"/>
                    <a:pt x="705" y="227"/>
                  </a:cubicBezTo>
                  <a:cubicBezTo>
                    <a:pt x="693" y="211"/>
                    <a:pt x="671" y="213"/>
                    <a:pt x="661" y="230"/>
                  </a:cubicBezTo>
                  <a:cubicBezTo>
                    <a:pt x="657" y="235"/>
                    <a:pt x="655" y="241"/>
                    <a:pt x="651" y="247"/>
                  </a:cubicBezTo>
                  <a:cubicBezTo>
                    <a:pt x="645" y="256"/>
                    <a:pt x="635" y="256"/>
                    <a:pt x="624" y="256"/>
                  </a:cubicBezTo>
                  <a:cubicBezTo>
                    <a:pt x="619" y="256"/>
                    <a:pt x="615" y="251"/>
                    <a:pt x="613" y="247"/>
                  </a:cubicBezTo>
                  <a:cubicBezTo>
                    <a:pt x="613" y="104"/>
                    <a:pt x="613" y="104"/>
                    <a:pt x="613" y="104"/>
                  </a:cubicBezTo>
                  <a:cubicBezTo>
                    <a:pt x="613" y="96"/>
                    <a:pt x="609" y="89"/>
                    <a:pt x="602" y="85"/>
                  </a:cubicBezTo>
                  <a:cubicBezTo>
                    <a:pt x="600" y="84"/>
                    <a:pt x="598" y="82"/>
                    <a:pt x="595" y="81"/>
                  </a:cubicBezTo>
                  <a:cubicBezTo>
                    <a:pt x="520" y="29"/>
                    <a:pt x="437" y="0"/>
                    <a:pt x="345" y="0"/>
                  </a:cubicBezTo>
                  <a:cubicBezTo>
                    <a:pt x="147" y="9"/>
                    <a:pt x="0" y="128"/>
                    <a:pt x="25" y="345"/>
                  </a:cubicBezTo>
                  <a:cubicBezTo>
                    <a:pt x="29" y="385"/>
                    <a:pt x="37" y="424"/>
                    <a:pt x="49" y="461"/>
                  </a:cubicBezTo>
                  <a:cubicBezTo>
                    <a:pt x="52" y="467"/>
                    <a:pt x="57" y="472"/>
                    <a:pt x="64" y="472"/>
                  </a:cubicBezTo>
                  <a:cubicBezTo>
                    <a:pt x="271" y="472"/>
                    <a:pt x="271" y="472"/>
                    <a:pt x="271" y="472"/>
                  </a:cubicBezTo>
                  <a:cubicBezTo>
                    <a:pt x="258" y="461"/>
                    <a:pt x="250" y="446"/>
                    <a:pt x="250" y="42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" name="Google Shape;709;p41"/>
            <p:cNvSpPr/>
            <p:nvPr/>
          </p:nvSpPr>
          <p:spPr>
            <a:xfrm>
              <a:off x="2903528" y="3560177"/>
              <a:ext cx="374670" cy="273617"/>
            </a:xfrm>
            <a:custGeom>
              <a:avLst/>
              <a:gdLst/>
              <a:ahLst/>
              <a:cxnLst/>
              <a:rect l="l" t="t" r="r" b="b"/>
              <a:pathLst>
                <a:path w="650" h="473" extrusionOk="0">
                  <a:moveTo>
                    <a:pt x="455" y="42"/>
                  </a:moveTo>
                  <a:cubicBezTo>
                    <a:pt x="455" y="58"/>
                    <a:pt x="448" y="74"/>
                    <a:pt x="435" y="84"/>
                  </a:cubicBezTo>
                  <a:cubicBezTo>
                    <a:pt x="417" y="100"/>
                    <a:pt x="391" y="108"/>
                    <a:pt x="361" y="107"/>
                  </a:cubicBezTo>
                  <a:cubicBezTo>
                    <a:pt x="332" y="108"/>
                    <a:pt x="306" y="100"/>
                    <a:pt x="288" y="84"/>
                  </a:cubicBezTo>
                  <a:cubicBezTo>
                    <a:pt x="275" y="74"/>
                    <a:pt x="268" y="58"/>
                    <a:pt x="268" y="42"/>
                  </a:cubicBezTo>
                  <a:cubicBezTo>
                    <a:pt x="268" y="26"/>
                    <a:pt x="275" y="11"/>
                    <a:pt x="289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16" y="0"/>
                    <a:pt x="109" y="7"/>
                    <a:pt x="109" y="15"/>
                  </a:cubicBezTo>
                  <a:cubicBezTo>
                    <a:pt x="109" y="181"/>
                    <a:pt x="109" y="181"/>
                    <a:pt x="109" y="181"/>
                  </a:cubicBezTo>
                  <a:cubicBezTo>
                    <a:pt x="107" y="186"/>
                    <a:pt x="104" y="190"/>
                    <a:pt x="98" y="191"/>
                  </a:cubicBezTo>
                  <a:cubicBezTo>
                    <a:pt x="88" y="191"/>
                    <a:pt x="78" y="191"/>
                    <a:pt x="71" y="181"/>
                  </a:cubicBezTo>
                  <a:cubicBezTo>
                    <a:pt x="68" y="176"/>
                    <a:pt x="65" y="170"/>
                    <a:pt x="62" y="164"/>
                  </a:cubicBezTo>
                  <a:cubicBezTo>
                    <a:pt x="51" y="148"/>
                    <a:pt x="30" y="146"/>
                    <a:pt x="17" y="161"/>
                  </a:cubicBezTo>
                  <a:cubicBezTo>
                    <a:pt x="5" y="176"/>
                    <a:pt x="0" y="198"/>
                    <a:pt x="1" y="218"/>
                  </a:cubicBezTo>
                  <a:cubicBezTo>
                    <a:pt x="0" y="238"/>
                    <a:pt x="5" y="259"/>
                    <a:pt x="17" y="274"/>
                  </a:cubicBezTo>
                  <a:cubicBezTo>
                    <a:pt x="30" y="289"/>
                    <a:pt x="51" y="288"/>
                    <a:pt x="62" y="271"/>
                  </a:cubicBezTo>
                  <a:cubicBezTo>
                    <a:pt x="65" y="265"/>
                    <a:pt x="68" y="259"/>
                    <a:pt x="71" y="254"/>
                  </a:cubicBezTo>
                  <a:cubicBezTo>
                    <a:pt x="78" y="244"/>
                    <a:pt x="88" y="244"/>
                    <a:pt x="98" y="245"/>
                  </a:cubicBezTo>
                  <a:cubicBezTo>
                    <a:pt x="104" y="245"/>
                    <a:pt x="107" y="250"/>
                    <a:pt x="109" y="254"/>
                  </a:cubicBezTo>
                  <a:cubicBezTo>
                    <a:pt x="109" y="457"/>
                    <a:pt x="109" y="457"/>
                    <a:pt x="109" y="457"/>
                  </a:cubicBezTo>
                  <a:cubicBezTo>
                    <a:pt x="109" y="466"/>
                    <a:pt x="118" y="473"/>
                    <a:pt x="127" y="470"/>
                  </a:cubicBezTo>
                  <a:cubicBezTo>
                    <a:pt x="132" y="468"/>
                    <a:pt x="138" y="466"/>
                    <a:pt x="143" y="464"/>
                  </a:cubicBezTo>
                  <a:cubicBezTo>
                    <a:pt x="264" y="406"/>
                    <a:pt x="377" y="334"/>
                    <a:pt x="477" y="243"/>
                  </a:cubicBezTo>
                  <a:cubicBezTo>
                    <a:pt x="549" y="178"/>
                    <a:pt x="607" y="105"/>
                    <a:pt x="646" y="21"/>
                  </a:cubicBezTo>
                  <a:cubicBezTo>
                    <a:pt x="650" y="11"/>
                    <a:pt x="643" y="0"/>
                    <a:pt x="632" y="0"/>
                  </a:cubicBezTo>
                  <a:cubicBezTo>
                    <a:pt x="434" y="0"/>
                    <a:pt x="434" y="0"/>
                    <a:pt x="434" y="0"/>
                  </a:cubicBezTo>
                  <a:cubicBezTo>
                    <a:pt x="448" y="11"/>
                    <a:pt x="455" y="26"/>
                    <a:pt x="455" y="42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" name="Google Shape;710;p41"/>
            <p:cNvSpPr/>
            <p:nvPr/>
          </p:nvSpPr>
          <p:spPr>
            <a:xfrm>
              <a:off x="2635397" y="3497189"/>
              <a:ext cx="313600" cy="337276"/>
            </a:xfrm>
            <a:custGeom>
              <a:avLst/>
              <a:gdLst/>
              <a:ahLst/>
              <a:cxnLst/>
              <a:rect l="l" t="t" r="r" b="b"/>
              <a:pathLst>
                <a:path w="544" h="583" extrusionOk="0">
                  <a:moveTo>
                    <a:pt x="502" y="420"/>
                  </a:moveTo>
                  <a:cubicBezTo>
                    <a:pt x="486" y="420"/>
                    <a:pt x="471" y="413"/>
                    <a:pt x="460" y="400"/>
                  </a:cubicBezTo>
                  <a:cubicBezTo>
                    <a:pt x="445" y="382"/>
                    <a:pt x="436" y="356"/>
                    <a:pt x="437" y="327"/>
                  </a:cubicBezTo>
                  <a:cubicBezTo>
                    <a:pt x="436" y="298"/>
                    <a:pt x="445" y="271"/>
                    <a:pt x="460" y="253"/>
                  </a:cubicBezTo>
                  <a:cubicBezTo>
                    <a:pt x="471" y="240"/>
                    <a:pt x="486" y="233"/>
                    <a:pt x="502" y="233"/>
                  </a:cubicBezTo>
                  <a:cubicBezTo>
                    <a:pt x="518" y="233"/>
                    <a:pt x="534" y="241"/>
                    <a:pt x="544" y="254"/>
                  </a:cubicBezTo>
                  <a:cubicBezTo>
                    <a:pt x="544" y="124"/>
                    <a:pt x="544" y="124"/>
                    <a:pt x="544" y="124"/>
                  </a:cubicBezTo>
                  <a:cubicBezTo>
                    <a:pt x="544" y="116"/>
                    <a:pt x="537" y="109"/>
                    <a:pt x="529" y="109"/>
                  </a:cubicBezTo>
                  <a:cubicBezTo>
                    <a:pt x="312" y="109"/>
                    <a:pt x="312" y="109"/>
                    <a:pt x="312" y="109"/>
                  </a:cubicBezTo>
                  <a:cubicBezTo>
                    <a:pt x="307" y="107"/>
                    <a:pt x="302" y="103"/>
                    <a:pt x="302" y="98"/>
                  </a:cubicBezTo>
                  <a:cubicBezTo>
                    <a:pt x="302" y="87"/>
                    <a:pt x="302" y="78"/>
                    <a:pt x="311" y="71"/>
                  </a:cubicBezTo>
                  <a:cubicBezTo>
                    <a:pt x="317" y="67"/>
                    <a:pt x="323" y="65"/>
                    <a:pt x="328" y="61"/>
                  </a:cubicBezTo>
                  <a:cubicBezTo>
                    <a:pt x="345" y="51"/>
                    <a:pt x="347" y="30"/>
                    <a:pt x="332" y="17"/>
                  </a:cubicBezTo>
                  <a:cubicBezTo>
                    <a:pt x="317" y="5"/>
                    <a:pt x="295" y="0"/>
                    <a:pt x="275" y="0"/>
                  </a:cubicBezTo>
                  <a:cubicBezTo>
                    <a:pt x="255" y="0"/>
                    <a:pt x="234" y="5"/>
                    <a:pt x="219" y="17"/>
                  </a:cubicBezTo>
                  <a:cubicBezTo>
                    <a:pt x="203" y="30"/>
                    <a:pt x="205" y="51"/>
                    <a:pt x="222" y="61"/>
                  </a:cubicBezTo>
                  <a:cubicBezTo>
                    <a:pt x="227" y="65"/>
                    <a:pt x="233" y="67"/>
                    <a:pt x="239" y="71"/>
                  </a:cubicBezTo>
                  <a:cubicBezTo>
                    <a:pt x="248" y="78"/>
                    <a:pt x="248" y="87"/>
                    <a:pt x="248" y="98"/>
                  </a:cubicBezTo>
                  <a:cubicBezTo>
                    <a:pt x="248" y="103"/>
                    <a:pt x="243" y="107"/>
                    <a:pt x="239" y="109"/>
                  </a:cubicBezTo>
                  <a:cubicBezTo>
                    <a:pt x="19" y="109"/>
                    <a:pt x="19" y="109"/>
                    <a:pt x="19" y="109"/>
                  </a:cubicBezTo>
                  <a:cubicBezTo>
                    <a:pt x="8" y="109"/>
                    <a:pt x="0" y="120"/>
                    <a:pt x="5" y="130"/>
                  </a:cubicBezTo>
                  <a:cubicBezTo>
                    <a:pt x="18" y="157"/>
                    <a:pt x="32" y="183"/>
                    <a:pt x="50" y="208"/>
                  </a:cubicBezTo>
                  <a:cubicBezTo>
                    <a:pt x="170" y="381"/>
                    <a:pt x="338" y="493"/>
                    <a:pt x="525" y="579"/>
                  </a:cubicBezTo>
                  <a:cubicBezTo>
                    <a:pt x="525" y="579"/>
                    <a:pt x="525" y="579"/>
                    <a:pt x="525" y="579"/>
                  </a:cubicBezTo>
                  <a:cubicBezTo>
                    <a:pt x="534" y="583"/>
                    <a:pt x="544" y="576"/>
                    <a:pt x="544" y="567"/>
                  </a:cubicBezTo>
                  <a:cubicBezTo>
                    <a:pt x="544" y="399"/>
                    <a:pt x="544" y="399"/>
                    <a:pt x="544" y="399"/>
                  </a:cubicBezTo>
                  <a:cubicBezTo>
                    <a:pt x="534" y="413"/>
                    <a:pt x="518" y="420"/>
                    <a:pt x="502" y="42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0" name="Google Shape;711;p41"/>
            <p:cNvSpPr/>
            <p:nvPr/>
          </p:nvSpPr>
          <p:spPr>
            <a:xfrm>
              <a:off x="2966382" y="3253725"/>
              <a:ext cx="349261" cy="352241"/>
            </a:xfrm>
            <a:custGeom>
              <a:avLst/>
              <a:gdLst/>
              <a:ahLst/>
              <a:cxnLst/>
              <a:rect l="l" t="t" r="r" b="b"/>
              <a:pathLst>
                <a:path w="606" h="609" extrusionOk="0">
                  <a:moveTo>
                    <a:pt x="397" y="49"/>
                  </a:moveTo>
                  <a:cubicBezTo>
                    <a:pt x="262" y="0"/>
                    <a:pt x="137" y="39"/>
                    <a:pt x="19" y="109"/>
                  </a:cubicBezTo>
                  <a:cubicBezTo>
                    <a:pt x="17" y="110"/>
                    <a:pt x="15" y="111"/>
                    <a:pt x="13" y="112"/>
                  </a:cubicBezTo>
                  <a:cubicBezTo>
                    <a:pt x="5" y="116"/>
                    <a:pt x="0" y="124"/>
                    <a:pt x="0" y="132"/>
                  </a:cubicBezTo>
                  <a:cubicBezTo>
                    <a:pt x="0" y="238"/>
                    <a:pt x="0" y="238"/>
                    <a:pt x="0" y="238"/>
                  </a:cubicBezTo>
                  <a:cubicBezTo>
                    <a:pt x="11" y="225"/>
                    <a:pt x="26" y="217"/>
                    <a:pt x="43" y="217"/>
                  </a:cubicBezTo>
                  <a:cubicBezTo>
                    <a:pt x="59" y="217"/>
                    <a:pt x="74" y="225"/>
                    <a:pt x="85" y="237"/>
                  </a:cubicBezTo>
                  <a:cubicBezTo>
                    <a:pt x="100" y="256"/>
                    <a:pt x="108" y="282"/>
                    <a:pt x="108" y="311"/>
                  </a:cubicBezTo>
                  <a:cubicBezTo>
                    <a:pt x="108" y="340"/>
                    <a:pt x="100" y="366"/>
                    <a:pt x="85" y="385"/>
                  </a:cubicBezTo>
                  <a:cubicBezTo>
                    <a:pt x="74" y="398"/>
                    <a:pt x="59" y="405"/>
                    <a:pt x="43" y="405"/>
                  </a:cubicBezTo>
                  <a:cubicBezTo>
                    <a:pt x="26" y="405"/>
                    <a:pt x="11" y="397"/>
                    <a:pt x="0" y="384"/>
                  </a:cubicBezTo>
                  <a:cubicBezTo>
                    <a:pt x="0" y="485"/>
                    <a:pt x="0" y="485"/>
                    <a:pt x="0" y="485"/>
                  </a:cubicBezTo>
                  <a:cubicBezTo>
                    <a:pt x="0" y="493"/>
                    <a:pt x="7" y="500"/>
                    <a:pt x="15" y="500"/>
                  </a:cubicBezTo>
                  <a:cubicBezTo>
                    <a:pt x="216" y="500"/>
                    <a:pt x="216" y="500"/>
                    <a:pt x="216" y="500"/>
                  </a:cubicBezTo>
                  <a:cubicBezTo>
                    <a:pt x="221" y="502"/>
                    <a:pt x="225" y="505"/>
                    <a:pt x="225" y="511"/>
                  </a:cubicBezTo>
                  <a:cubicBezTo>
                    <a:pt x="226" y="521"/>
                    <a:pt x="226" y="531"/>
                    <a:pt x="216" y="538"/>
                  </a:cubicBezTo>
                  <a:cubicBezTo>
                    <a:pt x="211" y="541"/>
                    <a:pt x="205" y="544"/>
                    <a:pt x="199" y="547"/>
                  </a:cubicBezTo>
                  <a:cubicBezTo>
                    <a:pt x="183" y="558"/>
                    <a:pt x="181" y="579"/>
                    <a:pt x="196" y="592"/>
                  </a:cubicBezTo>
                  <a:cubicBezTo>
                    <a:pt x="211" y="604"/>
                    <a:pt x="233" y="609"/>
                    <a:pt x="252" y="609"/>
                  </a:cubicBezTo>
                  <a:cubicBezTo>
                    <a:pt x="272" y="609"/>
                    <a:pt x="294" y="604"/>
                    <a:pt x="309" y="592"/>
                  </a:cubicBezTo>
                  <a:cubicBezTo>
                    <a:pt x="324" y="579"/>
                    <a:pt x="322" y="558"/>
                    <a:pt x="306" y="547"/>
                  </a:cubicBezTo>
                  <a:cubicBezTo>
                    <a:pt x="300" y="544"/>
                    <a:pt x="294" y="541"/>
                    <a:pt x="289" y="538"/>
                  </a:cubicBezTo>
                  <a:cubicBezTo>
                    <a:pt x="279" y="531"/>
                    <a:pt x="279" y="521"/>
                    <a:pt x="279" y="511"/>
                  </a:cubicBezTo>
                  <a:cubicBezTo>
                    <a:pt x="280" y="505"/>
                    <a:pt x="284" y="502"/>
                    <a:pt x="289" y="500"/>
                  </a:cubicBezTo>
                  <a:cubicBezTo>
                    <a:pt x="547" y="500"/>
                    <a:pt x="547" y="500"/>
                    <a:pt x="547" y="500"/>
                  </a:cubicBezTo>
                  <a:cubicBezTo>
                    <a:pt x="554" y="500"/>
                    <a:pt x="559" y="496"/>
                    <a:pt x="561" y="490"/>
                  </a:cubicBezTo>
                  <a:cubicBezTo>
                    <a:pt x="574" y="451"/>
                    <a:pt x="583" y="411"/>
                    <a:pt x="588" y="368"/>
                  </a:cubicBezTo>
                  <a:cubicBezTo>
                    <a:pt x="606" y="217"/>
                    <a:pt x="540" y="101"/>
                    <a:pt x="397" y="4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51" name="Google Shape;707;p41"/>
          <p:cNvGrpSpPr/>
          <p:nvPr/>
        </p:nvGrpSpPr>
        <p:grpSpPr>
          <a:xfrm>
            <a:off x="642028" y="1904327"/>
            <a:ext cx="445767" cy="359478"/>
            <a:chOff x="2595501" y="3253725"/>
            <a:chExt cx="720141" cy="580739"/>
          </a:xfrm>
        </p:grpSpPr>
        <p:sp>
          <p:nvSpPr>
            <p:cNvPr id="52" name="Google Shape;708;p41"/>
            <p:cNvSpPr/>
            <p:nvPr/>
          </p:nvSpPr>
          <p:spPr>
            <a:xfrm>
              <a:off x="2595501" y="3269807"/>
              <a:ext cx="416349" cy="273171"/>
            </a:xfrm>
            <a:custGeom>
              <a:avLst/>
              <a:gdLst/>
              <a:ahLst/>
              <a:cxnLst/>
              <a:rect l="l" t="t" r="r" b="b"/>
              <a:pathLst>
                <a:path w="722" h="472" extrusionOk="0">
                  <a:moveTo>
                    <a:pt x="250" y="429"/>
                  </a:moveTo>
                  <a:cubicBezTo>
                    <a:pt x="250" y="413"/>
                    <a:pt x="258" y="398"/>
                    <a:pt x="270" y="388"/>
                  </a:cubicBezTo>
                  <a:cubicBezTo>
                    <a:pt x="289" y="372"/>
                    <a:pt x="315" y="364"/>
                    <a:pt x="344" y="365"/>
                  </a:cubicBezTo>
                  <a:cubicBezTo>
                    <a:pt x="373" y="364"/>
                    <a:pt x="399" y="372"/>
                    <a:pt x="418" y="388"/>
                  </a:cubicBezTo>
                  <a:cubicBezTo>
                    <a:pt x="431" y="398"/>
                    <a:pt x="438" y="413"/>
                    <a:pt x="438" y="429"/>
                  </a:cubicBezTo>
                  <a:cubicBezTo>
                    <a:pt x="438" y="446"/>
                    <a:pt x="430" y="461"/>
                    <a:pt x="417" y="472"/>
                  </a:cubicBezTo>
                  <a:cubicBezTo>
                    <a:pt x="598" y="472"/>
                    <a:pt x="598" y="472"/>
                    <a:pt x="598" y="472"/>
                  </a:cubicBezTo>
                  <a:cubicBezTo>
                    <a:pt x="606" y="472"/>
                    <a:pt x="613" y="465"/>
                    <a:pt x="613" y="457"/>
                  </a:cubicBezTo>
                  <a:cubicBezTo>
                    <a:pt x="613" y="457"/>
                    <a:pt x="613" y="457"/>
                    <a:pt x="613" y="457"/>
                  </a:cubicBezTo>
                  <a:cubicBezTo>
                    <a:pt x="613" y="457"/>
                    <a:pt x="613" y="457"/>
                    <a:pt x="613" y="457"/>
                  </a:cubicBezTo>
                  <a:cubicBezTo>
                    <a:pt x="613" y="320"/>
                    <a:pt x="613" y="320"/>
                    <a:pt x="613" y="320"/>
                  </a:cubicBezTo>
                  <a:cubicBezTo>
                    <a:pt x="615" y="315"/>
                    <a:pt x="619" y="310"/>
                    <a:pt x="624" y="310"/>
                  </a:cubicBezTo>
                  <a:cubicBezTo>
                    <a:pt x="635" y="310"/>
                    <a:pt x="645" y="310"/>
                    <a:pt x="651" y="319"/>
                  </a:cubicBezTo>
                  <a:cubicBezTo>
                    <a:pt x="655" y="325"/>
                    <a:pt x="657" y="331"/>
                    <a:pt x="661" y="336"/>
                  </a:cubicBezTo>
                  <a:cubicBezTo>
                    <a:pt x="671" y="353"/>
                    <a:pt x="693" y="355"/>
                    <a:pt x="705" y="340"/>
                  </a:cubicBezTo>
                  <a:cubicBezTo>
                    <a:pt x="718" y="325"/>
                    <a:pt x="722" y="303"/>
                    <a:pt x="722" y="283"/>
                  </a:cubicBezTo>
                  <a:cubicBezTo>
                    <a:pt x="722" y="263"/>
                    <a:pt x="718" y="242"/>
                    <a:pt x="705" y="227"/>
                  </a:cubicBezTo>
                  <a:cubicBezTo>
                    <a:pt x="693" y="211"/>
                    <a:pt x="671" y="213"/>
                    <a:pt x="661" y="230"/>
                  </a:cubicBezTo>
                  <a:cubicBezTo>
                    <a:pt x="657" y="235"/>
                    <a:pt x="655" y="241"/>
                    <a:pt x="651" y="247"/>
                  </a:cubicBezTo>
                  <a:cubicBezTo>
                    <a:pt x="645" y="256"/>
                    <a:pt x="635" y="256"/>
                    <a:pt x="624" y="256"/>
                  </a:cubicBezTo>
                  <a:cubicBezTo>
                    <a:pt x="619" y="256"/>
                    <a:pt x="615" y="251"/>
                    <a:pt x="613" y="247"/>
                  </a:cubicBezTo>
                  <a:cubicBezTo>
                    <a:pt x="613" y="104"/>
                    <a:pt x="613" y="104"/>
                    <a:pt x="613" y="104"/>
                  </a:cubicBezTo>
                  <a:cubicBezTo>
                    <a:pt x="613" y="96"/>
                    <a:pt x="609" y="89"/>
                    <a:pt x="602" y="85"/>
                  </a:cubicBezTo>
                  <a:cubicBezTo>
                    <a:pt x="600" y="84"/>
                    <a:pt x="598" y="82"/>
                    <a:pt x="595" y="81"/>
                  </a:cubicBezTo>
                  <a:cubicBezTo>
                    <a:pt x="520" y="29"/>
                    <a:pt x="437" y="0"/>
                    <a:pt x="345" y="0"/>
                  </a:cubicBezTo>
                  <a:cubicBezTo>
                    <a:pt x="147" y="9"/>
                    <a:pt x="0" y="128"/>
                    <a:pt x="25" y="345"/>
                  </a:cubicBezTo>
                  <a:cubicBezTo>
                    <a:pt x="29" y="385"/>
                    <a:pt x="37" y="424"/>
                    <a:pt x="49" y="461"/>
                  </a:cubicBezTo>
                  <a:cubicBezTo>
                    <a:pt x="52" y="467"/>
                    <a:pt x="57" y="472"/>
                    <a:pt x="64" y="472"/>
                  </a:cubicBezTo>
                  <a:cubicBezTo>
                    <a:pt x="271" y="472"/>
                    <a:pt x="271" y="472"/>
                    <a:pt x="271" y="472"/>
                  </a:cubicBezTo>
                  <a:cubicBezTo>
                    <a:pt x="258" y="461"/>
                    <a:pt x="250" y="446"/>
                    <a:pt x="250" y="42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" name="Google Shape;709;p41"/>
            <p:cNvSpPr/>
            <p:nvPr/>
          </p:nvSpPr>
          <p:spPr>
            <a:xfrm>
              <a:off x="2903528" y="3560177"/>
              <a:ext cx="374670" cy="273617"/>
            </a:xfrm>
            <a:custGeom>
              <a:avLst/>
              <a:gdLst/>
              <a:ahLst/>
              <a:cxnLst/>
              <a:rect l="l" t="t" r="r" b="b"/>
              <a:pathLst>
                <a:path w="650" h="473" extrusionOk="0">
                  <a:moveTo>
                    <a:pt x="455" y="42"/>
                  </a:moveTo>
                  <a:cubicBezTo>
                    <a:pt x="455" y="58"/>
                    <a:pt x="448" y="74"/>
                    <a:pt x="435" y="84"/>
                  </a:cubicBezTo>
                  <a:cubicBezTo>
                    <a:pt x="417" y="100"/>
                    <a:pt x="391" y="108"/>
                    <a:pt x="361" y="107"/>
                  </a:cubicBezTo>
                  <a:cubicBezTo>
                    <a:pt x="332" y="108"/>
                    <a:pt x="306" y="100"/>
                    <a:pt x="288" y="84"/>
                  </a:cubicBezTo>
                  <a:cubicBezTo>
                    <a:pt x="275" y="74"/>
                    <a:pt x="268" y="58"/>
                    <a:pt x="268" y="42"/>
                  </a:cubicBezTo>
                  <a:cubicBezTo>
                    <a:pt x="268" y="26"/>
                    <a:pt x="275" y="11"/>
                    <a:pt x="289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16" y="0"/>
                    <a:pt x="109" y="7"/>
                    <a:pt x="109" y="15"/>
                  </a:cubicBezTo>
                  <a:cubicBezTo>
                    <a:pt x="109" y="181"/>
                    <a:pt x="109" y="181"/>
                    <a:pt x="109" y="181"/>
                  </a:cubicBezTo>
                  <a:cubicBezTo>
                    <a:pt x="107" y="186"/>
                    <a:pt x="104" y="190"/>
                    <a:pt x="98" y="191"/>
                  </a:cubicBezTo>
                  <a:cubicBezTo>
                    <a:pt x="88" y="191"/>
                    <a:pt x="78" y="191"/>
                    <a:pt x="71" y="181"/>
                  </a:cubicBezTo>
                  <a:cubicBezTo>
                    <a:pt x="68" y="176"/>
                    <a:pt x="65" y="170"/>
                    <a:pt x="62" y="164"/>
                  </a:cubicBezTo>
                  <a:cubicBezTo>
                    <a:pt x="51" y="148"/>
                    <a:pt x="30" y="146"/>
                    <a:pt x="17" y="161"/>
                  </a:cubicBezTo>
                  <a:cubicBezTo>
                    <a:pt x="5" y="176"/>
                    <a:pt x="0" y="198"/>
                    <a:pt x="1" y="218"/>
                  </a:cubicBezTo>
                  <a:cubicBezTo>
                    <a:pt x="0" y="238"/>
                    <a:pt x="5" y="259"/>
                    <a:pt x="17" y="274"/>
                  </a:cubicBezTo>
                  <a:cubicBezTo>
                    <a:pt x="30" y="289"/>
                    <a:pt x="51" y="288"/>
                    <a:pt x="62" y="271"/>
                  </a:cubicBezTo>
                  <a:cubicBezTo>
                    <a:pt x="65" y="265"/>
                    <a:pt x="68" y="259"/>
                    <a:pt x="71" y="254"/>
                  </a:cubicBezTo>
                  <a:cubicBezTo>
                    <a:pt x="78" y="244"/>
                    <a:pt x="88" y="244"/>
                    <a:pt x="98" y="245"/>
                  </a:cubicBezTo>
                  <a:cubicBezTo>
                    <a:pt x="104" y="245"/>
                    <a:pt x="107" y="250"/>
                    <a:pt x="109" y="254"/>
                  </a:cubicBezTo>
                  <a:cubicBezTo>
                    <a:pt x="109" y="457"/>
                    <a:pt x="109" y="457"/>
                    <a:pt x="109" y="457"/>
                  </a:cubicBezTo>
                  <a:cubicBezTo>
                    <a:pt x="109" y="466"/>
                    <a:pt x="118" y="473"/>
                    <a:pt x="127" y="470"/>
                  </a:cubicBezTo>
                  <a:cubicBezTo>
                    <a:pt x="132" y="468"/>
                    <a:pt x="138" y="466"/>
                    <a:pt x="143" y="464"/>
                  </a:cubicBezTo>
                  <a:cubicBezTo>
                    <a:pt x="264" y="406"/>
                    <a:pt x="377" y="334"/>
                    <a:pt x="477" y="243"/>
                  </a:cubicBezTo>
                  <a:cubicBezTo>
                    <a:pt x="549" y="178"/>
                    <a:pt x="607" y="105"/>
                    <a:pt x="646" y="21"/>
                  </a:cubicBezTo>
                  <a:cubicBezTo>
                    <a:pt x="650" y="11"/>
                    <a:pt x="643" y="0"/>
                    <a:pt x="632" y="0"/>
                  </a:cubicBezTo>
                  <a:cubicBezTo>
                    <a:pt x="434" y="0"/>
                    <a:pt x="434" y="0"/>
                    <a:pt x="434" y="0"/>
                  </a:cubicBezTo>
                  <a:cubicBezTo>
                    <a:pt x="448" y="11"/>
                    <a:pt x="455" y="26"/>
                    <a:pt x="455" y="42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" name="Google Shape;710;p41"/>
            <p:cNvSpPr/>
            <p:nvPr/>
          </p:nvSpPr>
          <p:spPr>
            <a:xfrm>
              <a:off x="2635397" y="3497189"/>
              <a:ext cx="313600" cy="337276"/>
            </a:xfrm>
            <a:custGeom>
              <a:avLst/>
              <a:gdLst/>
              <a:ahLst/>
              <a:cxnLst/>
              <a:rect l="l" t="t" r="r" b="b"/>
              <a:pathLst>
                <a:path w="544" h="583" extrusionOk="0">
                  <a:moveTo>
                    <a:pt x="502" y="420"/>
                  </a:moveTo>
                  <a:cubicBezTo>
                    <a:pt x="486" y="420"/>
                    <a:pt x="471" y="413"/>
                    <a:pt x="460" y="400"/>
                  </a:cubicBezTo>
                  <a:cubicBezTo>
                    <a:pt x="445" y="382"/>
                    <a:pt x="436" y="356"/>
                    <a:pt x="437" y="327"/>
                  </a:cubicBezTo>
                  <a:cubicBezTo>
                    <a:pt x="436" y="298"/>
                    <a:pt x="445" y="271"/>
                    <a:pt x="460" y="253"/>
                  </a:cubicBezTo>
                  <a:cubicBezTo>
                    <a:pt x="471" y="240"/>
                    <a:pt x="486" y="233"/>
                    <a:pt x="502" y="233"/>
                  </a:cubicBezTo>
                  <a:cubicBezTo>
                    <a:pt x="518" y="233"/>
                    <a:pt x="534" y="241"/>
                    <a:pt x="544" y="254"/>
                  </a:cubicBezTo>
                  <a:cubicBezTo>
                    <a:pt x="544" y="124"/>
                    <a:pt x="544" y="124"/>
                    <a:pt x="544" y="124"/>
                  </a:cubicBezTo>
                  <a:cubicBezTo>
                    <a:pt x="544" y="116"/>
                    <a:pt x="537" y="109"/>
                    <a:pt x="529" y="109"/>
                  </a:cubicBezTo>
                  <a:cubicBezTo>
                    <a:pt x="312" y="109"/>
                    <a:pt x="312" y="109"/>
                    <a:pt x="312" y="109"/>
                  </a:cubicBezTo>
                  <a:cubicBezTo>
                    <a:pt x="307" y="107"/>
                    <a:pt x="302" y="103"/>
                    <a:pt x="302" y="98"/>
                  </a:cubicBezTo>
                  <a:cubicBezTo>
                    <a:pt x="302" y="87"/>
                    <a:pt x="302" y="78"/>
                    <a:pt x="311" y="71"/>
                  </a:cubicBezTo>
                  <a:cubicBezTo>
                    <a:pt x="317" y="67"/>
                    <a:pt x="323" y="65"/>
                    <a:pt x="328" y="61"/>
                  </a:cubicBezTo>
                  <a:cubicBezTo>
                    <a:pt x="345" y="51"/>
                    <a:pt x="347" y="30"/>
                    <a:pt x="332" y="17"/>
                  </a:cubicBezTo>
                  <a:cubicBezTo>
                    <a:pt x="317" y="5"/>
                    <a:pt x="295" y="0"/>
                    <a:pt x="275" y="0"/>
                  </a:cubicBezTo>
                  <a:cubicBezTo>
                    <a:pt x="255" y="0"/>
                    <a:pt x="234" y="5"/>
                    <a:pt x="219" y="17"/>
                  </a:cubicBezTo>
                  <a:cubicBezTo>
                    <a:pt x="203" y="30"/>
                    <a:pt x="205" y="51"/>
                    <a:pt x="222" y="61"/>
                  </a:cubicBezTo>
                  <a:cubicBezTo>
                    <a:pt x="227" y="65"/>
                    <a:pt x="233" y="67"/>
                    <a:pt x="239" y="71"/>
                  </a:cubicBezTo>
                  <a:cubicBezTo>
                    <a:pt x="248" y="78"/>
                    <a:pt x="248" y="87"/>
                    <a:pt x="248" y="98"/>
                  </a:cubicBezTo>
                  <a:cubicBezTo>
                    <a:pt x="248" y="103"/>
                    <a:pt x="243" y="107"/>
                    <a:pt x="239" y="109"/>
                  </a:cubicBezTo>
                  <a:cubicBezTo>
                    <a:pt x="19" y="109"/>
                    <a:pt x="19" y="109"/>
                    <a:pt x="19" y="109"/>
                  </a:cubicBezTo>
                  <a:cubicBezTo>
                    <a:pt x="8" y="109"/>
                    <a:pt x="0" y="120"/>
                    <a:pt x="5" y="130"/>
                  </a:cubicBezTo>
                  <a:cubicBezTo>
                    <a:pt x="18" y="157"/>
                    <a:pt x="32" y="183"/>
                    <a:pt x="50" y="208"/>
                  </a:cubicBezTo>
                  <a:cubicBezTo>
                    <a:pt x="170" y="381"/>
                    <a:pt x="338" y="493"/>
                    <a:pt x="525" y="579"/>
                  </a:cubicBezTo>
                  <a:cubicBezTo>
                    <a:pt x="525" y="579"/>
                    <a:pt x="525" y="579"/>
                    <a:pt x="525" y="579"/>
                  </a:cubicBezTo>
                  <a:cubicBezTo>
                    <a:pt x="534" y="583"/>
                    <a:pt x="544" y="576"/>
                    <a:pt x="544" y="567"/>
                  </a:cubicBezTo>
                  <a:cubicBezTo>
                    <a:pt x="544" y="399"/>
                    <a:pt x="544" y="399"/>
                    <a:pt x="544" y="399"/>
                  </a:cubicBezTo>
                  <a:cubicBezTo>
                    <a:pt x="534" y="413"/>
                    <a:pt x="518" y="420"/>
                    <a:pt x="502" y="42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" name="Google Shape;711;p41"/>
            <p:cNvSpPr/>
            <p:nvPr/>
          </p:nvSpPr>
          <p:spPr>
            <a:xfrm>
              <a:off x="2966382" y="3253725"/>
              <a:ext cx="349261" cy="352241"/>
            </a:xfrm>
            <a:custGeom>
              <a:avLst/>
              <a:gdLst/>
              <a:ahLst/>
              <a:cxnLst/>
              <a:rect l="l" t="t" r="r" b="b"/>
              <a:pathLst>
                <a:path w="606" h="609" extrusionOk="0">
                  <a:moveTo>
                    <a:pt x="397" y="49"/>
                  </a:moveTo>
                  <a:cubicBezTo>
                    <a:pt x="262" y="0"/>
                    <a:pt x="137" y="39"/>
                    <a:pt x="19" y="109"/>
                  </a:cubicBezTo>
                  <a:cubicBezTo>
                    <a:pt x="17" y="110"/>
                    <a:pt x="15" y="111"/>
                    <a:pt x="13" y="112"/>
                  </a:cubicBezTo>
                  <a:cubicBezTo>
                    <a:pt x="5" y="116"/>
                    <a:pt x="0" y="124"/>
                    <a:pt x="0" y="132"/>
                  </a:cubicBezTo>
                  <a:cubicBezTo>
                    <a:pt x="0" y="238"/>
                    <a:pt x="0" y="238"/>
                    <a:pt x="0" y="238"/>
                  </a:cubicBezTo>
                  <a:cubicBezTo>
                    <a:pt x="11" y="225"/>
                    <a:pt x="26" y="217"/>
                    <a:pt x="43" y="217"/>
                  </a:cubicBezTo>
                  <a:cubicBezTo>
                    <a:pt x="59" y="217"/>
                    <a:pt x="74" y="225"/>
                    <a:pt x="85" y="237"/>
                  </a:cubicBezTo>
                  <a:cubicBezTo>
                    <a:pt x="100" y="256"/>
                    <a:pt x="108" y="282"/>
                    <a:pt x="108" y="311"/>
                  </a:cubicBezTo>
                  <a:cubicBezTo>
                    <a:pt x="108" y="340"/>
                    <a:pt x="100" y="366"/>
                    <a:pt x="85" y="385"/>
                  </a:cubicBezTo>
                  <a:cubicBezTo>
                    <a:pt x="74" y="398"/>
                    <a:pt x="59" y="405"/>
                    <a:pt x="43" y="405"/>
                  </a:cubicBezTo>
                  <a:cubicBezTo>
                    <a:pt x="26" y="405"/>
                    <a:pt x="11" y="397"/>
                    <a:pt x="0" y="384"/>
                  </a:cubicBezTo>
                  <a:cubicBezTo>
                    <a:pt x="0" y="485"/>
                    <a:pt x="0" y="485"/>
                    <a:pt x="0" y="485"/>
                  </a:cubicBezTo>
                  <a:cubicBezTo>
                    <a:pt x="0" y="493"/>
                    <a:pt x="7" y="500"/>
                    <a:pt x="15" y="500"/>
                  </a:cubicBezTo>
                  <a:cubicBezTo>
                    <a:pt x="216" y="500"/>
                    <a:pt x="216" y="500"/>
                    <a:pt x="216" y="500"/>
                  </a:cubicBezTo>
                  <a:cubicBezTo>
                    <a:pt x="221" y="502"/>
                    <a:pt x="225" y="505"/>
                    <a:pt x="225" y="511"/>
                  </a:cubicBezTo>
                  <a:cubicBezTo>
                    <a:pt x="226" y="521"/>
                    <a:pt x="226" y="531"/>
                    <a:pt x="216" y="538"/>
                  </a:cubicBezTo>
                  <a:cubicBezTo>
                    <a:pt x="211" y="541"/>
                    <a:pt x="205" y="544"/>
                    <a:pt x="199" y="547"/>
                  </a:cubicBezTo>
                  <a:cubicBezTo>
                    <a:pt x="183" y="558"/>
                    <a:pt x="181" y="579"/>
                    <a:pt x="196" y="592"/>
                  </a:cubicBezTo>
                  <a:cubicBezTo>
                    <a:pt x="211" y="604"/>
                    <a:pt x="233" y="609"/>
                    <a:pt x="252" y="609"/>
                  </a:cubicBezTo>
                  <a:cubicBezTo>
                    <a:pt x="272" y="609"/>
                    <a:pt x="294" y="604"/>
                    <a:pt x="309" y="592"/>
                  </a:cubicBezTo>
                  <a:cubicBezTo>
                    <a:pt x="324" y="579"/>
                    <a:pt x="322" y="558"/>
                    <a:pt x="306" y="547"/>
                  </a:cubicBezTo>
                  <a:cubicBezTo>
                    <a:pt x="300" y="544"/>
                    <a:pt x="294" y="541"/>
                    <a:pt x="289" y="538"/>
                  </a:cubicBezTo>
                  <a:cubicBezTo>
                    <a:pt x="279" y="531"/>
                    <a:pt x="279" y="521"/>
                    <a:pt x="279" y="511"/>
                  </a:cubicBezTo>
                  <a:cubicBezTo>
                    <a:pt x="280" y="505"/>
                    <a:pt x="284" y="502"/>
                    <a:pt x="289" y="500"/>
                  </a:cubicBezTo>
                  <a:cubicBezTo>
                    <a:pt x="547" y="500"/>
                    <a:pt x="547" y="500"/>
                    <a:pt x="547" y="500"/>
                  </a:cubicBezTo>
                  <a:cubicBezTo>
                    <a:pt x="554" y="500"/>
                    <a:pt x="559" y="496"/>
                    <a:pt x="561" y="490"/>
                  </a:cubicBezTo>
                  <a:cubicBezTo>
                    <a:pt x="574" y="451"/>
                    <a:pt x="583" y="411"/>
                    <a:pt x="588" y="368"/>
                  </a:cubicBezTo>
                  <a:cubicBezTo>
                    <a:pt x="606" y="217"/>
                    <a:pt x="540" y="101"/>
                    <a:pt x="397" y="4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56" name="Google Shape;707;p41"/>
          <p:cNvGrpSpPr/>
          <p:nvPr/>
        </p:nvGrpSpPr>
        <p:grpSpPr>
          <a:xfrm>
            <a:off x="448988" y="3347047"/>
            <a:ext cx="445767" cy="359478"/>
            <a:chOff x="2595501" y="3253725"/>
            <a:chExt cx="720141" cy="580739"/>
          </a:xfrm>
        </p:grpSpPr>
        <p:sp>
          <p:nvSpPr>
            <p:cNvPr id="57" name="Google Shape;708;p41"/>
            <p:cNvSpPr/>
            <p:nvPr/>
          </p:nvSpPr>
          <p:spPr>
            <a:xfrm>
              <a:off x="2595501" y="3269807"/>
              <a:ext cx="416349" cy="273171"/>
            </a:xfrm>
            <a:custGeom>
              <a:avLst/>
              <a:gdLst/>
              <a:ahLst/>
              <a:cxnLst/>
              <a:rect l="l" t="t" r="r" b="b"/>
              <a:pathLst>
                <a:path w="722" h="472" extrusionOk="0">
                  <a:moveTo>
                    <a:pt x="250" y="429"/>
                  </a:moveTo>
                  <a:cubicBezTo>
                    <a:pt x="250" y="413"/>
                    <a:pt x="258" y="398"/>
                    <a:pt x="270" y="388"/>
                  </a:cubicBezTo>
                  <a:cubicBezTo>
                    <a:pt x="289" y="372"/>
                    <a:pt x="315" y="364"/>
                    <a:pt x="344" y="365"/>
                  </a:cubicBezTo>
                  <a:cubicBezTo>
                    <a:pt x="373" y="364"/>
                    <a:pt x="399" y="372"/>
                    <a:pt x="418" y="388"/>
                  </a:cubicBezTo>
                  <a:cubicBezTo>
                    <a:pt x="431" y="398"/>
                    <a:pt x="438" y="413"/>
                    <a:pt x="438" y="429"/>
                  </a:cubicBezTo>
                  <a:cubicBezTo>
                    <a:pt x="438" y="446"/>
                    <a:pt x="430" y="461"/>
                    <a:pt x="417" y="472"/>
                  </a:cubicBezTo>
                  <a:cubicBezTo>
                    <a:pt x="598" y="472"/>
                    <a:pt x="598" y="472"/>
                    <a:pt x="598" y="472"/>
                  </a:cubicBezTo>
                  <a:cubicBezTo>
                    <a:pt x="606" y="472"/>
                    <a:pt x="613" y="465"/>
                    <a:pt x="613" y="457"/>
                  </a:cubicBezTo>
                  <a:cubicBezTo>
                    <a:pt x="613" y="457"/>
                    <a:pt x="613" y="457"/>
                    <a:pt x="613" y="457"/>
                  </a:cubicBezTo>
                  <a:cubicBezTo>
                    <a:pt x="613" y="457"/>
                    <a:pt x="613" y="457"/>
                    <a:pt x="613" y="457"/>
                  </a:cubicBezTo>
                  <a:cubicBezTo>
                    <a:pt x="613" y="320"/>
                    <a:pt x="613" y="320"/>
                    <a:pt x="613" y="320"/>
                  </a:cubicBezTo>
                  <a:cubicBezTo>
                    <a:pt x="615" y="315"/>
                    <a:pt x="619" y="310"/>
                    <a:pt x="624" y="310"/>
                  </a:cubicBezTo>
                  <a:cubicBezTo>
                    <a:pt x="635" y="310"/>
                    <a:pt x="645" y="310"/>
                    <a:pt x="651" y="319"/>
                  </a:cubicBezTo>
                  <a:cubicBezTo>
                    <a:pt x="655" y="325"/>
                    <a:pt x="657" y="331"/>
                    <a:pt x="661" y="336"/>
                  </a:cubicBezTo>
                  <a:cubicBezTo>
                    <a:pt x="671" y="353"/>
                    <a:pt x="693" y="355"/>
                    <a:pt x="705" y="340"/>
                  </a:cubicBezTo>
                  <a:cubicBezTo>
                    <a:pt x="718" y="325"/>
                    <a:pt x="722" y="303"/>
                    <a:pt x="722" y="283"/>
                  </a:cubicBezTo>
                  <a:cubicBezTo>
                    <a:pt x="722" y="263"/>
                    <a:pt x="718" y="242"/>
                    <a:pt x="705" y="227"/>
                  </a:cubicBezTo>
                  <a:cubicBezTo>
                    <a:pt x="693" y="211"/>
                    <a:pt x="671" y="213"/>
                    <a:pt x="661" y="230"/>
                  </a:cubicBezTo>
                  <a:cubicBezTo>
                    <a:pt x="657" y="235"/>
                    <a:pt x="655" y="241"/>
                    <a:pt x="651" y="247"/>
                  </a:cubicBezTo>
                  <a:cubicBezTo>
                    <a:pt x="645" y="256"/>
                    <a:pt x="635" y="256"/>
                    <a:pt x="624" y="256"/>
                  </a:cubicBezTo>
                  <a:cubicBezTo>
                    <a:pt x="619" y="256"/>
                    <a:pt x="615" y="251"/>
                    <a:pt x="613" y="247"/>
                  </a:cubicBezTo>
                  <a:cubicBezTo>
                    <a:pt x="613" y="104"/>
                    <a:pt x="613" y="104"/>
                    <a:pt x="613" y="104"/>
                  </a:cubicBezTo>
                  <a:cubicBezTo>
                    <a:pt x="613" y="96"/>
                    <a:pt x="609" y="89"/>
                    <a:pt x="602" y="85"/>
                  </a:cubicBezTo>
                  <a:cubicBezTo>
                    <a:pt x="600" y="84"/>
                    <a:pt x="598" y="82"/>
                    <a:pt x="595" y="81"/>
                  </a:cubicBezTo>
                  <a:cubicBezTo>
                    <a:pt x="520" y="29"/>
                    <a:pt x="437" y="0"/>
                    <a:pt x="345" y="0"/>
                  </a:cubicBezTo>
                  <a:cubicBezTo>
                    <a:pt x="147" y="9"/>
                    <a:pt x="0" y="128"/>
                    <a:pt x="25" y="345"/>
                  </a:cubicBezTo>
                  <a:cubicBezTo>
                    <a:pt x="29" y="385"/>
                    <a:pt x="37" y="424"/>
                    <a:pt x="49" y="461"/>
                  </a:cubicBezTo>
                  <a:cubicBezTo>
                    <a:pt x="52" y="467"/>
                    <a:pt x="57" y="472"/>
                    <a:pt x="64" y="472"/>
                  </a:cubicBezTo>
                  <a:cubicBezTo>
                    <a:pt x="271" y="472"/>
                    <a:pt x="271" y="472"/>
                    <a:pt x="271" y="472"/>
                  </a:cubicBezTo>
                  <a:cubicBezTo>
                    <a:pt x="258" y="461"/>
                    <a:pt x="250" y="446"/>
                    <a:pt x="250" y="42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" name="Google Shape;709;p41"/>
            <p:cNvSpPr/>
            <p:nvPr/>
          </p:nvSpPr>
          <p:spPr>
            <a:xfrm>
              <a:off x="2903528" y="3560177"/>
              <a:ext cx="374670" cy="273617"/>
            </a:xfrm>
            <a:custGeom>
              <a:avLst/>
              <a:gdLst/>
              <a:ahLst/>
              <a:cxnLst/>
              <a:rect l="l" t="t" r="r" b="b"/>
              <a:pathLst>
                <a:path w="650" h="473" extrusionOk="0">
                  <a:moveTo>
                    <a:pt x="455" y="42"/>
                  </a:moveTo>
                  <a:cubicBezTo>
                    <a:pt x="455" y="58"/>
                    <a:pt x="448" y="74"/>
                    <a:pt x="435" y="84"/>
                  </a:cubicBezTo>
                  <a:cubicBezTo>
                    <a:pt x="417" y="100"/>
                    <a:pt x="391" y="108"/>
                    <a:pt x="361" y="107"/>
                  </a:cubicBezTo>
                  <a:cubicBezTo>
                    <a:pt x="332" y="108"/>
                    <a:pt x="306" y="100"/>
                    <a:pt x="288" y="84"/>
                  </a:cubicBezTo>
                  <a:cubicBezTo>
                    <a:pt x="275" y="74"/>
                    <a:pt x="268" y="58"/>
                    <a:pt x="268" y="42"/>
                  </a:cubicBezTo>
                  <a:cubicBezTo>
                    <a:pt x="268" y="26"/>
                    <a:pt x="275" y="11"/>
                    <a:pt x="289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16" y="0"/>
                    <a:pt x="109" y="7"/>
                    <a:pt x="109" y="15"/>
                  </a:cubicBezTo>
                  <a:cubicBezTo>
                    <a:pt x="109" y="181"/>
                    <a:pt x="109" y="181"/>
                    <a:pt x="109" y="181"/>
                  </a:cubicBezTo>
                  <a:cubicBezTo>
                    <a:pt x="107" y="186"/>
                    <a:pt x="104" y="190"/>
                    <a:pt x="98" y="191"/>
                  </a:cubicBezTo>
                  <a:cubicBezTo>
                    <a:pt x="88" y="191"/>
                    <a:pt x="78" y="191"/>
                    <a:pt x="71" y="181"/>
                  </a:cubicBezTo>
                  <a:cubicBezTo>
                    <a:pt x="68" y="176"/>
                    <a:pt x="65" y="170"/>
                    <a:pt x="62" y="164"/>
                  </a:cubicBezTo>
                  <a:cubicBezTo>
                    <a:pt x="51" y="148"/>
                    <a:pt x="30" y="146"/>
                    <a:pt x="17" y="161"/>
                  </a:cubicBezTo>
                  <a:cubicBezTo>
                    <a:pt x="5" y="176"/>
                    <a:pt x="0" y="198"/>
                    <a:pt x="1" y="218"/>
                  </a:cubicBezTo>
                  <a:cubicBezTo>
                    <a:pt x="0" y="238"/>
                    <a:pt x="5" y="259"/>
                    <a:pt x="17" y="274"/>
                  </a:cubicBezTo>
                  <a:cubicBezTo>
                    <a:pt x="30" y="289"/>
                    <a:pt x="51" y="288"/>
                    <a:pt x="62" y="271"/>
                  </a:cubicBezTo>
                  <a:cubicBezTo>
                    <a:pt x="65" y="265"/>
                    <a:pt x="68" y="259"/>
                    <a:pt x="71" y="254"/>
                  </a:cubicBezTo>
                  <a:cubicBezTo>
                    <a:pt x="78" y="244"/>
                    <a:pt x="88" y="244"/>
                    <a:pt x="98" y="245"/>
                  </a:cubicBezTo>
                  <a:cubicBezTo>
                    <a:pt x="104" y="245"/>
                    <a:pt x="107" y="250"/>
                    <a:pt x="109" y="254"/>
                  </a:cubicBezTo>
                  <a:cubicBezTo>
                    <a:pt x="109" y="457"/>
                    <a:pt x="109" y="457"/>
                    <a:pt x="109" y="457"/>
                  </a:cubicBezTo>
                  <a:cubicBezTo>
                    <a:pt x="109" y="466"/>
                    <a:pt x="118" y="473"/>
                    <a:pt x="127" y="470"/>
                  </a:cubicBezTo>
                  <a:cubicBezTo>
                    <a:pt x="132" y="468"/>
                    <a:pt x="138" y="466"/>
                    <a:pt x="143" y="464"/>
                  </a:cubicBezTo>
                  <a:cubicBezTo>
                    <a:pt x="264" y="406"/>
                    <a:pt x="377" y="334"/>
                    <a:pt x="477" y="243"/>
                  </a:cubicBezTo>
                  <a:cubicBezTo>
                    <a:pt x="549" y="178"/>
                    <a:pt x="607" y="105"/>
                    <a:pt x="646" y="21"/>
                  </a:cubicBezTo>
                  <a:cubicBezTo>
                    <a:pt x="650" y="11"/>
                    <a:pt x="643" y="0"/>
                    <a:pt x="632" y="0"/>
                  </a:cubicBezTo>
                  <a:cubicBezTo>
                    <a:pt x="434" y="0"/>
                    <a:pt x="434" y="0"/>
                    <a:pt x="434" y="0"/>
                  </a:cubicBezTo>
                  <a:cubicBezTo>
                    <a:pt x="448" y="11"/>
                    <a:pt x="455" y="26"/>
                    <a:pt x="455" y="42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9" name="Google Shape;710;p41"/>
            <p:cNvSpPr/>
            <p:nvPr/>
          </p:nvSpPr>
          <p:spPr>
            <a:xfrm>
              <a:off x="2635397" y="3497189"/>
              <a:ext cx="313600" cy="337276"/>
            </a:xfrm>
            <a:custGeom>
              <a:avLst/>
              <a:gdLst/>
              <a:ahLst/>
              <a:cxnLst/>
              <a:rect l="l" t="t" r="r" b="b"/>
              <a:pathLst>
                <a:path w="544" h="583" extrusionOk="0">
                  <a:moveTo>
                    <a:pt x="502" y="420"/>
                  </a:moveTo>
                  <a:cubicBezTo>
                    <a:pt x="486" y="420"/>
                    <a:pt x="471" y="413"/>
                    <a:pt x="460" y="400"/>
                  </a:cubicBezTo>
                  <a:cubicBezTo>
                    <a:pt x="445" y="382"/>
                    <a:pt x="436" y="356"/>
                    <a:pt x="437" y="327"/>
                  </a:cubicBezTo>
                  <a:cubicBezTo>
                    <a:pt x="436" y="298"/>
                    <a:pt x="445" y="271"/>
                    <a:pt x="460" y="253"/>
                  </a:cubicBezTo>
                  <a:cubicBezTo>
                    <a:pt x="471" y="240"/>
                    <a:pt x="486" y="233"/>
                    <a:pt x="502" y="233"/>
                  </a:cubicBezTo>
                  <a:cubicBezTo>
                    <a:pt x="518" y="233"/>
                    <a:pt x="534" y="241"/>
                    <a:pt x="544" y="254"/>
                  </a:cubicBezTo>
                  <a:cubicBezTo>
                    <a:pt x="544" y="124"/>
                    <a:pt x="544" y="124"/>
                    <a:pt x="544" y="124"/>
                  </a:cubicBezTo>
                  <a:cubicBezTo>
                    <a:pt x="544" y="116"/>
                    <a:pt x="537" y="109"/>
                    <a:pt x="529" y="109"/>
                  </a:cubicBezTo>
                  <a:cubicBezTo>
                    <a:pt x="312" y="109"/>
                    <a:pt x="312" y="109"/>
                    <a:pt x="312" y="109"/>
                  </a:cubicBezTo>
                  <a:cubicBezTo>
                    <a:pt x="307" y="107"/>
                    <a:pt x="302" y="103"/>
                    <a:pt x="302" y="98"/>
                  </a:cubicBezTo>
                  <a:cubicBezTo>
                    <a:pt x="302" y="87"/>
                    <a:pt x="302" y="78"/>
                    <a:pt x="311" y="71"/>
                  </a:cubicBezTo>
                  <a:cubicBezTo>
                    <a:pt x="317" y="67"/>
                    <a:pt x="323" y="65"/>
                    <a:pt x="328" y="61"/>
                  </a:cubicBezTo>
                  <a:cubicBezTo>
                    <a:pt x="345" y="51"/>
                    <a:pt x="347" y="30"/>
                    <a:pt x="332" y="17"/>
                  </a:cubicBezTo>
                  <a:cubicBezTo>
                    <a:pt x="317" y="5"/>
                    <a:pt x="295" y="0"/>
                    <a:pt x="275" y="0"/>
                  </a:cubicBezTo>
                  <a:cubicBezTo>
                    <a:pt x="255" y="0"/>
                    <a:pt x="234" y="5"/>
                    <a:pt x="219" y="17"/>
                  </a:cubicBezTo>
                  <a:cubicBezTo>
                    <a:pt x="203" y="30"/>
                    <a:pt x="205" y="51"/>
                    <a:pt x="222" y="61"/>
                  </a:cubicBezTo>
                  <a:cubicBezTo>
                    <a:pt x="227" y="65"/>
                    <a:pt x="233" y="67"/>
                    <a:pt x="239" y="71"/>
                  </a:cubicBezTo>
                  <a:cubicBezTo>
                    <a:pt x="248" y="78"/>
                    <a:pt x="248" y="87"/>
                    <a:pt x="248" y="98"/>
                  </a:cubicBezTo>
                  <a:cubicBezTo>
                    <a:pt x="248" y="103"/>
                    <a:pt x="243" y="107"/>
                    <a:pt x="239" y="109"/>
                  </a:cubicBezTo>
                  <a:cubicBezTo>
                    <a:pt x="19" y="109"/>
                    <a:pt x="19" y="109"/>
                    <a:pt x="19" y="109"/>
                  </a:cubicBezTo>
                  <a:cubicBezTo>
                    <a:pt x="8" y="109"/>
                    <a:pt x="0" y="120"/>
                    <a:pt x="5" y="130"/>
                  </a:cubicBezTo>
                  <a:cubicBezTo>
                    <a:pt x="18" y="157"/>
                    <a:pt x="32" y="183"/>
                    <a:pt x="50" y="208"/>
                  </a:cubicBezTo>
                  <a:cubicBezTo>
                    <a:pt x="170" y="381"/>
                    <a:pt x="338" y="493"/>
                    <a:pt x="525" y="579"/>
                  </a:cubicBezTo>
                  <a:cubicBezTo>
                    <a:pt x="525" y="579"/>
                    <a:pt x="525" y="579"/>
                    <a:pt x="525" y="579"/>
                  </a:cubicBezTo>
                  <a:cubicBezTo>
                    <a:pt x="534" y="583"/>
                    <a:pt x="544" y="576"/>
                    <a:pt x="544" y="567"/>
                  </a:cubicBezTo>
                  <a:cubicBezTo>
                    <a:pt x="544" y="399"/>
                    <a:pt x="544" y="399"/>
                    <a:pt x="544" y="399"/>
                  </a:cubicBezTo>
                  <a:cubicBezTo>
                    <a:pt x="534" y="413"/>
                    <a:pt x="518" y="420"/>
                    <a:pt x="502" y="42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0" name="Google Shape;711;p41"/>
            <p:cNvSpPr/>
            <p:nvPr/>
          </p:nvSpPr>
          <p:spPr>
            <a:xfrm>
              <a:off x="2966382" y="3253725"/>
              <a:ext cx="349261" cy="352241"/>
            </a:xfrm>
            <a:custGeom>
              <a:avLst/>
              <a:gdLst/>
              <a:ahLst/>
              <a:cxnLst/>
              <a:rect l="l" t="t" r="r" b="b"/>
              <a:pathLst>
                <a:path w="606" h="609" extrusionOk="0">
                  <a:moveTo>
                    <a:pt x="397" y="49"/>
                  </a:moveTo>
                  <a:cubicBezTo>
                    <a:pt x="262" y="0"/>
                    <a:pt x="137" y="39"/>
                    <a:pt x="19" y="109"/>
                  </a:cubicBezTo>
                  <a:cubicBezTo>
                    <a:pt x="17" y="110"/>
                    <a:pt x="15" y="111"/>
                    <a:pt x="13" y="112"/>
                  </a:cubicBezTo>
                  <a:cubicBezTo>
                    <a:pt x="5" y="116"/>
                    <a:pt x="0" y="124"/>
                    <a:pt x="0" y="132"/>
                  </a:cubicBezTo>
                  <a:cubicBezTo>
                    <a:pt x="0" y="238"/>
                    <a:pt x="0" y="238"/>
                    <a:pt x="0" y="238"/>
                  </a:cubicBezTo>
                  <a:cubicBezTo>
                    <a:pt x="11" y="225"/>
                    <a:pt x="26" y="217"/>
                    <a:pt x="43" y="217"/>
                  </a:cubicBezTo>
                  <a:cubicBezTo>
                    <a:pt x="59" y="217"/>
                    <a:pt x="74" y="225"/>
                    <a:pt x="85" y="237"/>
                  </a:cubicBezTo>
                  <a:cubicBezTo>
                    <a:pt x="100" y="256"/>
                    <a:pt x="108" y="282"/>
                    <a:pt x="108" y="311"/>
                  </a:cubicBezTo>
                  <a:cubicBezTo>
                    <a:pt x="108" y="340"/>
                    <a:pt x="100" y="366"/>
                    <a:pt x="85" y="385"/>
                  </a:cubicBezTo>
                  <a:cubicBezTo>
                    <a:pt x="74" y="398"/>
                    <a:pt x="59" y="405"/>
                    <a:pt x="43" y="405"/>
                  </a:cubicBezTo>
                  <a:cubicBezTo>
                    <a:pt x="26" y="405"/>
                    <a:pt x="11" y="397"/>
                    <a:pt x="0" y="384"/>
                  </a:cubicBezTo>
                  <a:cubicBezTo>
                    <a:pt x="0" y="485"/>
                    <a:pt x="0" y="485"/>
                    <a:pt x="0" y="485"/>
                  </a:cubicBezTo>
                  <a:cubicBezTo>
                    <a:pt x="0" y="493"/>
                    <a:pt x="7" y="500"/>
                    <a:pt x="15" y="500"/>
                  </a:cubicBezTo>
                  <a:cubicBezTo>
                    <a:pt x="216" y="500"/>
                    <a:pt x="216" y="500"/>
                    <a:pt x="216" y="500"/>
                  </a:cubicBezTo>
                  <a:cubicBezTo>
                    <a:pt x="221" y="502"/>
                    <a:pt x="225" y="505"/>
                    <a:pt x="225" y="511"/>
                  </a:cubicBezTo>
                  <a:cubicBezTo>
                    <a:pt x="226" y="521"/>
                    <a:pt x="226" y="531"/>
                    <a:pt x="216" y="538"/>
                  </a:cubicBezTo>
                  <a:cubicBezTo>
                    <a:pt x="211" y="541"/>
                    <a:pt x="205" y="544"/>
                    <a:pt x="199" y="547"/>
                  </a:cubicBezTo>
                  <a:cubicBezTo>
                    <a:pt x="183" y="558"/>
                    <a:pt x="181" y="579"/>
                    <a:pt x="196" y="592"/>
                  </a:cubicBezTo>
                  <a:cubicBezTo>
                    <a:pt x="211" y="604"/>
                    <a:pt x="233" y="609"/>
                    <a:pt x="252" y="609"/>
                  </a:cubicBezTo>
                  <a:cubicBezTo>
                    <a:pt x="272" y="609"/>
                    <a:pt x="294" y="604"/>
                    <a:pt x="309" y="592"/>
                  </a:cubicBezTo>
                  <a:cubicBezTo>
                    <a:pt x="324" y="579"/>
                    <a:pt x="322" y="558"/>
                    <a:pt x="306" y="547"/>
                  </a:cubicBezTo>
                  <a:cubicBezTo>
                    <a:pt x="300" y="544"/>
                    <a:pt x="294" y="541"/>
                    <a:pt x="289" y="538"/>
                  </a:cubicBezTo>
                  <a:cubicBezTo>
                    <a:pt x="279" y="531"/>
                    <a:pt x="279" y="521"/>
                    <a:pt x="279" y="511"/>
                  </a:cubicBezTo>
                  <a:cubicBezTo>
                    <a:pt x="280" y="505"/>
                    <a:pt x="284" y="502"/>
                    <a:pt x="289" y="500"/>
                  </a:cubicBezTo>
                  <a:cubicBezTo>
                    <a:pt x="547" y="500"/>
                    <a:pt x="547" y="500"/>
                    <a:pt x="547" y="500"/>
                  </a:cubicBezTo>
                  <a:cubicBezTo>
                    <a:pt x="554" y="500"/>
                    <a:pt x="559" y="496"/>
                    <a:pt x="561" y="490"/>
                  </a:cubicBezTo>
                  <a:cubicBezTo>
                    <a:pt x="574" y="451"/>
                    <a:pt x="583" y="411"/>
                    <a:pt x="588" y="368"/>
                  </a:cubicBezTo>
                  <a:cubicBezTo>
                    <a:pt x="606" y="217"/>
                    <a:pt x="540" y="101"/>
                    <a:pt x="397" y="4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61" name="Google Shape;707;p41"/>
          <p:cNvGrpSpPr/>
          <p:nvPr/>
        </p:nvGrpSpPr>
        <p:grpSpPr>
          <a:xfrm>
            <a:off x="743628" y="4708487"/>
            <a:ext cx="445767" cy="359478"/>
            <a:chOff x="2595501" y="3253725"/>
            <a:chExt cx="720141" cy="580739"/>
          </a:xfrm>
        </p:grpSpPr>
        <p:sp>
          <p:nvSpPr>
            <p:cNvPr id="62" name="Google Shape;708;p41"/>
            <p:cNvSpPr/>
            <p:nvPr/>
          </p:nvSpPr>
          <p:spPr>
            <a:xfrm>
              <a:off x="2595501" y="3269807"/>
              <a:ext cx="416349" cy="273171"/>
            </a:xfrm>
            <a:custGeom>
              <a:avLst/>
              <a:gdLst/>
              <a:ahLst/>
              <a:cxnLst/>
              <a:rect l="l" t="t" r="r" b="b"/>
              <a:pathLst>
                <a:path w="722" h="472" extrusionOk="0">
                  <a:moveTo>
                    <a:pt x="250" y="429"/>
                  </a:moveTo>
                  <a:cubicBezTo>
                    <a:pt x="250" y="413"/>
                    <a:pt x="258" y="398"/>
                    <a:pt x="270" y="388"/>
                  </a:cubicBezTo>
                  <a:cubicBezTo>
                    <a:pt x="289" y="372"/>
                    <a:pt x="315" y="364"/>
                    <a:pt x="344" y="365"/>
                  </a:cubicBezTo>
                  <a:cubicBezTo>
                    <a:pt x="373" y="364"/>
                    <a:pt x="399" y="372"/>
                    <a:pt x="418" y="388"/>
                  </a:cubicBezTo>
                  <a:cubicBezTo>
                    <a:pt x="431" y="398"/>
                    <a:pt x="438" y="413"/>
                    <a:pt x="438" y="429"/>
                  </a:cubicBezTo>
                  <a:cubicBezTo>
                    <a:pt x="438" y="446"/>
                    <a:pt x="430" y="461"/>
                    <a:pt x="417" y="472"/>
                  </a:cubicBezTo>
                  <a:cubicBezTo>
                    <a:pt x="598" y="472"/>
                    <a:pt x="598" y="472"/>
                    <a:pt x="598" y="472"/>
                  </a:cubicBezTo>
                  <a:cubicBezTo>
                    <a:pt x="606" y="472"/>
                    <a:pt x="613" y="465"/>
                    <a:pt x="613" y="457"/>
                  </a:cubicBezTo>
                  <a:cubicBezTo>
                    <a:pt x="613" y="457"/>
                    <a:pt x="613" y="457"/>
                    <a:pt x="613" y="457"/>
                  </a:cubicBezTo>
                  <a:cubicBezTo>
                    <a:pt x="613" y="457"/>
                    <a:pt x="613" y="457"/>
                    <a:pt x="613" y="457"/>
                  </a:cubicBezTo>
                  <a:cubicBezTo>
                    <a:pt x="613" y="320"/>
                    <a:pt x="613" y="320"/>
                    <a:pt x="613" y="320"/>
                  </a:cubicBezTo>
                  <a:cubicBezTo>
                    <a:pt x="615" y="315"/>
                    <a:pt x="619" y="310"/>
                    <a:pt x="624" y="310"/>
                  </a:cubicBezTo>
                  <a:cubicBezTo>
                    <a:pt x="635" y="310"/>
                    <a:pt x="645" y="310"/>
                    <a:pt x="651" y="319"/>
                  </a:cubicBezTo>
                  <a:cubicBezTo>
                    <a:pt x="655" y="325"/>
                    <a:pt x="657" y="331"/>
                    <a:pt x="661" y="336"/>
                  </a:cubicBezTo>
                  <a:cubicBezTo>
                    <a:pt x="671" y="353"/>
                    <a:pt x="693" y="355"/>
                    <a:pt x="705" y="340"/>
                  </a:cubicBezTo>
                  <a:cubicBezTo>
                    <a:pt x="718" y="325"/>
                    <a:pt x="722" y="303"/>
                    <a:pt x="722" y="283"/>
                  </a:cubicBezTo>
                  <a:cubicBezTo>
                    <a:pt x="722" y="263"/>
                    <a:pt x="718" y="242"/>
                    <a:pt x="705" y="227"/>
                  </a:cubicBezTo>
                  <a:cubicBezTo>
                    <a:pt x="693" y="211"/>
                    <a:pt x="671" y="213"/>
                    <a:pt x="661" y="230"/>
                  </a:cubicBezTo>
                  <a:cubicBezTo>
                    <a:pt x="657" y="235"/>
                    <a:pt x="655" y="241"/>
                    <a:pt x="651" y="247"/>
                  </a:cubicBezTo>
                  <a:cubicBezTo>
                    <a:pt x="645" y="256"/>
                    <a:pt x="635" y="256"/>
                    <a:pt x="624" y="256"/>
                  </a:cubicBezTo>
                  <a:cubicBezTo>
                    <a:pt x="619" y="256"/>
                    <a:pt x="615" y="251"/>
                    <a:pt x="613" y="247"/>
                  </a:cubicBezTo>
                  <a:cubicBezTo>
                    <a:pt x="613" y="104"/>
                    <a:pt x="613" y="104"/>
                    <a:pt x="613" y="104"/>
                  </a:cubicBezTo>
                  <a:cubicBezTo>
                    <a:pt x="613" y="96"/>
                    <a:pt x="609" y="89"/>
                    <a:pt x="602" y="85"/>
                  </a:cubicBezTo>
                  <a:cubicBezTo>
                    <a:pt x="600" y="84"/>
                    <a:pt x="598" y="82"/>
                    <a:pt x="595" y="81"/>
                  </a:cubicBezTo>
                  <a:cubicBezTo>
                    <a:pt x="520" y="29"/>
                    <a:pt x="437" y="0"/>
                    <a:pt x="345" y="0"/>
                  </a:cubicBezTo>
                  <a:cubicBezTo>
                    <a:pt x="147" y="9"/>
                    <a:pt x="0" y="128"/>
                    <a:pt x="25" y="345"/>
                  </a:cubicBezTo>
                  <a:cubicBezTo>
                    <a:pt x="29" y="385"/>
                    <a:pt x="37" y="424"/>
                    <a:pt x="49" y="461"/>
                  </a:cubicBezTo>
                  <a:cubicBezTo>
                    <a:pt x="52" y="467"/>
                    <a:pt x="57" y="472"/>
                    <a:pt x="64" y="472"/>
                  </a:cubicBezTo>
                  <a:cubicBezTo>
                    <a:pt x="271" y="472"/>
                    <a:pt x="271" y="472"/>
                    <a:pt x="271" y="472"/>
                  </a:cubicBezTo>
                  <a:cubicBezTo>
                    <a:pt x="258" y="461"/>
                    <a:pt x="250" y="446"/>
                    <a:pt x="250" y="42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3" name="Google Shape;709;p41"/>
            <p:cNvSpPr/>
            <p:nvPr/>
          </p:nvSpPr>
          <p:spPr>
            <a:xfrm>
              <a:off x="2903528" y="3560177"/>
              <a:ext cx="374670" cy="273617"/>
            </a:xfrm>
            <a:custGeom>
              <a:avLst/>
              <a:gdLst/>
              <a:ahLst/>
              <a:cxnLst/>
              <a:rect l="l" t="t" r="r" b="b"/>
              <a:pathLst>
                <a:path w="650" h="473" extrusionOk="0">
                  <a:moveTo>
                    <a:pt x="455" y="42"/>
                  </a:moveTo>
                  <a:cubicBezTo>
                    <a:pt x="455" y="58"/>
                    <a:pt x="448" y="74"/>
                    <a:pt x="435" y="84"/>
                  </a:cubicBezTo>
                  <a:cubicBezTo>
                    <a:pt x="417" y="100"/>
                    <a:pt x="391" y="108"/>
                    <a:pt x="361" y="107"/>
                  </a:cubicBezTo>
                  <a:cubicBezTo>
                    <a:pt x="332" y="108"/>
                    <a:pt x="306" y="100"/>
                    <a:pt x="288" y="84"/>
                  </a:cubicBezTo>
                  <a:cubicBezTo>
                    <a:pt x="275" y="74"/>
                    <a:pt x="268" y="58"/>
                    <a:pt x="268" y="42"/>
                  </a:cubicBezTo>
                  <a:cubicBezTo>
                    <a:pt x="268" y="26"/>
                    <a:pt x="275" y="11"/>
                    <a:pt x="289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16" y="0"/>
                    <a:pt x="109" y="7"/>
                    <a:pt x="109" y="15"/>
                  </a:cubicBezTo>
                  <a:cubicBezTo>
                    <a:pt x="109" y="181"/>
                    <a:pt x="109" y="181"/>
                    <a:pt x="109" y="181"/>
                  </a:cubicBezTo>
                  <a:cubicBezTo>
                    <a:pt x="107" y="186"/>
                    <a:pt x="104" y="190"/>
                    <a:pt x="98" y="191"/>
                  </a:cubicBezTo>
                  <a:cubicBezTo>
                    <a:pt x="88" y="191"/>
                    <a:pt x="78" y="191"/>
                    <a:pt x="71" y="181"/>
                  </a:cubicBezTo>
                  <a:cubicBezTo>
                    <a:pt x="68" y="176"/>
                    <a:pt x="65" y="170"/>
                    <a:pt x="62" y="164"/>
                  </a:cubicBezTo>
                  <a:cubicBezTo>
                    <a:pt x="51" y="148"/>
                    <a:pt x="30" y="146"/>
                    <a:pt x="17" y="161"/>
                  </a:cubicBezTo>
                  <a:cubicBezTo>
                    <a:pt x="5" y="176"/>
                    <a:pt x="0" y="198"/>
                    <a:pt x="1" y="218"/>
                  </a:cubicBezTo>
                  <a:cubicBezTo>
                    <a:pt x="0" y="238"/>
                    <a:pt x="5" y="259"/>
                    <a:pt x="17" y="274"/>
                  </a:cubicBezTo>
                  <a:cubicBezTo>
                    <a:pt x="30" y="289"/>
                    <a:pt x="51" y="288"/>
                    <a:pt x="62" y="271"/>
                  </a:cubicBezTo>
                  <a:cubicBezTo>
                    <a:pt x="65" y="265"/>
                    <a:pt x="68" y="259"/>
                    <a:pt x="71" y="254"/>
                  </a:cubicBezTo>
                  <a:cubicBezTo>
                    <a:pt x="78" y="244"/>
                    <a:pt x="88" y="244"/>
                    <a:pt x="98" y="245"/>
                  </a:cubicBezTo>
                  <a:cubicBezTo>
                    <a:pt x="104" y="245"/>
                    <a:pt x="107" y="250"/>
                    <a:pt x="109" y="254"/>
                  </a:cubicBezTo>
                  <a:cubicBezTo>
                    <a:pt x="109" y="457"/>
                    <a:pt x="109" y="457"/>
                    <a:pt x="109" y="457"/>
                  </a:cubicBezTo>
                  <a:cubicBezTo>
                    <a:pt x="109" y="466"/>
                    <a:pt x="118" y="473"/>
                    <a:pt x="127" y="470"/>
                  </a:cubicBezTo>
                  <a:cubicBezTo>
                    <a:pt x="132" y="468"/>
                    <a:pt x="138" y="466"/>
                    <a:pt x="143" y="464"/>
                  </a:cubicBezTo>
                  <a:cubicBezTo>
                    <a:pt x="264" y="406"/>
                    <a:pt x="377" y="334"/>
                    <a:pt x="477" y="243"/>
                  </a:cubicBezTo>
                  <a:cubicBezTo>
                    <a:pt x="549" y="178"/>
                    <a:pt x="607" y="105"/>
                    <a:pt x="646" y="21"/>
                  </a:cubicBezTo>
                  <a:cubicBezTo>
                    <a:pt x="650" y="11"/>
                    <a:pt x="643" y="0"/>
                    <a:pt x="632" y="0"/>
                  </a:cubicBezTo>
                  <a:cubicBezTo>
                    <a:pt x="434" y="0"/>
                    <a:pt x="434" y="0"/>
                    <a:pt x="434" y="0"/>
                  </a:cubicBezTo>
                  <a:cubicBezTo>
                    <a:pt x="448" y="11"/>
                    <a:pt x="455" y="26"/>
                    <a:pt x="455" y="42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4" name="Google Shape;710;p41"/>
            <p:cNvSpPr/>
            <p:nvPr/>
          </p:nvSpPr>
          <p:spPr>
            <a:xfrm>
              <a:off x="2635397" y="3497189"/>
              <a:ext cx="313600" cy="337276"/>
            </a:xfrm>
            <a:custGeom>
              <a:avLst/>
              <a:gdLst/>
              <a:ahLst/>
              <a:cxnLst/>
              <a:rect l="l" t="t" r="r" b="b"/>
              <a:pathLst>
                <a:path w="544" h="583" extrusionOk="0">
                  <a:moveTo>
                    <a:pt x="502" y="420"/>
                  </a:moveTo>
                  <a:cubicBezTo>
                    <a:pt x="486" y="420"/>
                    <a:pt x="471" y="413"/>
                    <a:pt x="460" y="400"/>
                  </a:cubicBezTo>
                  <a:cubicBezTo>
                    <a:pt x="445" y="382"/>
                    <a:pt x="436" y="356"/>
                    <a:pt x="437" y="327"/>
                  </a:cubicBezTo>
                  <a:cubicBezTo>
                    <a:pt x="436" y="298"/>
                    <a:pt x="445" y="271"/>
                    <a:pt x="460" y="253"/>
                  </a:cubicBezTo>
                  <a:cubicBezTo>
                    <a:pt x="471" y="240"/>
                    <a:pt x="486" y="233"/>
                    <a:pt x="502" y="233"/>
                  </a:cubicBezTo>
                  <a:cubicBezTo>
                    <a:pt x="518" y="233"/>
                    <a:pt x="534" y="241"/>
                    <a:pt x="544" y="254"/>
                  </a:cubicBezTo>
                  <a:cubicBezTo>
                    <a:pt x="544" y="124"/>
                    <a:pt x="544" y="124"/>
                    <a:pt x="544" y="124"/>
                  </a:cubicBezTo>
                  <a:cubicBezTo>
                    <a:pt x="544" y="116"/>
                    <a:pt x="537" y="109"/>
                    <a:pt x="529" y="109"/>
                  </a:cubicBezTo>
                  <a:cubicBezTo>
                    <a:pt x="312" y="109"/>
                    <a:pt x="312" y="109"/>
                    <a:pt x="312" y="109"/>
                  </a:cubicBezTo>
                  <a:cubicBezTo>
                    <a:pt x="307" y="107"/>
                    <a:pt x="302" y="103"/>
                    <a:pt x="302" y="98"/>
                  </a:cubicBezTo>
                  <a:cubicBezTo>
                    <a:pt x="302" y="87"/>
                    <a:pt x="302" y="78"/>
                    <a:pt x="311" y="71"/>
                  </a:cubicBezTo>
                  <a:cubicBezTo>
                    <a:pt x="317" y="67"/>
                    <a:pt x="323" y="65"/>
                    <a:pt x="328" y="61"/>
                  </a:cubicBezTo>
                  <a:cubicBezTo>
                    <a:pt x="345" y="51"/>
                    <a:pt x="347" y="30"/>
                    <a:pt x="332" y="17"/>
                  </a:cubicBezTo>
                  <a:cubicBezTo>
                    <a:pt x="317" y="5"/>
                    <a:pt x="295" y="0"/>
                    <a:pt x="275" y="0"/>
                  </a:cubicBezTo>
                  <a:cubicBezTo>
                    <a:pt x="255" y="0"/>
                    <a:pt x="234" y="5"/>
                    <a:pt x="219" y="17"/>
                  </a:cubicBezTo>
                  <a:cubicBezTo>
                    <a:pt x="203" y="30"/>
                    <a:pt x="205" y="51"/>
                    <a:pt x="222" y="61"/>
                  </a:cubicBezTo>
                  <a:cubicBezTo>
                    <a:pt x="227" y="65"/>
                    <a:pt x="233" y="67"/>
                    <a:pt x="239" y="71"/>
                  </a:cubicBezTo>
                  <a:cubicBezTo>
                    <a:pt x="248" y="78"/>
                    <a:pt x="248" y="87"/>
                    <a:pt x="248" y="98"/>
                  </a:cubicBezTo>
                  <a:cubicBezTo>
                    <a:pt x="248" y="103"/>
                    <a:pt x="243" y="107"/>
                    <a:pt x="239" y="109"/>
                  </a:cubicBezTo>
                  <a:cubicBezTo>
                    <a:pt x="19" y="109"/>
                    <a:pt x="19" y="109"/>
                    <a:pt x="19" y="109"/>
                  </a:cubicBezTo>
                  <a:cubicBezTo>
                    <a:pt x="8" y="109"/>
                    <a:pt x="0" y="120"/>
                    <a:pt x="5" y="130"/>
                  </a:cubicBezTo>
                  <a:cubicBezTo>
                    <a:pt x="18" y="157"/>
                    <a:pt x="32" y="183"/>
                    <a:pt x="50" y="208"/>
                  </a:cubicBezTo>
                  <a:cubicBezTo>
                    <a:pt x="170" y="381"/>
                    <a:pt x="338" y="493"/>
                    <a:pt x="525" y="579"/>
                  </a:cubicBezTo>
                  <a:cubicBezTo>
                    <a:pt x="525" y="579"/>
                    <a:pt x="525" y="579"/>
                    <a:pt x="525" y="579"/>
                  </a:cubicBezTo>
                  <a:cubicBezTo>
                    <a:pt x="534" y="583"/>
                    <a:pt x="544" y="576"/>
                    <a:pt x="544" y="567"/>
                  </a:cubicBezTo>
                  <a:cubicBezTo>
                    <a:pt x="544" y="399"/>
                    <a:pt x="544" y="399"/>
                    <a:pt x="544" y="399"/>
                  </a:cubicBezTo>
                  <a:cubicBezTo>
                    <a:pt x="534" y="413"/>
                    <a:pt x="518" y="420"/>
                    <a:pt x="502" y="42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5" name="Google Shape;711;p41"/>
            <p:cNvSpPr/>
            <p:nvPr/>
          </p:nvSpPr>
          <p:spPr>
            <a:xfrm>
              <a:off x="2966382" y="3253725"/>
              <a:ext cx="349261" cy="352241"/>
            </a:xfrm>
            <a:custGeom>
              <a:avLst/>
              <a:gdLst/>
              <a:ahLst/>
              <a:cxnLst/>
              <a:rect l="l" t="t" r="r" b="b"/>
              <a:pathLst>
                <a:path w="606" h="609" extrusionOk="0">
                  <a:moveTo>
                    <a:pt x="397" y="49"/>
                  </a:moveTo>
                  <a:cubicBezTo>
                    <a:pt x="262" y="0"/>
                    <a:pt x="137" y="39"/>
                    <a:pt x="19" y="109"/>
                  </a:cubicBezTo>
                  <a:cubicBezTo>
                    <a:pt x="17" y="110"/>
                    <a:pt x="15" y="111"/>
                    <a:pt x="13" y="112"/>
                  </a:cubicBezTo>
                  <a:cubicBezTo>
                    <a:pt x="5" y="116"/>
                    <a:pt x="0" y="124"/>
                    <a:pt x="0" y="132"/>
                  </a:cubicBezTo>
                  <a:cubicBezTo>
                    <a:pt x="0" y="238"/>
                    <a:pt x="0" y="238"/>
                    <a:pt x="0" y="238"/>
                  </a:cubicBezTo>
                  <a:cubicBezTo>
                    <a:pt x="11" y="225"/>
                    <a:pt x="26" y="217"/>
                    <a:pt x="43" y="217"/>
                  </a:cubicBezTo>
                  <a:cubicBezTo>
                    <a:pt x="59" y="217"/>
                    <a:pt x="74" y="225"/>
                    <a:pt x="85" y="237"/>
                  </a:cubicBezTo>
                  <a:cubicBezTo>
                    <a:pt x="100" y="256"/>
                    <a:pt x="108" y="282"/>
                    <a:pt x="108" y="311"/>
                  </a:cubicBezTo>
                  <a:cubicBezTo>
                    <a:pt x="108" y="340"/>
                    <a:pt x="100" y="366"/>
                    <a:pt x="85" y="385"/>
                  </a:cubicBezTo>
                  <a:cubicBezTo>
                    <a:pt x="74" y="398"/>
                    <a:pt x="59" y="405"/>
                    <a:pt x="43" y="405"/>
                  </a:cubicBezTo>
                  <a:cubicBezTo>
                    <a:pt x="26" y="405"/>
                    <a:pt x="11" y="397"/>
                    <a:pt x="0" y="384"/>
                  </a:cubicBezTo>
                  <a:cubicBezTo>
                    <a:pt x="0" y="485"/>
                    <a:pt x="0" y="485"/>
                    <a:pt x="0" y="485"/>
                  </a:cubicBezTo>
                  <a:cubicBezTo>
                    <a:pt x="0" y="493"/>
                    <a:pt x="7" y="500"/>
                    <a:pt x="15" y="500"/>
                  </a:cubicBezTo>
                  <a:cubicBezTo>
                    <a:pt x="216" y="500"/>
                    <a:pt x="216" y="500"/>
                    <a:pt x="216" y="500"/>
                  </a:cubicBezTo>
                  <a:cubicBezTo>
                    <a:pt x="221" y="502"/>
                    <a:pt x="225" y="505"/>
                    <a:pt x="225" y="511"/>
                  </a:cubicBezTo>
                  <a:cubicBezTo>
                    <a:pt x="226" y="521"/>
                    <a:pt x="226" y="531"/>
                    <a:pt x="216" y="538"/>
                  </a:cubicBezTo>
                  <a:cubicBezTo>
                    <a:pt x="211" y="541"/>
                    <a:pt x="205" y="544"/>
                    <a:pt x="199" y="547"/>
                  </a:cubicBezTo>
                  <a:cubicBezTo>
                    <a:pt x="183" y="558"/>
                    <a:pt x="181" y="579"/>
                    <a:pt x="196" y="592"/>
                  </a:cubicBezTo>
                  <a:cubicBezTo>
                    <a:pt x="211" y="604"/>
                    <a:pt x="233" y="609"/>
                    <a:pt x="252" y="609"/>
                  </a:cubicBezTo>
                  <a:cubicBezTo>
                    <a:pt x="272" y="609"/>
                    <a:pt x="294" y="604"/>
                    <a:pt x="309" y="592"/>
                  </a:cubicBezTo>
                  <a:cubicBezTo>
                    <a:pt x="324" y="579"/>
                    <a:pt x="322" y="558"/>
                    <a:pt x="306" y="547"/>
                  </a:cubicBezTo>
                  <a:cubicBezTo>
                    <a:pt x="300" y="544"/>
                    <a:pt x="294" y="541"/>
                    <a:pt x="289" y="538"/>
                  </a:cubicBezTo>
                  <a:cubicBezTo>
                    <a:pt x="279" y="531"/>
                    <a:pt x="279" y="521"/>
                    <a:pt x="279" y="511"/>
                  </a:cubicBezTo>
                  <a:cubicBezTo>
                    <a:pt x="280" y="505"/>
                    <a:pt x="284" y="502"/>
                    <a:pt x="289" y="500"/>
                  </a:cubicBezTo>
                  <a:cubicBezTo>
                    <a:pt x="547" y="500"/>
                    <a:pt x="547" y="500"/>
                    <a:pt x="547" y="500"/>
                  </a:cubicBezTo>
                  <a:cubicBezTo>
                    <a:pt x="554" y="500"/>
                    <a:pt x="559" y="496"/>
                    <a:pt x="561" y="490"/>
                  </a:cubicBezTo>
                  <a:cubicBezTo>
                    <a:pt x="574" y="451"/>
                    <a:pt x="583" y="411"/>
                    <a:pt x="588" y="368"/>
                  </a:cubicBezTo>
                  <a:cubicBezTo>
                    <a:pt x="606" y="217"/>
                    <a:pt x="540" y="101"/>
                    <a:pt x="397" y="4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66" name="Google Shape;707;p41"/>
          <p:cNvGrpSpPr/>
          <p:nvPr/>
        </p:nvGrpSpPr>
        <p:grpSpPr>
          <a:xfrm>
            <a:off x="1694746" y="5431440"/>
            <a:ext cx="445767" cy="359478"/>
            <a:chOff x="2595501" y="3253725"/>
            <a:chExt cx="720141" cy="580739"/>
          </a:xfrm>
        </p:grpSpPr>
        <p:sp>
          <p:nvSpPr>
            <p:cNvPr id="67" name="Google Shape;708;p41"/>
            <p:cNvSpPr/>
            <p:nvPr/>
          </p:nvSpPr>
          <p:spPr>
            <a:xfrm>
              <a:off x="2595501" y="3269807"/>
              <a:ext cx="416349" cy="273171"/>
            </a:xfrm>
            <a:custGeom>
              <a:avLst/>
              <a:gdLst/>
              <a:ahLst/>
              <a:cxnLst/>
              <a:rect l="l" t="t" r="r" b="b"/>
              <a:pathLst>
                <a:path w="722" h="472" extrusionOk="0">
                  <a:moveTo>
                    <a:pt x="250" y="429"/>
                  </a:moveTo>
                  <a:cubicBezTo>
                    <a:pt x="250" y="413"/>
                    <a:pt x="258" y="398"/>
                    <a:pt x="270" y="388"/>
                  </a:cubicBezTo>
                  <a:cubicBezTo>
                    <a:pt x="289" y="372"/>
                    <a:pt x="315" y="364"/>
                    <a:pt x="344" y="365"/>
                  </a:cubicBezTo>
                  <a:cubicBezTo>
                    <a:pt x="373" y="364"/>
                    <a:pt x="399" y="372"/>
                    <a:pt x="418" y="388"/>
                  </a:cubicBezTo>
                  <a:cubicBezTo>
                    <a:pt x="431" y="398"/>
                    <a:pt x="438" y="413"/>
                    <a:pt x="438" y="429"/>
                  </a:cubicBezTo>
                  <a:cubicBezTo>
                    <a:pt x="438" y="446"/>
                    <a:pt x="430" y="461"/>
                    <a:pt x="417" y="472"/>
                  </a:cubicBezTo>
                  <a:cubicBezTo>
                    <a:pt x="598" y="472"/>
                    <a:pt x="598" y="472"/>
                    <a:pt x="598" y="472"/>
                  </a:cubicBezTo>
                  <a:cubicBezTo>
                    <a:pt x="606" y="472"/>
                    <a:pt x="613" y="465"/>
                    <a:pt x="613" y="457"/>
                  </a:cubicBezTo>
                  <a:cubicBezTo>
                    <a:pt x="613" y="457"/>
                    <a:pt x="613" y="457"/>
                    <a:pt x="613" y="457"/>
                  </a:cubicBezTo>
                  <a:cubicBezTo>
                    <a:pt x="613" y="457"/>
                    <a:pt x="613" y="457"/>
                    <a:pt x="613" y="457"/>
                  </a:cubicBezTo>
                  <a:cubicBezTo>
                    <a:pt x="613" y="320"/>
                    <a:pt x="613" y="320"/>
                    <a:pt x="613" y="320"/>
                  </a:cubicBezTo>
                  <a:cubicBezTo>
                    <a:pt x="615" y="315"/>
                    <a:pt x="619" y="310"/>
                    <a:pt x="624" y="310"/>
                  </a:cubicBezTo>
                  <a:cubicBezTo>
                    <a:pt x="635" y="310"/>
                    <a:pt x="645" y="310"/>
                    <a:pt x="651" y="319"/>
                  </a:cubicBezTo>
                  <a:cubicBezTo>
                    <a:pt x="655" y="325"/>
                    <a:pt x="657" y="331"/>
                    <a:pt x="661" y="336"/>
                  </a:cubicBezTo>
                  <a:cubicBezTo>
                    <a:pt x="671" y="353"/>
                    <a:pt x="693" y="355"/>
                    <a:pt x="705" y="340"/>
                  </a:cubicBezTo>
                  <a:cubicBezTo>
                    <a:pt x="718" y="325"/>
                    <a:pt x="722" y="303"/>
                    <a:pt x="722" y="283"/>
                  </a:cubicBezTo>
                  <a:cubicBezTo>
                    <a:pt x="722" y="263"/>
                    <a:pt x="718" y="242"/>
                    <a:pt x="705" y="227"/>
                  </a:cubicBezTo>
                  <a:cubicBezTo>
                    <a:pt x="693" y="211"/>
                    <a:pt x="671" y="213"/>
                    <a:pt x="661" y="230"/>
                  </a:cubicBezTo>
                  <a:cubicBezTo>
                    <a:pt x="657" y="235"/>
                    <a:pt x="655" y="241"/>
                    <a:pt x="651" y="247"/>
                  </a:cubicBezTo>
                  <a:cubicBezTo>
                    <a:pt x="645" y="256"/>
                    <a:pt x="635" y="256"/>
                    <a:pt x="624" y="256"/>
                  </a:cubicBezTo>
                  <a:cubicBezTo>
                    <a:pt x="619" y="256"/>
                    <a:pt x="615" y="251"/>
                    <a:pt x="613" y="247"/>
                  </a:cubicBezTo>
                  <a:cubicBezTo>
                    <a:pt x="613" y="104"/>
                    <a:pt x="613" y="104"/>
                    <a:pt x="613" y="104"/>
                  </a:cubicBezTo>
                  <a:cubicBezTo>
                    <a:pt x="613" y="96"/>
                    <a:pt x="609" y="89"/>
                    <a:pt x="602" y="85"/>
                  </a:cubicBezTo>
                  <a:cubicBezTo>
                    <a:pt x="600" y="84"/>
                    <a:pt x="598" y="82"/>
                    <a:pt x="595" y="81"/>
                  </a:cubicBezTo>
                  <a:cubicBezTo>
                    <a:pt x="520" y="29"/>
                    <a:pt x="437" y="0"/>
                    <a:pt x="345" y="0"/>
                  </a:cubicBezTo>
                  <a:cubicBezTo>
                    <a:pt x="147" y="9"/>
                    <a:pt x="0" y="128"/>
                    <a:pt x="25" y="345"/>
                  </a:cubicBezTo>
                  <a:cubicBezTo>
                    <a:pt x="29" y="385"/>
                    <a:pt x="37" y="424"/>
                    <a:pt x="49" y="461"/>
                  </a:cubicBezTo>
                  <a:cubicBezTo>
                    <a:pt x="52" y="467"/>
                    <a:pt x="57" y="472"/>
                    <a:pt x="64" y="472"/>
                  </a:cubicBezTo>
                  <a:cubicBezTo>
                    <a:pt x="271" y="472"/>
                    <a:pt x="271" y="472"/>
                    <a:pt x="271" y="472"/>
                  </a:cubicBezTo>
                  <a:cubicBezTo>
                    <a:pt x="258" y="461"/>
                    <a:pt x="250" y="446"/>
                    <a:pt x="250" y="42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" name="Google Shape;709;p41"/>
            <p:cNvSpPr/>
            <p:nvPr/>
          </p:nvSpPr>
          <p:spPr>
            <a:xfrm>
              <a:off x="2903528" y="3560177"/>
              <a:ext cx="374670" cy="273617"/>
            </a:xfrm>
            <a:custGeom>
              <a:avLst/>
              <a:gdLst/>
              <a:ahLst/>
              <a:cxnLst/>
              <a:rect l="l" t="t" r="r" b="b"/>
              <a:pathLst>
                <a:path w="650" h="473" extrusionOk="0">
                  <a:moveTo>
                    <a:pt x="455" y="42"/>
                  </a:moveTo>
                  <a:cubicBezTo>
                    <a:pt x="455" y="58"/>
                    <a:pt x="448" y="74"/>
                    <a:pt x="435" y="84"/>
                  </a:cubicBezTo>
                  <a:cubicBezTo>
                    <a:pt x="417" y="100"/>
                    <a:pt x="391" y="108"/>
                    <a:pt x="361" y="107"/>
                  </a:cubicBezTo>
                  <a:cubicBezTo>
                    <a:pt x="332" y="108"/>
                    <a:pt x="306" y="100"/>
                    <a:pt x="288" y="84"/>
                  </a:cubicBezTo>
                  <a:cubicBezTo>
                    <a:pt x="275" y="74"/>
                    <a:pt x="268" y="58"/>
                    <a:pt x="268" y="42"/>
                  </a:cubicBezTo>
                  <a:cubicBezTo>
                    <a:pt x="268" y="26"/>
                    <a:pt x="275" y="11"/>
                    <a:pt x="289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16" y="0"/>
                    <a:pt x="109" y="7"/>
                    <a:pt x="109" y="15"/>
                  </a:cubicBezTo>
                  <a:cubicBezTo>
                    <a:pt x="109" y="181"/>
                    <a:pt x="109" y="181"/>
                    <a:pt x="109" y="181"/>
                  </a:cubicBezTo>
                  <a:cubicBezTo>
                    <a:pt x="107" y="186"/>
                    <a:pt x="104" y="190"/>
                    <a:pt x="98" y="191"/>
                  </a:cubicBezTo>
                  <a:cubicBezTo>
                    <a:pt x="88" y="191"/>
                    <a:pt x="78" y="191"/>
                    <a:pt x="71" y="181"/>
                  </a:cubicBezTo>
                  <a:cubicBezTo>
                    <a:pt x="68" y="176"/>
                    <a:pt x="65" y="170"/>
                    <a:pt x="62" y="164"/>
                  </a:cubicBezTo>
                  <a:cubicBezTo>
                    <a:pt x="51" y="148"/>
                    <a:pt x="30" y="146"/>
                    <a:pt x="17" y="161"/>
                  </a:cubicBezTo>
                  <a:cubicBezTo>
                    <a:pt x="5" y="176"/>
                    <a:pt x="0" y="198"/>
                    <a:pt x="1" y="218"/>
                  </a:cubicBezTo>
                  <a:cubicBezTo>
                    <a:pt x="0" y="238"/>
                    <a:pt x="5" y="259"/>
                    <a:pt x="17" y="274"/>
                  </a:cubicBezTo>
                  <a:cubicBezTo>
                    <a:pt x="30" y="289"/>
                    <a:pt x="51" y="288"/>
                    <a:pt x="62" y="271"/>
                  </a:cubicBezTo>
                  <a:cubicBezTo>
                    <a:pt x="65" y="265"/>
                    <a:pt x="68" y="259"/>
                    <a:pt x="71" y="254"/>
                  </a:cubicBezTo>
                  <a:cubicBezTo>
                    <a:pt x="78" y="244"/>
                    <a:pt x="88" y="244"/>
                    <a:pt x="98" y="245"/>
                  </a:cubicBezTo>
                  <a:cubicBezTo>
                    <a:pt x="104" y="245"/>
                    <a:pt x="107" y="250"/>
                    <a:pt x="109" y="254"/>
                  </a:cubicBezTo>
                  <a:cubicBezTo>
                    <a:pt x="109" y="457"/>
                    <a:pt x="109" y="457"/>
                    <a:pt x="109" y="457"/>
                  </a:cubicBezTo>
                  <a:cubicBezTo>
                    <a:pt x="109" y="466"/>
                    <a:pt x="118" y="473"/>
                    <a:pt x="127" y="470"/>
                  </a:cubicBezTo>
                  <a:cubicBezTo>
                    <a:pt x="132" y="468"/>
                    <a:pt x="138" y="466"/>
                    <a:pt x="143" y="464"/>
                  </a:cubicBezTo>
                  <a:cubicBezTo>
                    <a:pt x="264" y="406"/>
                    <a:pt x="377" y="334"/>
                    <a:pt x="477" y="243"/>
                  </a:cubicBezTo>
                  <a:cubicBezTo>
                    <a:pt x="549" y="178"/>
                    <a:pt x="607" y="105"/>
                    <a:pt x="646" y="21"/>
                  </a:cubicBezTo>
                  <a:cubicBezTo>
                    <a:pt x="650" y="11"/>
                    <a:pt x="643" y="0"/>
                    <a:pt x="632" y="0"/>
                  </a:cubicBezTo>
                  <a:cubicBezTo>
                    <a:pt x="434" y="0"/>
                    <a:pt x="434" y="0"/>
                    <a:pt x="434" y="0"/>
                  </a:cubicBezTo>
                  <a:cubicBezTo>
                    <a:pt x="448" y="11"/>
                    <a:pt x="455" y="26"/>
                    <a:pt x="455" y="42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" name="Google Shape;710;p41"/>
            <p:cNvSpPr/>
            <p:nvPr/>
          </p:nvSpPr>
          <p:spPr>
            <a:xfrm>
              <a:off x="2635397" y="3497189"/>
              <a:ext cx="313600" cy="337276"/>
            </a:xfrm>
            <a:custGeom>
              <a:avLst/>
              <a:gdLst/>
              <a:ahLst/>
              <a:cxnLst/>
              <a:rect l="l" t="t" r="r" b="b"/>
              <a:pathLst>
                <a:path w="544" h="583" extrusionOk="0">
                  <a:moveTo>
                    <a:pt x="502" y="420"/>
                  </a:moveTo>
                  <a:cubicBezTo>
                    <a:pt x="486" y="420"/>
                    <a:pt x="471" y="413"/>
                    <a:pt x="460" y="400"/>
                  </a:cubicBezTo>
                  <a:cubicBezTo>
                    <a:pt x="445" y="382"/>
                    <a:pt x="436" y="356"/>
                    <a:pt x="437" y="327"/>
                  </a:cubicBezTo>
                  <a:cubicBezTo>
                    <a:pt x="436" y="298"/>
                    <a:pt x="445" y="271"/>
                    <a:pt x="460" y="253"/>
                  </a:cubicBezTo>
                  <a:cubicBezTo>
                    <a:pt x="471" y="240"/>
                    <a:pt x="486" y="233"/>
                    <a:pt x="502" y="233"/>
                  </a:cubicBezTo>
                  <a:cubicBezTo>
                    <a:pt x="518" y="233"/>
                    <a:pt x="534" y="241"/>
                    <a:pt x="544" y="254"/>
                  </a:cubicBezTo>
                  <a:cubicBezTo>
                    <a:pt x="544" y="124"/>
                    <a:pt x="544" y="124"/>
                    <a:pt x="544" y="124"/>
                  </a:cubicBezTo>
                  <a:cubicBezTo>
                    <a:pt x="544" y="116"/>
                    <a:pt x="537" y="109"/>
                    <a:pt x="529" y="109"/>
                  </a:cubicBezTo>
                  <a:cubicBezTo>
                    <a:pt x="312" y="109"/>
                    <a:pt x="312" y="109"/>
                    <a:pt x="312" y="109"/>
                  </a:cubicBezTo>
                  <a:cubicBezTo>
                    <a:pt x="307" y="107"/>
                    <a:pt x="302" y="103"/>
                    <a:pt x="302" y="98"/>
                  </a:cubicBezTo>
                  <a:cubicBezTo>
                    <a:pt x="302" y="87"/>
                    <a:pt x="302" y="78"/>
                    <a:pt x="311" y="71"/>
                  </a:cubicBezTo>
                  <a:cubicBezTo>
                    <a:pt x="317" y="67"/>
                    <a:pt x="323" y="65"/>
                    <a:pt x="328" y="61"/>
                  </a:cubicBezTo>
                  <a:cubicBezTo>
                    <a:pt x="345" y="51"/>
                    <a:pt x="347" y="30"/>
                    <a:pt x="332" y="17"/>
                  </a:cubicBezTo>
                  <a:cubicBezTo>
                    <a:pt x="317" y="5"/>
                    <a:pt x="295" y="0"/>
                    <a:pt x="275" y="0"/>
                  </a:cubicBezTo>
                  <a:cubicBezTo>
                    <a:pt x="255" y="0"/>
                    <a:pt x="234" y="5"/>
                    <a:pt x="219" y="17"/>
                  </a:cubicBezTo>
                  <a:cubicBezTo>
                    <a:pt x="203" y="30"/>
                    <a:pt x="205" y="51"/>
                    <a:pt x="222" y="61"/>
                  </a:cubicBezTo>
                  <a:cubicBezTo>
                    <a:pt x="227" y="65"/>
                    <a:pt x="233" y="67"/>
                    <a:pt x="239" y="71"/>
                  </a:cubicBezTo>
                  <a:cubicBezTo>
                    <a:pt x="248" y="78"/>
                    <a:pt x="248" y="87"/>
                    <a:pt x="248" y="98"/>
                  </a:cubicBezTo>
                  <a:cubicBezTo>
                    <a:pt x="248" y="103"/>
                    <a:pt x="243" y="107"/>
                    <a:pt x="239" y="109"/>
                  </a:cubicBezTo>
                  <a:cubicBezTo>
                    <a:pt x="19" y="109"/>
                    <a:pt x="19" y="109"/>
                    <a:pt x="19" y="109"/>
                  </a:cubicBezTo>
                  <a:cubicBezTo>
                    <a:pt x="8" y="109"/>
                    <a:pt x="0" y="120"/>
                    <a:pt x="5" y="130"/>
                  </a:cubicBezTo>
                  <a:cubicBezTo>
                    <a:pt x="18" y="157"/>
                    <a:pt x="32" y="183"/>
                    <a:pt x="50" y="208"/>
                  </a:cubicBezTo>
                  <a:cubicBezTo>
                    <a:pt x="170" y="381"/>
                    <a:pt x="338" y="493"/>
                    <a:pt x="525" y="579"/>
                  </a:cubicBezTo>
                  <a:cubicBezTo>
                    <a:pt x="525" y="579"/>
                    <a:pt x="525" y="579"/>
                    <a:pt x="525" y="579"/>
                  </a:cubicBezTo>
                  <a:cubicBezTo>
                    <a:pt x="534" y="583"/>
                    <a:pt x="544" y="576"/>
                    <a:pt x="544" y="567"/>
                  </a:cubicBezTo>
                  <a:cubicBezTo>
                    <a:pt x="544" y="399"/>
                    <a:pt x="544" y="399"/>
                    <a:pt x="544" y="399"/>
                  </a:cubicBezTo>
                  <a:cubicBezTo>
                    <a:pt x="534" y="413"/>
                    <a:pt x="518" y="420"/>
                    <a:pt x="502" y="42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" name="Google Shape;711;p41"/>
            <p:cNvSpPr/>
            <p:nvPr/>
          </p:nvSpPr>
          <p:spPr>
            <a:xfrm>
              <a:off x="2966382" y="3253725"/>
              <a:ext cx="349261" cy="352241"/>
            </a:xfrm>
            <a:custGeom>
              <a:avLst/>
              <a:gdLst/>
              <a:ahLst/>
              <a:cxnLst/>
              <a:rect l="l" t="t" r="r" b="b"/>
              <a:pathLst>
                <a:path w="606" h="609" extrusionOk="0">
                  <a:moveTo>
                    <a:pt x="397" y="49"/>
                  </a:moveTo>
                  <a:cubicBezTo>
                    <a:pt x="262" y="0"/>
                    <a:pt x="137" y="39"/>
                    <a:pt x="19" y="109"/>
                  </a:cubicBezTo>
                  <a:cubicBezTo>
                    <a:pt x="17" y="110"/>
                    <a:pt x="15" y="111"/>
                    <a:pt x="13" y="112"/>
                  </a:cubicBezTo>
                  <a:cubicBezTo>
                    <a:pt x="5" y="116"/>
                    <a:pt x="0" y="124"/>
                    <a:pt x="0" y="132"/>
                  </a:cubicBezTo>
                  <a:cubicBezTo>
                    <a:pt x="0" y="238"/>
                    <a:pt x="0" y="238"/>
                    <a:pt x="0" y="238"/>
                  </a:cubicBezTo>
                  <a:cubicBezTo>
                    <a:pt x="11" y="225"/>
                    <a:pt x="26" y="217"/>
                    <a:pt x="43" y="217"/>
                  </a:cubicBezTo>
                  <a:cubicBezTo>
                    <a:pt x="59" y="217"/>
                    <a:pt x="74" y="225"/>
                    <a:pt x="85" y="237"/>
                  </a:cubicBezTo>
                  <a:cubicBezTo>
                    <a:pt x="100" y="256"/>
                    <a:pt x="108" y="282"/>
                    <a:pt x="108" y="311"/>
                  </a:cubicBezTo>
                  <a:cubicBezTo>
                    <a:pt x="108" y="340"/>
                    <a:pt x="100" y="366"/>
                    <a:pt x="85" y="385"/>
                  </a:cubicBezTo>
                  <a:cubicBezTo>
                    <a:pt x="74" y="398"/>
                    <a:pt x="59" y="405"/>
                    <a:pt x="43" y="405"/>
                  </a:cubicBezTo>
                  <a:cubicBezTo>
                    <a:pt x="26" y="405"/>
                    <a:pt x="11" y="397"/>
                    <a:pt x="0" y="384"/>
                  </a:cubicBezTo>
                  <a:cubicBezTo>
                    <a:pt x="0" y="485"/>
                    <a:pt x="0" y="485"/>
                    <a:pt x="0" y="485"/>
                  </a:cubicBezTo>
                  <a:cubicBezTo>
                    <a:pt x="0" y="493"/>
                    <a:pt x="7" y="500"/>
                    <a:pt x="15" y="500"/>
                  </a:cubicBezTo>
                  <a:cubicBezTo>
                    <a:pt x="216" y="500"/>
                    <a:pt x="216" y="500"/>
                    <a:pt x="216" y="500"/>
                  </a:cubicBezTo>
                  <a:cubicBezTo>
                    <a:pt x="221" y="502"/>
                    <a:pt x="225" y="505"/>
                    <a:pt x="225" y="511"/>
                  </a:cubicBezTo>
                  <a:cubicBezTo>
                    <a:pt x="226" y="521"/>
                    <a:pt x="226" y="531"/>
                    <a:pt x="216" y="538"/>
                  </a:cubicBezTo>
                  <a:cubicBezTo>
                    <a:pt x="211" y="541"/>
                    <a:pt x="205" y="544"/>
                    <a:pt x="199" y="547"/>
                  </a:cubicBezTo>
                  <a:cubicBezTo>
                    <a:pt x="183" y="558"/>
                    <a:pt x="181" y="579"/>
                    <a:pt x="196" y="592"/>
                  </a:cubicBezTo>
                  <a:cubicBezTo>
                    <a:pt x="211" y="604"/>
                    <a:pt x="233" y="609"/>
                    <a:pt x="252" y="609"/>
                  </a:cubicBezTo>
                  <a:cubicBezTo>
                    <a:pt x="272" y="609"/>
                    <a:pt x="294" y="604"/>
                    <a:pt x="309" y="592"/>
                  </a:cubicBezTo>
                  <a:cubicBezTo>
                    <a:pt x="324" y="579"/>
                    <a:pt x="322" y="558"/>
                    <a:pt x="306" y="547"/>
                  </a:cubicBezTo>
                  <a:cubicBezTo>
                    <a:pt x="300" y="544"/>
                    <a:pt x="294" y="541"/>
                    <a:pt x="289" y="538"/>
                  </a:cubicBezTo>
                  <a:cubicBezTo>
                    <a:pt x="279" y="531"/>
                    <a:pt x="279" y="521"/>
                    <a:pt x="279" y="511"/>
                  </a:cubicBezTo>
                  <a:cubicBezTo>
                    <a:pt x="280" y="505"/>
                    <a:pt x="284" y="502"/>
                    <a:pt x="289" y="500"/>
                  </a:cubicBezTo>
                  <a:cubicBezTo>
                    <a:pt x="547" y="500"/>
                    <a:pt x="547" y="500"/>
                    <a:pt x="547" y="500"/>
                  </a:cubicBezTo>
                  <a:cubicBezTo>
                    <a:pt x="554" y="500"/>
                    <a:pt x="559" y="496"/>
                    <a:pt x="561" y="490"/>
                  </a:cubicBezTo>
                  <a:cubicBezTo>
                    <a:pt x="574" y="451"/>
                    <a:pt x="583" y="411"/>
                    <a:pt x="588" y="368"/>
                  </a:cubicBezTo>
                  <a:cubicBezTo>
                    <a:pt x="606" y="217"/>
                    <a:pt x="540" y="101"/>
                    <a:pt x="397" y="4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3" name="Прямоугольник 72"/>
          <p:cNvSpPr/>
          <p:nvPr/>
        </p:nvSpPr>
        <p:spPr>
          <a:xfrm rot="120000">
            <a:off x="995680" y="3065195"/>
            <a:ext cx="653288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/>
              <a:t>Родительский  клуб по патриотическому воспитанию </a:t>
            </a:r>
          </a:p>
          <a:p>
            <a:r>
              <a:rPr lang="ru-RU" b="1" dirty="0" smtClean="0"/>
              <a:t>                              «Росток памяти»</a:t>
            </a:r>
            <a:endParaRPr lang="ru-RU" b="1" dirty="0"/>
          </a:p>
        </p:txBody>
      </p:sp>
      <p:sp>
        <p:nvSpPr>
          <p:cNvPr id="69" name="Прямоугольник 68"/>
          <p:cNvSpPr/>
          <p:nvPr/>
        </p:nvSpPr>
        <p:spPr>
          <a:xfrm>
            <a:off x="0" y="0"/>
            <a:ext cx="1767840" cy="701040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4" name="Рисунок 73">
            <a:extLst>
              <a:ext uri="{FF2B5EF4-FFF2-40B4-BE49-F238E27FC236}">
                <a16:creationId xmlns:a16="http://schemas.microsoft.com/office/drawing/2014/main" xmlns="" id="{F5A915BA-698F-4574-83F2-CC987DC1D5F2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96DAC541-7B7A-43D3-8B79-37D633B846F1}">
                <asvg:svgBlip xmlns=""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0" y="152400"/>
            <a:ext cx="1888568" cy="509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95851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4">
            <a:extLst>
              <a:ext uri="{FF2B5EF4-FFF2-40B4-BE49-F238E27FC236}">
                <a16:creationId xmlns:a16="http://schemas.microsoft.com/office/drawing/2014/main" xmlns="" id="{B210F6F7-62F4-4E9E-9E2E-B49C62584D97}"/>
              </a:ext>
            </a:extLst>
          </p:cNvPr>
          <p:cNvSpPr/>
          <p:nvPr/>
        </p:nvSpPr>
        <p:spPr>
          <a:xfrm>
            <a:off x="0" y="0"/>
            <a:ext cx="8726371" cy="1717040"/>
          </a:xfrm>
          <a:custGeom>
            <a:avLst/>
            <a:gdLst>
              <a:gd name="connsiteX0" fmla="*/ 0 w 5880100"/>
              <a:gd name="connsiteY0" fmla="*/ 0 h 5880100"/>
              <a:gd name="connsiteX1" fmla="*/ 5880100 w 5880100"/>
              <a:gd name="connsiteY1" fmla="*/ 0 h 5880100"/>
              <a:gd name="connsiteX2" fmla="*/ 5880100 w 5880100"/>
              <a:gd name="connsiteY2" fmla="*/ 5880100 h 5880100"/>
              <a:gd name="connsiteX3" fmla="*/ 0 w 5880100"/>
              <a:gd name="connsiteY3" fmla="*/ 5880100 h 5880100"/>
              <a:gd name="connsiteX4" fmla="*/ 0 w 5880100"/>
              <a:gd name="connsiteY4" fmla="*/ 0 h 5880100"/>
              <a:gd name="connsiteX0" fmla="*/ 0 w 6615112"/>
              <a:gd name="connsiteY0" fmla="*/ 0 h 6615112"/>
              <a:gd name="connsiteX1" fmla="*/ 5880100 w 6615112"/>
              <a:gd name="connsiteY1" fmla="*/ 0 h 6615112"/>
              <a:gd name="connsiteX2" fmla="*/ 5880100 w 6615112"/>
              <a:gd name="connsiteY2" fmla="*/ 5880100 h 6615112"/>
              <a:gd name="connsiteX3" fmla="*/ 0 w 6615112"/>
              <a:gd name="connsiteY3" fmla="*/ 5880100 h 6615112"/>
              <a:gd name="connsiteX4" fmla="*/ 0 w 6615112"/>
              <a:gd name="connsiteY4" fmla="*/ 0 h 6615112"/>
              <a:gd name="connsiteX0" fmla="*/ 0 w 6145189"/>
              <a:gd name="connsiteY0" fmla="*/ 0 h 6082525"/>
              <a:gd name="connsiteX1" fmla="*/ 5880100 w 6145189"/>
              <a:gd name="connsiteY1" fmla="*/ 0 h 6082525"/>
              <a:gd name="connsiteX2" fmla="*/ 3898900 w 6145189"/>
              <a:gd name="connsiteY2" fmla="*/ 3035300 h 6082525"/>
              <a:gd name="connsiteX3" fmla="*/ 0 w 6145189"/>
              <a:gd name="connsiteY3" fmla="*/ 5880100 h 6082525"/>
              <a:gd name="connsiteX4" fmla="*/ 0 w 6145189"/>
              <a:gd name="connsiteY4" fmla="*/ 0 h 6082525"/>
              <a:gd name="connsiteX0" fmla="*/ 0 w 6085854"/>
              <a:gd name="connsiteY0" fmla="*/ 0 h 6135502"/>
              <a:gd name="connsiteX1" fmla="*/ 5880100 w 6085854"/>
              <a:gd name="connsiteY1" fmla="*/ 0 h 6135502"/>
              <a:gd name="connsiteX2" fmla="*/ 3898900 w 6085854"/>
              <a:gd name="connsiteY2" fmla="*/ 3035300 h 6135502"/>
              <a:gd name="connsiteX3" fmla="*/ 0 w 6085854"/>
              <a:gd name="connsiteY3" fmla="*/ 5880100 h 6135502"/>
              <a:gd name="connsiteX4" fmla="*/ 0 w 6085854"/>
              <a:gd name="connsiteY4" fmla="*/ 0 h 6135502"/>
              <a:gd name="connsiteX0" fmla="*/ 0 w 6113652"/>
              <a:gd name="connsiteY0" fmla="*/ 0 h 6259192"/>
              <a:gd name="connsiteX1" fmla="*/ 5880100 w 6113652"/>
              <a:gd name="connsiteY1" fmla="*/ 0 h 6259192"/>
              <a:gd name="connsiteX2" fmla="*/ 4318000 w 6113652"/>
              <a:gd name="connsiteY2" fmla="*/ 4038600 h 6259192"/>
              <a:gd name="connsiteX3" fmla="*/ 0 w 6113652"/>
              <a:gd name="connsiteY3" fmla="*/ 5880100 h 6259192"/>
              <a:gd name="connsiteX4" fmla="*/ 0 w 6113652"/>
              <a:gd name="connsiteY4" fmla="*/ 0 h 6259192"/>
              <a:gd name="connsiteX0" fmla="*/ 0 w 6124861"/>
              <a:gd name="connsiteY0" fmla="*/ 0 h 6340446"/>
              <a:gd name="connsiteX1" fmla="*/ 5880100 w 6124861"/>
              <a:gd name="connsiteY1" fmla="*/ 0 h 6340446"/>
              <a:gd name="connsiteX2" fmla="*/ 4318000 w 6124861"/>
              <a:gd name="connsiteY2" fmla="*/ 4038600 h 6340446"/>
              <a:gd name="connsiteX3" fmla="*/ 0 w 6124861"/>
              <a:gd name="connsiteY3" fmla="*/ 5880100 h 6340446"/>
              <a:gd name="connsiteX4" fmla="*/ 0 w 6124861"/>
              <a:gd name="connsiteY4" fmla="*/ 0 h 6340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24861" h="6340446">
                <a:moveTo>
                  <a:pt x="0" y="0"/>
                </a:moveTo>
                <a:lnTo>
                  <a:pt x="5880100" y="0"/>
                </a:lnTo>
                <a:cubicBezTo>
                  <a:pt x="6860117" y="980017"/>
                  <a:pt x="4599517" y="1788583"/>
                  <a:pt x="4318000" y="4038600"/>
                </a:cubicBezTo>
                <a:cubicBezTo>
                  <a:pt x="4036483" y="6288617"/>
                  <a:pt x="980017" y="6860117"/>
                  <a:pt x="0" y="5880100"/>
                </a:cubicBezTo>
                <a:lnTo>
                  <a:pt x="0" y="0"/>
                </a:lnTo>
                <a:close/>
              </a:path>
            </a:pathLst>
          </a:cu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b="1" dirty="0" smtClean="0"/>
              <a:t>РОДИТЕЛЬСКИЙ  КЛУБ «</a:t>
            </a:r>
            <a:r>
              <a:rPr lang="ru-RU" sz="1400" b="1" dirty="0" err="1" smtClean="0"/>
              <a:t>ЗОЖиК</a:t>
            </a:r>
            <a:r>
              <a:rPr lang="ru-RU" sz="1400" b="1" dirty="0" smtClean="0"/>
              <a:t>»</a:t>
            </a:r>
            <a:r>
              <a:rPr lang="ru-RU" sz="1400" dirty="0" smtClean="0"/>
              <a:t>  </a:t>
            </a:r>
          </a:p>
          <a:p>
            <a:pPr algn="ctr"/>
            <a:r>
              <a:rPr lang="ru-RU" sz="1400" dirty="0" smtClean="0"/>
              <a:t>Цель: установление сотрудничества педагогов ДОО и семьи в вопросах преемственности воспитания, физического развития и  оздоровления воспитанников, приобщения детей и членов их семей к трансляции здорового образа жизни.</a:t>
            </a:r>
            <a:endParaRPr lang="ru-RU" sz="1400" b="1" dirty="0" smtClean="0"/>
          </a:p>
        </p:txBody>
      </p:sp>
      <p:sp>
        <p:nvSpPr>
          <p:cNvPr id="12" name="Прямоугольник 11"/>
          <p:cNvSpPr/>
          <p:nvPr/>
        </p:nvSpPr>
        <p:spPr>
          <a:xfrm>
            <a:off x="2204184" y="5303519"/>
            <a:ext cx="247369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/>
              <a:t> </a:t>
            </a:r>
            <a:endParaRPr lang="ru-RU" dirty="0"/>
          </a:p>
        </p:txBody>
      </p:sp>
      <p:grpSp>
        <p:nvGrpSpPr>
          <p:cNvPr id="15" name="Group 9">
            <a:extLst>
              <a:ext uri="{FF2B5EF4-FFF2-40B4-BE49-F238E27FC236}">
                <a16:creationId xmlns:a16="http://schemas.microsoft.com/office/drawing/2014/main" xmlns="" id="{2EB978E7-A19C-4366-B94D-EEC57A5AE8DC}"/>
              </a:ext>
            </a:extLst>
          </p:cNvPr>
          <p:cNvGrpSpPr/>
          <p:nvPr/>
        </p:nvGrpSpPr>
        <p:grpSpPr>
          <a:xfrm>
            <a:off x="9809708" y="792480"/>
            <a:ext cx="1950720" cy="1867281"/>
            <a:chOff x="6705600" y="1238250"/>
            <a:chExt cx="866776" cy="866776"/>
          </a:xfrm>
        </p:grpSpPr>
        <p:sp>
          <p:nvSpPr>
            <p:cNvPr id="20" name="Oval 8">
              <a:extLst>
                <a:ext uri="{FF2B5EF4-FFF2-40B4-BE49-F238E27FC236}">
                  <a16:creationId xmlns:a16="http://schemas.microsoft.com/office/drawing/2014/main" xmlns="" id="{4A46D147-0CC5-4735-AE1F-65BCC6509DC0}"/>
                </a:ext>
              </a:extLst>
            </p:cNvPr>
            <p:cNvSpPr/>
            <p:nvPr/>
          </p:nvSpPr>
          <p:spPr>
            <a:xfrm>
              <a:off x="6705600" y="1238250"/>
              <a:ext cx="866776" cy="866776"/>
            </a:xfrm>
            <a:prstGeom prst="ellipse">
              <a:avLst/>
            </a:prstGeom>
            <a:ln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1" name="Oval 7">
              <a:extLst>
                <a:ext uri="{FF2B5EF4-FFF2-40B4-BE49-F238E27FC236}">
                  <a16:creationId xmlns:a16="http://schemas.microsoft.com/office/drawing/2014/main" xmlns="" id="{97103F70-3F4B-4955-9BCE-2928397D6D93}"/>
                </a:ext>
              </a:extLst>
            </p:cNvPr>
            <p:cNvSpPr/>
            <p:nvPr/>
          </p:nvSpPr>
          <p:spPr>
            <a:xfrm>
              <a:off x="6800851" y="1333501"/>
              <a:ext cx="676275" cy="676275"/>
            </a:xfrm>
            <a:prstGeom prst="ellipse">
              <a:avLst/>
            </a:prstGeom>
            <a:ln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ru-RU" sz="6000" dirty="0" smtClean="0"/>
                <a:t>1</a:t>
              </a:r>
              <a:endParaRPr lang="en-US" sz="6000" dirty="0"/>
            </a:p>
          </p:txBody>
        </p:sp>
      </p:grpSp>
      <p:pic>
        <p:nvPicPr>
          <p:cNvPr id="33" name="Рисунок 32">
            <a:extLst>
              <a:ext uri="{FF2B5EF4-FFF2-40B4-BE49-F238E27FC236}">
                <a16:creationId xmlns:a16="http://schemas.microsoft.com/office/drawing/2014/main" xmlns="" id="{F5A915BA-698F-4574-83F2-CC987DC1D5F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95977" y="176675"/>
            <a:ext cx="1544695" cy="416823"/>
          </a:xfrm>
          <a:prstGeom prst="rect">
            <a:avLst/>
          </a:prstGeom>
        </p:spPr>
      </p:pic>
      <p:grpSp>
        <p:nvGrpSpPr>
          <p:cNvPr id="34" name="Google Shape;541;p41"/>
          <p:cNvGrpSpPr/>
          <p:nvPr/>
        </p:nvGrpSpPr>
        <p:grpSpPr>
          <a:xfrm>
            <a:off x="10335783" y="1836349"/>
            <a:ext cx="870369" cy="1427622"/>
            <a:chOff x="9901824" y="937343"/>
            <a:chExt cx="744273" cy="793950"/>
          </a:xfrm>
        </p:grpSpPr>
        <p:grpSp>
          <p:nvGrpSpPr>
            <p:cNvPr id="35" name="Google Shape;542;p41"/>
            <p:cNvGrpSpPr/>
            <p:nvPr/>
          </p:nvGrpSpPr>
          <p:grpSpPr>
            <a:xfrm>
              <a:off x="9901824" y="937343"/>
              <a:ext cx="744273" cy="793950"/>
              <a:chOff x="9901824" y="937343"/>
              <a:chExt cx="744273" cy="793950"/>
            </a:xfrm>
          </p:grpSpPr>
          <p:sp>
            <p:nvSpPr>
              <p:cNvPr id="42" name="Google Shape;543;p41"/>
              <p:cNvSpPr/>
              <p:nvPr/>
            </p:nvSpPr>
            <p:spPr>
              <a:xfrm>
                <a:off x="10463799" y="1043794"/>
                <a:ext cx="76068" cy="75403"/>
              </a:xfrm>
              <a:custGeom>
                <a:avLst/>
                <a:gdLst/>
                <a:ahLst/>
                <a:cxnLst/>
                <a:rect l="l" t="t" r="r" b="b"/>
                <a:pathLst>
                  <a:path w="133" h="132" extrusionOk="0">
                    <a:moveTo>
                      <a:pt x="12" y="132"/>
                    </a:moveTo>
                    <a:cubicBezTo>
                      <a:pt x="9" y="132"/>
                      <a:pt x="6" y="131"/>
                      <a:pt x="4" y="128"/>
                    </a:cubicBezTo>
                    <a:cubicBezTo>
                      <a:pt x="0" y="124"/>
                      <a:pt x="0" y="118"/>
                      <a:pt x="4" y="114"/>
                    </a:cubicBezTo>
                    <a:cubicBezTo>
                      <a:pt x="113" y="4"/>
                      <a:pt x="113" y="4"/>
                      <a:pt x="113" y="4"/>
                    </a:cubicBezTo>
                    <a:cubicBezTo>
                      <a:pt x="118" y="0"/>
                      <a:pt x="124" y="0"/>
                      <a:pt x="128" y="4"/>
                    </a:cubicBezTo>
                    <a:cubicBezTo>
                      <a:pt x="133" y="8"/>
                      <a:pt x="133" y="15"/>
                      <a:pt x="128" y="19"/>
                    </a:cubicBezTo>
                    <a:cubicBezTo>
                      <a:pt x="19" y="128"/>
                      <a:pt x="19" y="128"/>
                      <a:pt x="19" y="128"/>
                    </a:cubicBezTo>
                    <a:cubicBezTo>
                      <a:pt x="17" y="131"/>
                      <a:pt x="14" y="132"/>
                      <a:pt x="12" y="132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4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" name="Google Shape;544;p41"/>
              <p:cNvSpPr/>
              <p:nvPr/>
            </p:nvSpPr>
            <p:spPr>
              <a:xfrm>
                <a:off x="10546077" y="1303491"/>
                <a:ext cx="100020" cy="11976"/>
              </a:xfrm>
              <a:custGeom>
                <a:avLst/>
                <a:gdLst/>
                <a:ahLst/>
                <a:cxnLst/>
                <a:rect l="l" t="t" r="r" b="b"/>
                <a:pathLst>
                  <a:path w="175" h="21" extrusionOk="0">
                    <a:moveTo>
                      <a:pt x="165" y="21"/>
                    </a:moveTo>
                    <a:cubicBezTo>
                      <a:pt x="10" y="21"/>
                      <a:pt x="10" y="21"/>
                      <a:pt x="10" y="21"/>
                    </a:cubicBezTo>
                    <a:cubicBezTo>
                      <a:pt x="4" y="21"/>
                      <a:pt x="0" y="17"/>
                      <a:pt x="0" y="11"/>
                    </a:cubicBezTo>
                    <a:cubicBezTo>
                      <a:pt x="0" y="5"/>
                      <a:pt x="4" y="0"/>
                      <a:pt x="10" y="0"/>
                    </a:cubicBezTo>
                    <a:cubicBezTo>
                      <a:pt x="165" y="0"/>
                      <a:pt x="165" y="0"/>
                      <a:pt x="165" y="0"/>
                    </a:cubicBezTo>
                    <a:cubicBezTo>
                      <a:pt x="171" y="0"/>
                      <a:pt x="175" y="5"/>
                      <a:pt x="175" y="11"/>
                    </a:cubicBezTo>
                    <a:cubicBezTo>
                      <a:pt x="175" y="17"/>
                      <a:pt x="171" y="21"/>
                      <a:pt x="165" y="2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4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" name="Google Shape;545;p41"/>
              <p:cNvSpPr/>
              <p:nvPr/>
            </p:nvSpPr>
            <p:spPr>
              <a:xfrm>
                <a:off x="10463799" y="1499539"/>
                <a:ext cx="76068" cy="75625"/>
              </a:xfrm>
              <a:custGeom>
                <a:avLst/>
                <a:gdLst/>
                <a:ahLst/>
                <a:cxnLst/>
                <a:rect l="l" t="t" r="r" b="b"/>
                <a:pathLst>
                  <a:path w="133" h="132" extrusionOk="0">
                    <a:moveTo>
                      <a:pt x="121" y="132"/>
                    </a:moveTo>
                    <a:cubicBezTo>
                      <a:pt x="119" y="132"/>
                      <a:pt x="116" y="131"/>
                      <a:pt x="114" y="129"/>
                    </a:cubicBezTo>
                    <a:cubicBezTo>
                      <a:pt x="5" y="19"/>
                      <a:pt x="5" y="19"/>
                      <a:pt x="5" y="19"/>
                    </a:cubicBezTo>
                    <a:cubicBezTo>
                      <a:pt x="0" y="15"/>
                      <a:pt x="0" y="8"/>
                      <a:pt x="5" y="4"/>
                    </a:cubicBezTo>
                    <a:cubicBezTo>
                      <a:pt x="9" y="0"/>
                      <a:pt x="15" y="0"/>
                      <a:pt x="20" y="4"/>
                    </a:cubicBezTo>
                    <a:cubicBezTo>
                      <a:pt x="129" y="114"/>
                      <a:pt x="129" y="114"/>
                      <a:pt x="129" y="114"/>
                    </a:cubicBezTo>
                    <a:cubicBezTo>
                      <a:pt x="133" y="118"/>
                      <a:pt x="133" y="124"/>
                      <a:pt x="129" y="129"/>
                    </a:cubicBezTo>
                    <a:cubicBezTo>
                      <a:pt x="127" y="131"/>
                      <a:pt x="124" y="132"/>
                      <a:pt x="121" y="132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4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" name="Google Shape;546;p41"/>
              <p:cNvSpPr/>
              <p:nvPr/>
            </p:nvSpPr>
            <p:spPr>
              <a:xfrm>
                <a:off x="10008275" y="1500204"/>
                <a:ext cx="76068" cy="74960"/>
              </a:xfrm>
              <a:custGeom>
                <a:avLst/>
                <a:gdLst/>
                <a:ahLst/>
                <a:cxnLst/>
                <a:rect l="l" t="t" r="r" b="b"/>
                <a:pathLst>
                  <a:path w="133" h="131" extrusionOk="0">
                    <a:moveTo>
                      <a:pt x="12" y="131"/>
                    </a:moveTo>
                    <a:cubicBezTo>
                      <a:pt x="9" y="131"/>
                      <a:pt x="7" y="130"/>
                      <a:pt x="5" y="128"/>
                    </a:cubicBezTo>
                    <a:cubicBezTo>
                      <a:pt x="0" y="124"/>
                      <a:pt x="0" y="117"/>
                      <a:pt x="5" y="113"/>
                    </a:cubicBezTo>
                    <a:cubicBezTo>
                      <a:pt x="114" y="4"/>
                      <a:pt x="114" y="4"/>
                      <a:pt x="114" y="4"/>
                    </a:cubicBezTo>
                    <a:cubicBezTo>
                      <a:pt x="118" y="0"/>
                      <a:pt x="125" y="0"/>
                      <a:pt x="129" y="4"/>
                    </a:cubicBezTo>
                    <a:cubicBezTo>
                      <a:pt x="133" y="8"/>
                      <a:pt x="133" y="14"/>
                      <a:pt x="129" y="19"/>
                    </a:cubicBezTo>
                    <a:cubicBezTo>
                      <a:pt x="19" y="128"/>
                      <a:pt x="19" y="128"/>
                      <a:pt x="19" y="128"/>
                    </a:cubicBezTo>
                    <a:cubicBezTo>
                      <a:pt x="17" y="130"/>
                      <a:pt x="15" y="131"/>
                      <a:pt x="12" y="13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4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" name="Google Shape;547;p41"/>
              <p:cNvSpPr/>
              <p:nvPr/>
            </p:nvSpPr>
            <p:spPr>
              <a:xfrm>
                <a:off x="9901824" y="1303934"/>
                <a:ext cx="100020" cy="11976"/>
              </a:xfrm>
              <a:custGeom>
                <a:avLst/>
                <a:gdLst/>
                <a:ahLst/>
                <a:cxnLst/>
                <a:rect l="l" t="t" r="r" b="b"/>
                <a:pathLst>
                  <a:path w="175" h="21" extrusionOk="0">
                    <a:moveTo>
                      <a:pt x="165" y="21"/>
                    </a:moveTo>
                    <a:cubicBezTo>
                      <a:pt x="10" y="21"/>
                      <a:pt x="10" y="21"/>
                      <a:pt x="10" y="21"/>
                    </a:cubicBezTo>
                    <a:cubicBezTo>
                      <a:pt x="4" y="21"/>
                      <a:pt x="0" y="16"/>
                      <a:pt x="0" y="10"/>
                    </a:cubicBezTo>
                    <a:cubicBezTo>
                      <a:pt x="0" y="5"/>
                      <a:pt x="4" y="0"/>
                      <a:pt x="10" y="0"/>
                    </a:cubicBezTo>
                    <a:cubicBezTo>
                      <a:pt x="165" y="0"/>
                      <a:pt x="165" y="0"/>
                      <a:pt x="165" y="0"/>
                    </a:cubicBezTo>
                    <a:cubicBezTo>
                      <a:pt x="171" y="0"/>
                      <a:pt x="175" y="5"/>
                      <a:pt x="175" y="10"/>
                    </a:cubicBezTo>
                    <a:cubicBezTo>
                      <a:pt x="175" y="16"/>
                      <a:pt x="171" y="21"/>
                      <a:pt x="165" y="2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4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" name="Google Shape;548;p41"/>
              <p:cNvSpPr/>
              <p:nvPr/>
            </p:nvSpPr>
            <p:spPr>
              <a:xfrm>
                <a:off x="10008275" y="1044237"/>
                <a:ext cx="75403" cy="74960"/>
              </a:xfrm>
              <a:custGeom>
                <a:avLst/>
                <a:gdLst/>
                <a:ahLst/>
                <a:cxnLst/>
                <a:rect l="l" t="t" r="r" b="b"/>
                <a:pathLst>
                  <a:path w="132" h="131" extrusionOk="0">
                    <a:moveTo>
                      <a:pt x="121" y="131"/>
                    </a:moveTo>
                    <a:cubicBezTo>
                      <a:pt x="118" y="131"/>
                      <a:pt x="115" y="130"/>
                      <a:pt x="113" y="128"/>
                    </a:cubicBezTo>
                    <a:cubicBezTo>
                      <a:pt x="4" y="19"/>
                      <a:pt x="4" y="19"/>
                      <a:pt x="4" y="19"/>
                    </a:cubicBezTo>
                    <a:cubicBezTo>
                      <a:pt x="0" y="14"/>
                      <a:pt x="0" y="8"/>
                      <a:pt x="4" y="4"/>
                    </a:cubicBezTo>
                    <a:cubicBezTo>
                      <a:pt x="8" y="0"/>
                      <a:pt x="15" y="0"/>
                      <a:pt x="19" y="4"/>
                    </a:cubicBezTo>
                    <a:cubicBezTo>
                      <a:pt x="128" y="113"/>
                      <a:pt x="128" y="113"/>
                      <a:pt x="128" y="113"/>
                    </a:cubicBezTo>
                    <a:cubicBezTo>
                      <a:pt x="132" y="117"/>
                      <a:pt x="132" y="124"/>
                      <a:pt x="128" y="128"/>
                    </a:cubicBezTo>
                    <a:cubicBezTo>
                      <a:pt x="126" y="130"/>
                      <a:pt x="124" y="131"/>
                      <a:pt x="121" y="13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4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8" name="Google Shape;549;p41"/>
              <p:cNvSpPr/>
              <p:nvPr/>
            </p:nvSpPr>
            <p:spPr>
              <a:xfrm>
                <a:off x="10267751" y="937343"/>
                <a:ext cx="11976" cy="100020"/>
              </a:xfrm>
              <a:custGeom>
                <a:avLst/>
                <a:gdLst/>
                <a:ahLst/>
                <a:cxnLst/>
                <a:rect l="l" t="t" r="r" b="b"/>
                <a:pathLst>
                  <a:path w="21" h="175" extrusionOk="0">
                    <a:moveTo>
                      <a:pt x="11" y="175"/>
                    </a:moveTo>
                    <a:cubicBezTo>
                      <a:pt x="5" y="175"/>
                      <a:pt x="0" y="171"/>
                      <a:pt x="0" y="165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4"/>
                      <a:pt x="5" y="0"/>
                      <a:pt x="11" y="0"/>
                    </a:cubicBezTo>
                    <a:cubicBezTo>
                      <a:pt x="17" y="0"/>
                      <a:pt x="21" y="4"/>
                      <a:pt x="21" y="10"/>
                    </a:cubicBezTo>
                    <a:cubicBezTo>
                      <a:pt x="21" y="165"/>
                      <a:pt x="21" y="165"/>
                      <a:pt x="21" y="165"/>
                    </a:cubicBezTo>
                    <a:cubicBezTo>
                      <a:pt x="21" y="171"/>
                      <a:pt x="17" y="175"/>
                      <a:pt x="11" y="175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4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9" name="Google Shape;550;p41"/>
              <p:cNvSpPr/>
              <p:nvPr/>
            </p:nvSpPr>
            <p:spPr>
              <a:xfrm>
                <a:off x="10183698" y="1629498"/>
                <a:ext cx="180080" cy="25726"/>
              </a:xfrm>
              <a:custGeom>
                <a:avLst/>
                <a:gdLst/>
                <a:ahLst/>
                <a:cxnLst/>
                <a:rect l="l" t="t" r="r" b="b"/>
                <a:pathLst>
                  <a:path w="315" h="45" extrusionOk="0">
                    <a:moveTo>
                      <a:pt x="0" y="23"/>
                    </a:moveTo>
                    <a:cubicBezTo>
                      <a:pt x="0" y="35"/>
                      <a:pt x="10" y="45"/>
                      <a:pt x="22" y="45"/>
                    </a:cubicBezTo>
                    <a:cubicBezTo>
                      <a:pt x="293" y="45"/>
                      <a:pt x="293" y="45"/>
                      <a:pt x="293" y="45"/>
                    </a:cubicBezTo>
                    <a:cubicBezTo>
                      <a:pt x="305" y="45"/>
                      <a:pt x="315" y="35"/>
                      <a:pt x="315" y="23"/>
                    </a:cubicBezTo>
                    <a:cubicBezTo>
                      <a:pt x="315" y="23"/>
                      <a:pt x="315" y="23"/>
                      <a:pt x="315" y="23"/>
                    </a:cubicBezTo>
                    <a:cubicBezTo>
                      <a:pt x="315" y="11"/>
                      <a:pt x="305" y="0"/>
                      <a:pt x="293" y="0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10" y="0"/>
                      <a:pt x="0" y="11"/>
                      <a:pt x="0" y="23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4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" name="Google Shape;551;p41"/>
              <p:cNvSpPr/>
              <p:nvPr/>
            </p:nvSpPr>
            <p:spPr>
              <a:xfrm>
                <a:off x="10188356" y="1667865"/>
                <a:ext cx="170766" cy="25726"/>
              </a:xfrm>
              <a:custGeom>
                <a:avLst/>
                <a:gdLst/>
                <a:ahLst/>
                <a:cxnLst/>
                <a:rect l="l" t="t" r="r" b="b"/>
                <a:pathLst>
                  <a:path w="299" h="45" extrusionOk="0">
                    <a:moveTo>
                      <a:pt x="0" y="22"/>
                    </a:moveTo>
                    <a:cubicBezTo>
                      <a:pt x="0" y="35"/>
                      <a:pt x="10" y="45"/>
                      <a:pt x="23" y="45"/>
                    </a:cubicBezTo>
                    <a:cubicBezTo>
                      <a:pt x="277" y="45"/>
                      <a:pt x="277" y="45"/>
                      <a:pt x="277" y="45"/>
                    </a:cubicBezTo>
                    <a:cubicBezTo>
                      <a:pt x="289" y="45"/>
                      <a:pt x="299" y="35"/>
                      <a:pt x="299" y="22"/>
                    </a:cubicBezTo>
                    <a:cubicBezTo>
                      <a:pt x="299" y="22"/>
                      <a:pt x="299" y="22"/>
                      <a:pt x="299" y="22"/>
                    </a:cubicBezTo>
                    <a:cubicBezTo>
                      <a:pt x="299" y="10"/>
                      <a:pt x="289" y="0"/>
                      <a:pt x="277" y="0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10" y="0"/>
                      <a:pt x="0" y="10"/>
                      <a:pt x="0" y="22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4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" name="Google Shape;552;p41"/>
              <p:cNvSpPr/>
              <p:nvPr/>
            </p:nvSpPr>
            <p:spPr>
              <a:xfrm>
                <a:off x="10212751" y="1705567"/>
                <a:ext cx="122419" cy="25726"/>
              </a:xfrm>
              <a:custGeom>
                <a:avLst/>
                <a:gdLst/>
                <a:ahLst/>
                <a:cxnLst/>
                <a:rect l="l" t="t" r="r" b="b"/>
                <a:pathLst>
                  <a:path w="214" h="45" extrusionOk="0">
                    <a:moveTo>
                      <a:pt x="0" y="23"/>
                    </a:moveTo>
                    <a:cubicBezTo>
                      <a:pt x="0" y="35"/>
                      <a:pt x="10" y="45"/>
                      <a:pt x="22" y="45"/>
                    </a:cubicBezTo>
                    <a:cubicBezTo>
                      <a:pt x="192" y="45"/>
                      <a:pt x="192" y="45"/>
                      <a:pt x="192" y="45"/>
                    </a:cubicBezTo>
                    <a:cubicBezTo>
                      <a:pt x="204" y="45"/>
                      <a:pt x="214" y="35"/>
                      <a:pt x="214" y="23"/>
                    </a:cubicBezTo>
                    <a:cubicBezTo>
                      <a:pt x="214" y="23"/>
                      <a:pt x="214" y="23"/>
                      <a:pt x="214" y="23"/>
                    </a:cubicBezTo>
                    <a:cubicBezTo>
                      <a:pt x="214" y="10"/>
                      <a:pt x="204" y="0"/>
                      <a:pt x="192" y="0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10" y="0"/>
                      <a:pt x="0" y="10"/>
                      <a:pt x="0" y="23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4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36" name="Google Shape;553;p41"/>
            <p:cNvSpPr/>
            <p:nvPr/>
          </p:nvSpPr>
          <p:spPr>
            <a:xfrm>
              <a:off x="10047751" y="1220548"/>
              <a:ext cx="217117" cy="205362"/>
            </a:xfrm>
            <a:custGeom>
              <a:avLst/>
              <a:gdLst/>
              <a:ahLst/>
              <a:cxnLst/>
              <a:rect l="l" t="t" r="r" b="b"/>
              <a:pathLst>
                <a:path w="380" h="359" extrusionOk="0">
                  <a:moveTo>
                    <a:pt x="63" y="268"/>
                  </a:moveTo>
                  <a:cubicBezTo>
                    <a:pt x="78" y="297"/>
                    <a:pt x="94" y="324"/>
                    <a:pt x="108" y="350"/>
                  </a:cubicBezTo>
                  <a:cubicBezTo>
                    <a:pt x="113" y="359"/>
                    <a:pt x="113" y="359"/>
                    <a:pt x="113" y="359"/>
                  </a:cubicBezTo>
                  <a:cubicBezTo>
                    <a:pt x="380" y="206"/>
                    <a:pt x="380" y="206"/>
                    <a:pt x="380" y="206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2" y="2"/>
                    <a:pt x="22" y="4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0" y="88"/>
                    <a:pt x="14" y="174"/>
                    <a:pt x="63" y="268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" name="Google Shape;554;p41"/>
            <p:cNvSpPr/>
            <p:nvPr/>
          </p:nvSpPr>
          <p:spPr>
            <a:xfrm>
              <a:off x="10063053" y="1080830"/>
              <a:ext cx="205806" cy="250604"/>
            </a:xfrm>
            <a:custGeom>
              <a:avLst/>
              <a:gdLst/>
              <a:ahLst/>
              <a:cxnLst/>
              <a:rect l="l" t="t" r="r" b="b"/>
              <a:pathLst>
                <a:path w="360" h="438" extrusionOk="0">
                  <a:moveTo>
                    <a:pt x="0" y="230"/>
                  </a:moveTo>
                  <a:cubicBezTo>
                    <a:pt x="360" y="438"/>
                    <a:pt x="360" y="438"/>
                    <a:pt x="360" y="438"/>
                  </a:cubicBezTo>
                  <a:cubicBezTo>
                    <a:pt x="360" y="0"/>
                    <a:pt x="360" y="0"/>
                    <a:pt x="360" y="0"/>
                  </a:cubicBezTo>
                  <a:cubicBezTo>
                    <a:pt x="174" y="3"/>
                    <a:pt x="40" y="117"/>
                    <a:pt x="0" y="23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" name="Google Shape;555;p41"/>
            <p:cNvSpPr/>
            <p:nvPr/>
          </p:nvSpPr>
          <p:spPr>
            <a:xfrm>
              <a:off x="10276400" y="1080830"/>
              <a:ext cx="208024" cy="250604"/>
            </a:xfrm>
            <a:custGeom>
              <a:avLst/>
              <a:gdLst/>
              <a:ahLst/>
              <a:cxnLst/>
              <a:rect l="l" t="t" r="r" b="b"/>
              <a:pathLst>
                <a:path w="364" h="438" extrusionOk="0">
                  <a:moveTo>
                    <a:pt x="0" y="0"/>
                  </a:moveTo>
                  <a:cubicBezTo>
                    <a:pt x="0" y="438"/>
                    <a:pt x="0" y="438"/>
                    <a:pt x="0" y="438"/>
                  </a:cubicBezTo>
                  <a:cubicBezTo>
                    <a:pt x="364" y="228"/>
                    <a:pt x="364" y="228"/>
                    <a:pt x="364" y="228"/>
                  </a:cubicBezTo>
                  <a:cubicBezTo>
                    <a:pt x="323" y="115"/>
                    <a:pt x="186" y="1"/>
                    <a:pt x="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" name="Google Shape;556;p41"/>
            <p:cNvSpPr/>
            <p:nvPr/>
          </p:nvSpPr>
          <p:spPr>
            <a:xfrm>
              <a:off x="10280392" y="1218773"/>
              <a:ext cx="219334" cy="208689"/>
            </a:xfrm>
            <a:custGeom>
              <a:avLst/>
              <a:gdLst/>
              <a:ahLst/>
              <a:cxnLst/>
              <a:rect l="l" t="t" r="r" b="b"/>
              <a:pathLst>
                <a:path w="384" h="365" extrusionOk="0">
                  <a:moveTo>
                    <a:pt x="322" y="271"/>
                  </a:moveTo>
                  <a:cubicBezTo>
                    <a:pt x="371" y="177"/>
                    <a:pt x="384" y="91"/>
                    <a:pt x="364" y="9"/>
                  </a:cubicBezTo>
                  <a:cubicBezTo>
                    <a:pt x="364" y="9"/>
                    <a:pt x="364" y="9"/>
                    <a:pt x="364" y="9"/>
                  </a:cubicBezTo>
                  <a:cubicBezTo>
                    <a:pt x="363" y="6"/>
                    <a:pt x="362" y="3"/>
                    <a:pt x="361" y="0"/>
                  </a:cubicBezTo>
                  <a:cubicBezTo>
                    <a:pt x="0" y="209"/>
                    <a:pt x="0" y="209"/>
                    <a:pt x="0" y="209"/>
                  </a:cubicBezTo>
                  <a:cubicBezTo>
                    <a:pt x="270" y="365"/>
                    <a:pt x="270" y="365"/>
                    <a:pt x="270" y="365"/>
                  </a:cubicBezTo>
                  <a:cubicBezTo>
                    <a:pt x="277" y="353"/>
                    <a:pt x="277" y="353"/>
                    <a:pt x="277" y="353"/>
                  </a:cubicBezTo>
                  <a:cubicBezTo>
                    <a:pt x="291" y="327"/>
                    <a:pt x="307" y="300"/>
                    <a:pt x="322" y="27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" name="Google Shape;557;p41"/>
            <p:cNvSpPr/>
            <p:nvPr/>
          </p:nvSpPr>
          <p:spPr>
            <a:xfrm>
              <a:off x="10116279" y="1345184"/>
              <a:ext cx="152580" cy="267681"/>
            </a:xfrm>
            <a:custGeom>
              <a:avLst/>
              <a:gdLst/>
              <a:ahLst/>
              <a:cxnLst/>
              <a:rect l="l" t="t" r="r" b="b"/>
              <a:pathLst>
                <a:path w="267" h="468" extrusionOk="0">
                  <a:moveTo>
                    <a:pt x="267" y="468"/>
                  </a:moveTo>
                  <a:cubicBezTo>
                    <a:pt x="267" y="0"/>
                    <a:pt x="267" y="0"/>
                    <a:pt x="267" y="0"/>
                  </a:cubicBezTo>
                  <a:cubicBezTo>
                    <a:pt x="0" y="153"/>
                    <a:pt x="0" y="153"/>
                    <a:pt x="0" y="153"/>
                  </a:cubicBezTo>
                  <a:cubicBezTo>
                    <a:pt x="21" y="190"/>
                    <a:pt x="42" y="229"/>
                    <a:pt x="61" y="272"/>
                  </a:cubicBezTo>
                  <a:cubicBezTo>
                    <a:pt x="75" y="304"/>
                    <a:pt x="83" y="346"/>
                    <a:pt x="90" y="383"/>
                  </a:cubicBezTo>
                  <a:cubicBezTo>
                    <a:pt x="92" y="398"/>
                    <a:pt x="95" y="411"/>
                    <a:pt x="98" y="424"/>
                  </a:cubicBezTo>
                  <a:cubicBezTo>
                    <a:pt x="105" y="457"/>
                    <a:pt x="116" y="466"/>
                    <a:pt x="151" y="467"/>
                  </a:cubicBezTo>
                  <a:cubicBezTo>
                    <a:pt x="157" y="468"/>
                    <a:pt x="157" y="468"/>
                    <a:pt x="157" y="468"/>
                  </a:cubicBezTo>
                  <a:cubicBezTo>
                    <a:pt x="185" y="468"/>
                    <a:pt x="185" y="468"/>
                    <a:pt x="185" y="468"/>
                  </a:cubicBezTo>
                  <a:cubicBezTo>
                    <a:pt x="237" y="468"/>
                    <a:pt x="237" y="468"/>
                    <a:pt x="237" y="468"/>
                  </a:cubicBezTo>
                  <a:cubicBezTo>
                    <a:pt x="247" y="468"/>
                    <a:pt x="257" y="468"/>
                    <a:pt x="267" y="468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" name="Google Shape;558;p41"/>
            <p:cNvSpPr/>
            <p:nvPr/>
          </p:nvSpPr>
          <p:spPr>
            <a:xfrm>
              <a:off x="10276400" y="1345184"/>
              <a:ext cx="154798" cy="267681"/>
            </a:xfrm>
            <a:custGeom>
              <a:avLst/>
              <a:gdLst/>
              <a:ahLst/>
              <a:cxnLst/>
              <a:rect l="l" t="t" r="r" b="b"/>
              <a:pathLst>
                <a:path w="271" h="468" extrusionOk="0">
                  <a:moveTo>
                    <a:pt x="174" y="424"/>
                  </a:moveTo>
                  <a:cubicBezTo>
                    <a:pt x="177" y="411"/>
                    <a:pt x="180" y="398"/>
                    <a:pt x="182" y="383"/>
                  </a:cubicBezTo>
                  <a:cubicBezTo>
                    <a:pt x="189" y="346"/>
                    <a:pt x="197" y="304"/>
                    <a:pt x="211" y="272"/>
                  </a:cubicBezTo>
                  <a:cubicBezTo>
                    <a:pt x="230" y="229"/>
                    <a:pt x="251" y="191"/>
                    <a:pt x="271" y="15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67"/>
                    <a:pt x="0" y="467"/>
                    <a:pt x="0" y="467"/>
                  </a:cubicBezTo>
                  <a:cubicBezTo>
                    <a:pt x="5" y="467"/>
                    <a:pt x="5" y="467"/>
                    <a:pt x="5" y="467"/>
                  </a:cubicBezTo>
                  <a:cubicBezTo>
                    <a:pt x="5" y="468"/>
                    <a:pt x="5" y="468"/>
                    <a:pt x="5" y="468"/>
                  </a:cubicBezTo>
                  <a:cubicBezTo>
                    <a:pt x="5" y="468"/>
                    <a:pt x="5" y="468"/>
                    <a:pt x="5" y="468"/>
                  </a:cubicBezTo>
                  <a:cubicBezTo>
                    <a:pt x="15" y="468"/>
                    <a:pt x="25" y="468"/>
                    <a:pt x="36" y="468"/>
                  </a:cubicBezTo>
                  <a:cubicBezTo>
                    <a:pt x="42" y="467"/>
                    <a:pt x="42" y="467"/>
                    <a:pt x="42" y="467"/>
                  </a:cubicBezTo>
                  <a:cubicBezTo>
                    <a:pt x="94" y="468"/>
                    <a:pt x="94" y="468"/>
                    <a:pt x="94" y="468"/>
                  </a:cubicBezTo>
                  <a:cubicBezTo>
                    <a:pt x="101" y="468"/>
                    <a:pt x="108" y="468"/>
                    <a:pt x="115" y="467"/>
                  </a:cubicBezTo>
                  <a:cubicBezTo>
                    <a:pt x="157" y="467"/>
                    <a:pt x="167" y="456"/>
                    <a:pt x="174" y="424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2" name="Стрелка: шеврон 14">
            <a:extLst>
              <a:ext uri="{FF2B5EF4-FFF2-40B4-BE49-F238E27FC236}">
                <a16:creationId xmlns:a16="http://schemas.microsoft.com/office/drawing/2014/main" xmlns="" id="{EEE07FF5-FDDC-47FD-AD56-4550D5A61AB2}"/>
              </a:ext>
            </a:extLst>
          </p:cNvPr>
          <p:cNvSpPr/>
          <p:nvPr/>
        </p:nvSpPr>
        <p:spPr>
          <a:xfrm>
            <a:off x="0" y="6400800"/>
            <a:ext cx="3866682" cy="457200"/>
          </a:xfrm>
          <a:prstGeom prst="chevron">
            <a:avLst>
              <a:gd name="adj" fmla="val 41371"/>
            </a:avLst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chemeClr val="tx1"/>
                </a:solidFill>
              </a:rPr>
              <a:t>МБДОУ «Детский сад №43»</a:t>
            </a: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55" name="Google Shape;384;p40"/>
          <p:cNvSpPr/>
          <p:nvPr/>
        </p:nvSpPr>
        <p:spPr>
          <a:xfrm>
            <a:off x="10440309" y="969813"/>
            <a:ext cx="690879" cy="575431"/>
          </a:xfrm>
          <a:custGeom>
            <a:avLst/>
            <a:gdLst/>
            <a:ahLst/>
            <a:cxnLst/>
            <a:rect l="l" t="t" r="r" b="b"/>
            <a:pathLst>
              <a:path w="18251" h="15452" extrusionOk="0">
                <a:moveTo>
                  <a:pt x="10634" y="2409"/>
                </a:moveTo>
                <a:lnTo>
                  <a:pt x="9953" y="2433"/>
                </a:lnTo>
                <a:lnTo>
                  <a:pt x="9296" y="2458"/>
                </a:lnTo>
                <a:lnTo>
                  <a:pt x="7592" y="2531"/>
                </a:lnTo>
                <a:lnTo>
                  <a:pt x="7228" y="2531"/>
                </a:lnTo>
                <a:lnTo>
                  <a:pt x="6814" y="2555"/>
                </a:lnTo>
                <a:lnTo>
                  <a:pt x="6619" y="2555"/>
                </a:lnTo>
                <a:lnTo>
                  <a:pt x="6425" y="2579"/>
                </a:lnTo>
                <a:lnTo>
                  <a:pt x="6230" y="2652"/>
                </a:lnTo>
                <a:lnTo>
                  <a:pt x="6060" y="2725"/>
                </a:lnTo>
                <a:lnTo>
                  <a:pt x="6035" y="2750"/>
                </a:lnTo>
                <a:lnTo>
                  <a:pt x="6011" y="2798"/>
                </a:lnTo>
                <a:lnTo>
                  <a:pt x="6035" y="2847"/>
                </a:lnTo>
                <a:lnTo>
                  <a:pt x="6060" y="2896"/>
                </a:lnTo>
                <a:lnTo>
                  <a:pt x="6230" y="2969"/>
                </a:lnTo>
                <a:lnTo>
                  <a:pt x="6376" y="3017"/>
                </a:lnTo>
                <a:lnTo>
                  <a:pt x="6546" y="3042"/>
                </a:lnTo>
                <a:lnTo>
                  <a:pt x="7422" y="3042"/>
                </a:lnTo>
                <a:lnTo>
                  <a:pt x="8298" y="3017"/>
                </a:lnTo>
                <a:lnTo>
                  <a:pt x="9150" y="2993"/>
                </a:lnTo>
                <a:lnTo>
                  <a:pt x="9831" y="2969"/>
                </a:lnTo>
                <a:lnTo>
                  <a:pt x="10488" y="2944"/>
                </a:lnTo>
                <a:lnTo>
                  <a:pt x="10829" y="2969"/>
                </a:lnTo>
                <a:lnTo>
                  <a:pt x="11169" y="2993"/>
                </a:lnTo>
                <a:lnTo>
                  <a:pt x="11486" y="3042"/>
                </a:lnTo>
                <a:lnTo>
                  <a:pt x="11826" y="3090"/>
                </a:lnTo>
                <a:lnTo>
                  <a:pt x="11948" y="3115"/>
                </a:lnTo>
                <a:lnTo>
                  <a:pt x="12045" y="3066"/>
                </a:lnTo>
                <a:lnTo>
                  <a:pt x="12094" y="2993"/>
                </a:lnTo>
                <a:lnTo>
                  <a:pt x="12143" y="2896"/>
                </a:lnTo>
                <a:lnTo>
                  <a:pt x="12167" y="2798"/>
                </a:lnTo>
                <a:lnTo>
                  <a:pt x="12143" y="2701"/>
                </a:lnTo>
                <a:lnTo>
                  <a:pt x="12070" y="2628"/>
                </a:lnTo>
                <a:lnTo>
                  <a:pt x="11972" y="2579"/>
                </a:lnTo>
                <a:lnTo>
                  <a:pt x="11632" y="2506"/>
                </a:lnTo>
                <a:lnTo>
                  <a:pt x="11315" y="2458"/>
                </a:lnTo>
                <a:lnTo>
                  <a:pt x="10975" y="2433"/>
                </a:lnTo>
                <a:lnTo>
                  <a:pt x="10634" y="2409"/>
                </a:lnTo>
                <a:close/>
                <a:moveTo>
                  <a:pt x="15573" y="4940"/>
                </a:moveTo>
                <a:lnTo>
                  <a:pt x="15890" y="4964"/>
                </a:lnTo>
                <a:lnTo>
                  <a:pt x="16157" y="5037"/>
                </a:lnTo>
                <a:lnTo>
                  <a:pt x="16182" y="5280"/>
                </a:lnTo>
                <a:lnTo>
                  <a:pt x="16206" y="5524"/>
                </a:lnTo>
                <a:lnTo>
                  <a:pt x="16206" y="5889"/>
                </a:lnTo>
                <a:lnTo>
                  <a:pt x="16206" y="6254"/>
                </a:lnTo>
                <a:lnTo>
                  <a:pt x="15671" y="6278"/>
                </a:lnTo>
                <a:lnTo>
                  <a:pt x="15136" y="6302"/>
                </a:lnTo>
                <a:lnTo>
                  <a:pt x="14625" y="6327"/>
                </a:lnTo>
                <a:lnTo>
                  <a:pt x="14333" y="6375"/>
                </a:lnTo>
                <a:lnTo>
                  <a:pt x="14308" y="6302"/>
                </a:lnTo>
                <a:lnTo>
                  <a:pt x="14284" y="6132"/>
                </a:lnTo>
                <a:lnTo>
                  <a:pt x="14284" y="5962"/>
                </a:lnTo>
                <a:lnTo>
                  <a:pt x="14284" y="5645"/>
                </a:lnTo>
                <a:lnTo>
                  <a:pt x="14284" y="5329"/>
                </a:lnTo>
                <a:lnTo>
                  <a:pt x="14284" y="5159"/>
                </a:lnTo>
                <a:lnTo>
                  <a:pt x="14235" y="5013"/>
                </a:lnTo>
                <a:lnTo>
                  <a:pt x="14430" y="5013"/>
                </a:lnTo>
                <a:lnTo>
                  <a:pt x="14625" y="4988"/>
                </a:lnTo>
                <a:lnTo>
                  <a:pt x="14990" y="4940"/>
                </a:lnTo>
                <a:close/>
                <a:moveTo>
                  <a:pt x="15330" y="4404"/>
                </a:moveTo>
                <a:lnTo>
                  <a:pt x="14990" y="4429"/>
                </a:lnTo>
                <a:lnTo>
                  <a:pt x="14771" y="4453"/>
                </a:lnTo>
                <a:lnTo>
                  <a:pt x="14503" y="4502"/>
                </a:lnTo>
                <a:lnTo>
                  <a:pt x="14357" y="4526"/>
                </a:lnTo>
                <a:lnTo>
                  <a:pt x="14260" y="4575"/>
                </a:lnTo>
                <a:lnTo>
                  <a:pt x="14138" y="4648"/>
                </a:lnTo>
                <a:lnTo>
                  <a:pt x="14065" y="4721"/>
                </a:lnTo>
                <a:lnTo>
                  <a:pt x="14016" y="4721"/>
                </a:lnTo>
                <a:lnTo>
                  <a:pt x="13968" y="4745"/>
                </a:lnTo>
                <a:lnTo>
                  <a:pt x="13943" y="4745"/>
                </a:lnTo>
                <a:lnTo>
                  <a:pt x="13919" y="4769"/>
                </a:lnTo>
                <a:lnTo>
                  <a:pt x="13895" y="4794"/>
                </a:lnTo>
                <a:lnTo>
                  <a:pt x="13870" y="4891"/>
                </a:lnTo>
                <a:lnTo>
                  <a:pt x="13773" y="5670"/>
                </a:lnTo>
                <a:lnTo>
                  <a:pt x="13773" y="6059"/>
                </a:lnTo>
                <a:lnTo>
                  <a:pt x="13773" y="6254"/>
                </a:lnTo>
                <a:lnTo>
                  <a:pt x="13822" y="6424"/>
                </a:lnTo>
                <a:lnTo>
                  <a:pt x="13846" y="6497"/>
                </a:lnTo>
                <a:lnTo>
                  <a:pt x="13870" y="6570"/>
                </a:lnTo>
                <a:lnTo>
                  <a:pt x="13870" y="6594"/>
                </a:lnTo>
                <a:lnTo>
                  <a:pt x="13895" y="6667"/>
                </a:lnTo>
                <a:lnTo>
                  <a:pt x="13919" y="6740"/>
                </a:lnTo>
                <a:lnTo>
                  <a:pt x="13968" y="6789"/>
                </a:lnTo>
                <a:lnTo>
                  <a:pt x="14041" y="6813"/>
                </a:lnTo>
                <a:lnTo>
                  <a:pt x="14308" y="6886"/>
                </a:lnTo>
                <a:lnTo>
                  <a:pt x="14600" y="6911"/>
                </a:lnTo>
                <a:lnTo>
                  <a:pt x="14892" y="6935"/>
                </a:lnTo>
                <a:lnTo>
                  <a:pt x="15184" y="6911"/>
                </a:lnTo>
                <a:lnTo>
                  <a:pt x="15768" y="6886"/>
                </a:lnTo>
                <a:lnTo>
                  <a:pt x="16328" y="6813"/>
                </a:lnTo>
                <a:lnTo>
                  <a:pt x="16449" y="6789"/>
                </a:lnTo>
                <a:lnTo>
                  <a:pt x="16522" y="6740"/>
                </a:lnTo>
                <a:lnTo>
                  <a:pt x="16595" y="6643"/>
                </a:lnTo>
                <a:lnTo>
                  <a:pt x="16620" y="6546"/>
                </a:lnTo>
                <a:lnTo>
                  <a:pt x="16668" y="6448"/>
                </a:lnTo>
                <a:lnTo>
                  <a:pt x="16717" y="6327"/>
                </a:lnTo>
                <a:lnTo>
                  <a:pt x="16741" y="6108"/>
                </a:lnTo>
                <a:lnTo>
                  <a:pt x="16741" y="5864"/>
                </a:lnTo>
                <a:lnTo>
                  <a:pt x="16717" y="5645"/>
                </a:lnTo>
                <a:lnTo>
                  <a:pt x="16644" y="5159"/>
                </a:lnTo>
                <a:lnTo>
                  <a:pt x="16620" y="4940"/>
                </a:lnTo>
                <a:lnTo>
                  <a:pt x="16547" y="4721"/>
                </a:lnTo>
                <a:lnTo>
                  <a:pt x="16498" y="4648"/>
                </a:lnTo>
                <a:lnTo>
                  <a:pt x="16449" y="4599"/>
                </a:lnTo>
                <a:lnTo>
                  <a:pt x="16401" y="4575"/>
                </a:lnTo>
                <a:lnTo>
                  <a:pt x="16328" y="4526"/>
                </a:lnTo>
                <a:lnTo>
                  <a:pt x="16011" y="4453"/>
                </a:lnTo>
                <a:lnTo>
                  <a:pt x="15671" y="4404"/>
                </a:lnTo>
                <a:close/>
                <a:moveTo>
                  <a:pt x="8176" y="7105"/>
                </a:moveTo>
                <a:lnTo>
                  <a:pt x="7884" y="7373"/>
                </a:lnTo>
                <a:lnTo>
                  <a:pt x="7641" y="7689"/>
                </a:lnTo>
                <a:lnTo>
                  <a:pt x="7422" y="8006"/>
                </a:lnTo>
                <a:lnTo>
                  <a:pt x="7252" y="8346"/>
                </a:lnTo>
                <a:lnTo>
                  <a:pt x="7082" y="8687"/>
                </a:lnTo>
                <a:lnTo>
                  <a:pt x="6936" y="9052"/>
                </a:lnTo>
                <a:lnTo>
                  <a:pt x="6790" y="9417"/>
                </a:lnTo>
                <a:lnTo>
                  <a:pt x="6692" y="9782"/>
                </a:lnTo>
                <a:lnTo>
                  <a:pt x="6619" y="9441"/>
                </a:lnTo>
                <a:lnTo>
                  <a:pt x="6619" y="9198"/>
                </a:lnTo>
                <a:lnTo>
                  <a:pt x="6619" y="8955"/>
                </a:lnTo>
                <a:lnTo>
                  <a:pt x="6644" y="8711"/>
                </a:lnTo>
                <a:lnTo>
                  <a:pt x="6717" y="8492"/>
                </a:lnTo>
                <a:lnTo>
                  <a:pt x="6790" y="8273"/>
                </a:lnTo>
                <a:lnTo>
                  <a:pt x="6911" y="8079"/>
                </a:lnTo>
                <a:lnTo>
                  <a:pt x="7033" y="7884"/>
                </a:lnTo>
                <a:lnTo>
                  <a:pt x="7203" y="7689"/>
                </a:lnTo>
                <a:lnTo>
                  <a:pt x="7398" y="7519"/>
                </a:lnTo>
                <a:lnTo>
                  <a:pt x="7617" y="7373"/>
                </a:lnTo>
                <a:lnTo>
                  <a:pt x="7836" y="7251"/>
                </a:lnTo>
                <a:lnTo>
                  <a:pt x="8079" y="7154"/>
                </a:lnTo>
                <a:lnTo>
                  <a:pt x="8176" y="7105"/>
                </a:lnTo>
                <a:close/>
                <a:moveTo>
                  <a:pt x="11413" y="8444"/>
                </a:moveTo>
                <a:lnTo>
                  <a:pt x="11486" y="8711"/>
                </a:lnTo>
                <a:lnTo>
                  <a:pt x="11534" y="8979"/>
                </a:lnTo>
                <a:lnTo>
                  <a:pt x="11559" y="9246"/>
                </a:lnTo>
                <a:lnTo>
                  <a:pt x="11534" y="9514"/>
                </a:lnTo>
                <a:lnTo>
                  <a:pt x="11461" y="9782"/>
                </a:lnTo>
                <a:lnTo>
                  <a:pt x="11388" y="10049"/>
                </a:lnTo>
                <a:lnTo>
                  <a:pt x="11267" y="10293"/>
                </a:lnTo>
                <a:lnTo>
                  <a:pt x="11145" y="10512"/>
                </a:lnTo>
                <a:lnTo>
                  <a:pt x="10975" y="10731"/>
                </a:lnTo>
                <a:lnTo>
                  <a:pt x="11048" y="10536"/>
                </a:lnTo>
                <a:lnTo>
                  <a:pt x="11121" y="10317"/>
                </a:lnTo>
                <a:lnTo>
                  <a:pt x="11194" y="9928"/>
                </a:lnTo>
                <a:lnTo>
                  <a:pt x="11267" y="9563"/>
                </a:lnTo>
                <a:lnTo>
                  <a:pt x="11315" y="9198"/>
                </a:lnTo>
                <a:lnTo>
                  <a:pt x="11413" y="8444"/>
                </a:lnTo>
                <a:close/>
                <a:moveTo>
                  <a:pt x="9028" y="6911"/>
                </a:moveTo>
                <a:lnTo>
                  <a:pt x="8858" y="7057"/>
                </a:lnTo>
                <a:lnTo>
                  <a:pt x="8736" y="7251"/>
                </a:lnTo>
                <a:lnTo>
                  <a:pt x="8614" y="7446"/>
                </a:lnTo>
                <a:lnTo>
                  <a:pt x="8517" y="7641"/>
                </a:lnTo>
                <a:lnTo>
                  <a:pt x="8322" y="8079"/>
                </a:lnTo>
                <a:lnTo>
                  <a:pt x="8176" y="8492"/>
                </a:lnTo>
                <a:lnTo>
                  <a:pt x="8030" y="8833"/>
                </a:lnTo>
                <a:lnTo>
                  <a:pt x="7884" y="9173"/>
                </a:lnTo>
                <a:lnTo>
                  <a:pt x="7568" y="9830"/>
                </a:lnTo>
                <a:lnTo>
                  <a:pt x="7325" y="10317"/>
                </a:lnTo>
                <a:lnTo>
                  <a:pt x="7228" y="10560"/>
                </a:lnTo>
                <a:lnTo>
                  <a:pt x="7130" y="10804"/>
                </a:lnTo>
                <a:lnTo>
                  <a:pt x="6936" y="10463"/>
                </a:lnTo>
                <a:lnTo>
                  <a:pt x="6790" y="10122"/>
                </a:lnTo>
                <a:lnTo>
                  <a:pt x="6838" y="10122"/>
                </a:lnTo>
                <a:lnTo>
                  <a:pt x="6911" y="10098"/>
                </a:lnTo>
                <a:lnTo>
                  <a:pt x="6960" y="10074"/>
                </a:lnTo>
                <a:lnTo>
                  <a:pt x="7009" y="10001"/>
                </a:lnTo>
                <a:lnTo>
                  <a:pt x="7276" y="9222"/>
                </a:lnTo>
                <a:lnTo>
                  <a:pt x="7592" y="8468"/>
                </a:lnTo>
                <a:lnTo>
                  <a:pt x="7787" y="8103"/>
                </a:lnTo>
                <a:lnTo>
                  <a:pt x="7982" y="7738"/>
                </a:lnTo>
                <a:lnTo>
                  <a:pt x="8176" y="7373"/>
                </a:lnTo>
                <a:lnTo>
                  <a:pt x="8395" y="7032"/>
                </a:lnTo>
                <a:lnTo>
                  <a:pt x="8493" y="7032"/>
                </a:lnTo>
                <a:lnTo>
                  <a:pt x="8760" y="6959"/>
                </a:lnTo>
                <a:lnTo>
                  <a:pt x="9028" y="6911"/>
                </a:lnTo>
                <a:close/>
                <a:moveTo>
                  <a:pt x="9344" y="6911"/>
                </a:moveTo>
                <a:lnTo>
                  <a:pt x="9588" y="6935"/>
                </a:lnTo>
                <a:lnTo>
                  <a:pt x="9831" y="7008"/>
                </a:lnTo>
                <a:lnTo>
                  <a:pt x="9734" y="7105"/>
                </a:lnTo>
                <a:lnTo>
                  <a:pt x="9636" y="7203"/>
                </a:lnTo>
                <a:lnTo>
                  <a:pt x="9490" y="7446"/>
                </a:lnTo>
                <a:lnTo>
                  <a:pt x="9393" y="7714"/>
                </a:lnTo>
                <a:lnTo>
                  <a:pt x="9271" y="7957"/>
                </a:lnTo>
                <a:lnTo>
                  <a:pt x="9150" y="8298"/>
                </a:lnTo>
                <a:lnTo>
                  <a:pt x="9004" y="8663"/>
                </a:lnTo>
                <a:lnTo>
                  <a:pt x="8760" y="9368"/>
                </a:lnTo>
                <a:lnTo>
                  <a:pt x="8468" y="10122"/>
                </a:lnTo>
                <a:lnTo>
                  <a:pt x="8128" y="10852"/>
                </a:lnTo>
                <a:lnTo>
                  <a:pt x="7957" y="11290"/>
                </a:lnTo>
                <a:lnTo>
                  <a:pt x="7909" y="11388"/>
                </a:lnTo>
                <a:lnTo>
                  <a:pt x="7884" y="11485"/>
                </a:lnTo>
                <a:lnTo>
                  <a:pt x="7884" y="11558"/>
                </a:lnTo>
                <a:lnTo>
                  <a:pt x="7665" y="11388"/>
                </a:lnTo>
                <a:lnTo>
                  <a:pt x="7446" y="11193"/>
                </a:lnTo>
                <a:lnTo>
                  <a:pt x="7568" y="10901"/>
                </a:lnTo>
                <a:lnTo>
                  <a:pt x="7690" y="10609"/>
                </a:lnTo>
                <a:lnTo>
                  <a:pt x="7811" y="10317"/>
                </a:lnTo>
                <a:lnTo>
                  <a:pt x="7933" y="10049"/>
                </a:lnTo>
                <a:lnTo>
                  <a:pt x="8201" y="9514"/>
                </a:lnTo>
                <a:lnTo>
                  <a:pt x="8444" y="8979"/>
                </a:lnTo>
                <a:lnTo>
                  <a:pt x="8882" y="7933"/>
                </a:lnTo>
                <a:lnTo>
                  <a:pt x="9101" y="7422"/>
                </a:lnTo>
                <a:lnTo>
                  <a:pt x="9344" y="6911"/>
                </a:lnTo>
                <a:close/>
                <a:moveTo>
                  <a:pt x="10610" y="7397"/>
                </a:moveTo>
                <a:lnTo>
                  <a:pt x="10829" y="7592"/>
                </a:lnTo>
                <a:lnTo>
                  <a:pt x="11023" y="7811"/>
                </a:lnTo>
                <a:lnTo>
                  <a:pt x="11194" y="8054"/>
                </a:lnTo>
                <a:lnTo>
                  <a:pt x="11340" y="8322"/>
                </a:lnTo>
                <a:lnTo>
                  <a:pt x="11340" y="8346"/>
                </a:lnTo>
                <a:lnTo>
                  <a:pt x="11169" y="8663"/>
                </a:lnTo>
                <a:lnTo>
                  <a:pt x="11023" y="8979"/>
                </a:lnTo>
                <a:lnTo>
                  <a:pt x="10926" y="9295"/>
                </a:lnTo>
                <a:lnTo>
                  <a:pt x="10829" y="9660"/>
                </a:lnTo>
                <a:lnTo>
                  <a:pt x="10731" y="10025"/>
                </a:lnTo>
                <a:lnTo>
                  <a:pt x="10610" y="10414"/>
                </a:lnTo>
                <a:lnTo>
                  <a:pt x="10512" y="10706"/>
                </a:lnTo>
                <a:lnTo>
                  <a:pt x="10464" y="10852"/>
                </a:lnTo>
                <a:lnTo>
                  <a:pt x="10439" y="11023"/>
                </a:lnTo>
                <a:lnTo>
                  <a:pt x="10464" y="11071"/>
                </a:lnTo>
                <a:lnTo>
                  <a:pt x="10488" y="11120"/>
                </a:lnTo>
                <a:lnTo>
                  <a:pt x="10537" y="11144"/>
                </a:lnTo>
                <a:lnTo>
                  <a:pt x="10585" y="11169"/>
                </a:lnTo>
                <a:lnTo>
                  <a:pt x="10318" y="11388"/>
                </a:lnTo>
                <a:lnTo>
                  <a:pt x="10001" y="11558"/>
                </a:lnTo>
                <a:lnTo>
                  <a:pt x="10001" y="11558"/>
                </a:lnTo>
                <a:lnTo>
                  <a:pt x="10099" y="11412"/>
                </a:lnTo>
                <a:lnTo>
                  <a:pt x="10147" y="11242"/>
                </a:lnTo>
                <a:lnTo>
                  <a:pt x="10269" y="10877"/>
                </a:lnTo>
                <a:lnTo>
                  <a:pt x="10439" y="10244"/>
                </a:lnTo>
                <a:lnTo>
                  <a:pt x="10585" y="9684"/>
                </a:lnTo>
                <a:lnTo>
                  <a:pt x="10780" y="9100"/>
                </a:lnTo>
                <a:lnTo>
                  <a:pt x="10950" y="8517"/>
                </a:lnTo>
                <a:lnTo>
                  <a:pt x="11072" y="7957"/>
                </a:lnTo>
                <a:lnTo>
                  <a:pt x="11072" y="7908"/>
                </a:lnTo>
                <a:lnTo>
                  <a:pt x="11048" y="7884"/>
                </a:lnTo>
                <a:lnTo>
                  <a:pt x="10975" y="7884"/>
                </a:lnTo>
                <a:lnTo>
                  <a:pt x="10804" y="8079"/>
                </a:lnTo>
                <a:lnTo>
                  <a:pt x="10683" y="8273"/>
                </a:lnTo>
                <a:lnTo>
                  <a:pt x="10561" y="8517"/>
                </a:lnTo>
                <a:lnTo>
                  <a:pt x="10464" y="8760"/>
                </a:lnTo>
                <a:lnTo>
                  <a:pt x="10318" y="9246"/>
                </a:lnTo>
                <a:lnTo>
                  <a:pt x="10196" y="9733"/>
                </a:lnTo>
                <a:lnTo>
                  <a:pt x="10050" y="10293"/>
                </a:lnTo>
                <a:lnTo>
                  <a:pt x="9880" y="10828"/>
                </a:lnTo>
                <a:lnTo>
                  <a:pt x="9782" y="11071"/>
                </a:lnTo>
                <a:lnTo>
                  <a:pt x="9685" y="11290"/>
                </a:lnTo>
                <a:lnTo>
                  <a:pt x="9563" y="11534"/>
                </a:lnTo>
                <a:lnTo>
                  <a:pt x="9539" y="11655"/>
                </a:lnTo>
                <a:lnTo>
                  <a:pt x="9515" y="11777"/>
                </a:lnTo>
                <a:lnTo>
                  <a:pt x="9320" y="11826"/>
                </a:lnTo>
                <a:lnTo>
                  <a:pt x="9247" y="11850"/>
                </a:lnTo>
                <a:lnTo>
                  <a:pt x="9247" y="11850"/>
                </a:lnTo>
                <a:lnTo>
                  <a:pt x="9369" y="11607"/>
                </a:lnTo>
                <a:lnTo>
                  <a:pt x="9442" y="11339"/>
                </a:lnTo>
                <a:lnTo>
                  <a:pt x="9612" y="10828"/>
                </a:lnTo>
                <a:lnTo>
                  <a:pt x="9758" y="10317"/>
                </a:lnTo>
                <a:lnTo>
                  <a:pt x="9928" y="9806"/>
                </a:lnTo>
                <a:lnTo>
                  <a:pt x="10147" y="9222"/>
                </a:lnTo>
                <a:lnTo>
                  <a:pt x="10342" y="8614"/>
                </a:lnTo>
                <a:lnTo>
                  <a:pt x="10488" y="8006"/>
                </a:lnTo>
                <a:lnTo>
                  <a:pt x="10561" y="7714"/>
                </a:lnTo>
                <a:lnTo>
                  <a:pt x="10610" y="7397"/>
                </a:lnTo>
                <a:close/>
                <a:moveTo>
                  <a:pt x="10026" y="7081"/>
                </a:moveTo>
                <a:lnTo>
                  <a:pt x="10220" y="7154"/>
                </a:lnTo>
                <a:lnTo>
                  <a:pt x="10391" y="7251"/>
                </a:lnTo>
                <a:lnTo>
                  <a:pt x="10172" y="7811"/>
                </a:lnTo>
                <a:lnTo>
                  <a:pt x="10001" y="8395"/>
                </a:lnTo>
                <a:lnTo>
                  <a:pt x="9831" y="8955"/>
                </a:lnTo>
                <a:lnTo>
                  <a:pt x="9636" y="9538"/>
                </a:lnTo>
                <a:lnTo>
                  <a:pt x="9442" y="10098"/>
                </a:lnTo>
                <a:lnTo>
                  <a:pt x="9271" y="10706"/>
                </a:lnTo>
                <a:lnTo>
                  <a:pt x="9101" y="11266"/>
                </a:lnTo>
                <a:lnTo>
                  <a:pt x="8979" y="11558"/>
                </a:lnTo>
                <a:lnTo>
                  <a:pt x="8833" y="11826"/>
                </a:lnTo>
                <a:lnTo>
                  <a:pt x="8833" y="11874"/>
                </a:lnTo>
                <a:lnTo>
                  <a:pt x="8639" y="11850"/>
                </a:lnTo>
                <a:lnTo>
                  <a:pt x="8468" y="11826"/>
                </a:lnTo>
                <a:lnTo>
                  <a:pt x="8298" y="11753"/>
                </a:lnTo>
                <a:lnTo>
                  <a:pt x="8128" y="11680"/>
                </a:lnTo>
                <a:lnTo>
                  <a:pt x="8176" y="11655"/>
                </a:lnTo>
                <a:lnTo>
                  <a:pt x="8201" y="11631"/>
                </a:lnTo>
                <a:lnTo>
                  <a:pt x="8274" y="11534"/>
                </a:lnTo>
                <a:lnTo>
                  <a:pt x="8371" y="11315"/>
                </a:lnTo>
                <a:lnTo>
                  <a:pt x="8639" y="10633"/>
                </a:lnTo>
                <a:lnTo>
                  <a:pt x="8931" y="9976"/>
                </a:lnTo>
                <a:lnTo>
                  <a:pt x="9077" y="9636"/>
                </a:lnTo>
                <a:lnTo>
                  <a:pt x="9223" y="9271"/>
                </a:lnTo>
                <a:lnTo>
                  <a:pt x="9466" y="8565"/>
                </a:lnTo>
                <a:lnTo>
                  <a:pt x="9612" y="8200"/>
                </a:lnTo>
                <a:lnTo>
                  <a:pt x="9758" y="7835"/>
                </a:lnTo>
                <a:lnTo>
                  <a:pt x="9928" y="7446"/>
                </a:lnTo>
                <a:lnTo>
                  <a:pt x="9977" y="7276"/>
                </a:lnTo>
                <a:lnTo>
                  <a:pt x="10026" y="7081"/>
                </a:lnTo>
                <a:close/>
                <a:moveTo>
                  <a:pt x="9247" y="6424"/>
                </a:moveTo>
                <a:lnTo>
                  <a:pt x="8931" y="6448"/>
                </a:lnTo>
                <a:lnTo>
                  <a:pt x="8639" y="6497"/>
                </a:lnTo>
                <a:lnTo>
                  <a:pt x="8347" y="6570"/>
                </a:lnTo>
                <a:lnTo>
                  <a:pt x="8274" y="6619"/>
                </a:lnTo>
                <a:lnTo>
                  <a:pt x="8225" y="6667"/>
                </a:lnTo>
                <a:lnTo>
                  <a:pt x="7836" y="6789"/>
                </a:lnTo>
                <a:lnTo>
                  <a:pt x="7568" y="6911"/>
                </a:lnTo>
                <a:lnTo>
                  <a:pt x="7325" y="7032"/>
                </a:lnTo>
                <a:lnTo>
                  <a:pt x="7106" y="7203"/>
                </a:lnTo>
                <a:lnTo>
                  <a:pt x="6887" y="7373"/>
                </a:lnTo>
                <a:lnTo>
                  <a:pt x="6668" y="7592"/>
                </a:lnTo>
                <a:lnTo>
                  <a:pt x="6498" y="7835"/>
                </a:lnTo>
                <a:lnTo>
                  <a:pt x="6352" y="8103"/>
                </a:lnTo>
                <a:lnTo>
                  <a:pt x="6254" y="8371"/>
                </a:lnTo>
                <a:lnTo>
                  <a:pt x="6206" y="8663"/>
                </a:lnTo>
                <a:lnTo>
                  <a:pt x="6157" y="8979"/>
                </a:lnTo>
                <a:lnTo>
                  <a:pt x="6157" y="9271"/>
                </a:lnTo>
                <a:lnTo>
                  <a:pt x="6181" y="9563"/>
                </a:lnTo>
                <a:lnTo>
                  <a:pt x="6206" y="9855"/>
                </a:lnTo>
                <a:lnTo>
                  <a:pt x="6279" y="10122"/>
                </a:lnTo>
                <a:lnTo>
                  <a:pt x="6376" y="10390"/>
                </a:lnTo>
                <a:lnTo>
                  <a:pt x="6498" y="10658"/>
                </a:lnTo>
                <a:lnTo>
                  <a:pt x="6644" y="10925"/>
                </a:lnTo>
                <a:lnTo>
                  <a:pt x="6814" y="11169"/>
                </a:lnTo>
                <a:lnTo>
                  <a:pt x="6984" y="11388"/>
                </a:lnTo>
                <a:lnTo>
                  <a:pt x="7203" y="11607"/>
                </a:lnTo>
                <a:lnTo>
                  <a:pt x="7422" y="11801"/>
                </a:lnTo>
                <a:lnTo>
                  <a:pt x="7665" y="11947"/>
                </a:lnTo>
                <a:lnTo>
                  <a:pt x="7909" y="12093"/>
                </a:lnTo>
                <a:lnTo>
                  <a:pt x="8176" y="12191"/>
                </a:lnTo>
                <a:lnTo>
                  <a:pt x="8444" y="12288"/>
                </a:lnTo>
                <a:lnTo>
                  <a:pt x="8736" y="12312"/>
                </a:lnTo>
                <a:lnTo>
                  <a:pt x="9028" y="12312"/>
                </a:lnTo>
                <a:lnTo>
                  <a:pt x="9320" y="12288"/>
                </a:lnTo>
                <a:lnTo>
                  <a:pt x="9588" y="12215"/>
                </a:lnTo>
                <a:lnTo>
                  <a:pt x="9880" y="12118"/>
                </a:lnTo>
                <a:lnTo>
                  <a:pt x="10147" y="11996"/>
                </a:lnTo>
                <a:lnTo>
                  <a:pt x="10415" y="11826"/>
                </a:lnTo>
                <a:lnTo>
                  <a:pt x="10658" y="11655"/>
                </a:lnTo>
                <a:lnTo>
                  <a:pt x="10877" y="11461"/>
                </a:lnTo>
                <a:lnTo>
                  <a:pt x="11096" y="11242"/>
                </a:lnTo>
                <a:lnTo>
                  <a:pt x="11291" y="10998"/>
                </a:lnTo>
                <a:lnTo>
                  <a:pt x="11461" y="10731"/>
                </a:lnTo>
                <a:lnTo>
                  <a:pt x="11632" y="10463"/>
                </a:lnTo>
                <a:lnTo>
                  <a:pt x="11753" y="10195"/>
                </a:lnTo>
                <a:lnTo>
                  <a:pt x="11851" y="9903"/>
                </a:lnTo>
                <a:lnTo>
                  <a:pt x="11924" y="9611"/>
                </a:lnTo>
                <a:lnTo>
                  <a:pt x="11948" y="9319"/>
                </a:lnTo>
                <a:lnTo>
                  <a:pt x="11972" y="9027"/>
                </a:lnTo>
                <a:lnTo>
                  <a:pt x="11924" y="8736"/>
                </a:lnTo>
                <a:lnTo>
                  <a:pt x="11851" y="8444"/>
                </a:lnTo>
                <a:lnTo>
                  <a:pt x="11753" y="8176"/>
                </a:lnTo>
                <a:lnTo>
                  <a:pt x="11632" y="7908"/>
                </a:lnTo>
                <a:lnTo>
                  <a:pt x="11461" y="7665"/>
                </a:lnTo>
                <a:lnTo>
                  <a:pt x="11291" y="7422"/>
                </a:lnTo>
                <a:lnTo>
                  <a:pt x="11096" y="7203"/>
                </a:lnTo>
                <a:lnTo>
                  <a:pt x="10853" y="7032"/>
                </a:lnTo>
                <a:lnTo>
                  <a:pt x="10610" y="6862"/>
                </a:lnTo>
                <a:lnTo>
                  <a:pt x="10366" y="6716"/>
                </a:lnTo>
                <a:lnTo>
                  <a:pt x="10099" y="6594"/>
                </a:lnTo>
                <a:lnTo>
                  <a:pt x="9807" y="6521"/>
                </a:lnTo>
                <a:lnTo>
                  <a:pt x="9515" y="6448"/>
                </a:lnTo>
                <a:lnTo>
                  <a:pt x="9247" y="6424"/>
                </a:lnTo>
                <a:close/>
                <a:moveTo>
                  <a:pt x="9417" y="5694"/>
                </a:moveTo>
                <a:lnTo>
                  <a:pt x="9782" y="5718"/>
                </a:lnTo>
                <a:lnTo>
                  <a:pt x="10172" y="5791"/>
                </a:lnTo>
                <a:lnTo>
                  <a:pt x="10537" y="5889"/>
                </a:lnTo>
                <a:lnTo>
                  <a:pt x="10877" y="6010"/>
                </a:lnTo>
                <a:lnTo>
                  <a:pt x="11218" y="6181"/>
                </a:lnTo>
                <a:lnTo>
                  <a:pt x="11534" y="6351"/>
                </a:lnTo>
                <a:lnTo>
                  <a:pt x="11729" y="6497"/>
                </a:lnTo>
                <a:lnTo>
                  <a:pt x="11899" y="6619"/>
                </a:lnTo>
                <a:lnTo>
                  <a:pt x="12045" y="6789"/>
                </a:lnTo>
                <a:lnTo>
                  <a:pt x="12191" y="6959"/>
                </a:lnTo>
                <a:lnTo>
                  <a:pt x="12313" y="7130"/>
                </a:lnTo>
                <a:lnTo>
                  <a:pt x="12435" y="7324"/>
                </a:lnTo>
                <a:lnTo>
                  <a:pt x="12532" y="7519"/>
                </a:lnTo>
                <a:lnTo>
                  <a:pt x="12629" y="7714"/>
                </a:lnTo>
                <a:lnTo>
                  <a:pt x="12775" y="8152"/>
                </a:lnTo>
                <a:lnTo>
                  <a:pt x="12873" y="8590"/>
                </a:lnTo>
                <a:lnTo>
                  <a:pt x="12921" y="9027"/>
                </a:lnTo>
                <a:lnTo>
                  <a:pt x="12921" y="9465"/>
                </a:lnTo>
                <a:lnTo>
                  <a:pt x="12897" y="9806"/>
                </a:lnTo>
                <a:lnTo>
                  <a:pt x="12848" y="10147"/>
                </a:lnTo>
                <a:lnTo>
                  <a:pt x="12751" y="10463"/>
                </a:lnTo>
                <a:lnTo>
                  <a:pt x="12654" y="10779"/>
                </a:lnTo>
                <a:lnTo>
                  <a:pt x="12508" y="11071"/>
                </a:lnTo>
                <a:lnTo>
                  <a:pt x="12362" y="11363"/>
                </a:lnTo>
                <a:lnTo>
                  <a:pt x="12167" y="11631"/>
                </a:lnTo>
                <a:lnTo>
                  <a:pt x="11972" y="11874"/>
                </a:lnTo>
                <a:lnTo>
                  <a:pt x="11753" y="12093"/>
                </a:lnTo>
                <a:lnTo>
                  <a:pt x="11510" y="12288"/>
                </a:lnTo>
                <a:lnTo>
                  <a:pt x="11242" y="12483"/>
                </a:lnTo>
                <a:lnTo>
                  <a:pt x="10975" y="12653"/>
                </a:lnTo>
                <a:lnTo>
                  <a:pt x="10683" y="12799"/>
                </a:lnTo>
                <a:lnTo>
                  <a:pt x="10366" y="12921"/>
                </a:lnTo>
                <a:lnTo>
                  <a:pt x="10050" y="13018"/>
                </a:lnTo>
                <a:lnTo>
                  <a:pt x="9709" y="13091"/>
                </a:lnTo>
                <a:lnTo>
                  <a:pt x="9369" y="13140"/>
                </a:lnTo>
                <a:lnTo>
                  <a:pt x="8736" y="13140"/>
                </a:lnTo>
                <a:lnTo>
                  <a:pt x="8420" y="13115"/>
                </a:lnTo>
                <a:lnTo>
                  <a:pt x="8128" y="13042"/>
                </a:lnTo>
                <a:lnTo>
                  <a:pt x="7836" y="12969"/>
                </a:lnTo>
                <a:lnTo>
                  <a:pt x="7568" y="12848"/>
                </a:lnTo>
                <a:lnTo>
                  <a:pt x="7276" y="12726"/>
                </a:lnTo>
                <a:lnTo>
                  <a:pt x="7033" y="12556"/>
                </a:lnTo>
                <a:lnTo>
                  <a:pt x="6790" y="12385"/>
                </a:lnTo>
                <a:lnTo>
                  <a:pt x="6546" y="12191"/>
                </a:lnTo>
                <a:lnTo>
                  <a:pt x="6352" y="11972"/>
                </a:lnTo>
                <a:lnTo>
                  <a:pt x="6157" y="11728"/>
                </a:lnTo>
                <a:lnTo>
                  <a:pt x="5962" y="11461"/>
                </a:lnTo>
                <a:lnTo>
                  <a:pt x="5816" y="11193"/>
                </a:lnTo>
                <a:lnTo>
                  <a:pt x="5670" y="10877"/>
                </a:lnTo>
                <a:lnTo>
                  <a:pt x="5597" y="10658"/>
                </a:lnTo>
                <a:lnTo>
                  <a:pt x="5524" y="10414"/>
                </a:lnTo>
                <a:lnTo>
                  <a:pt x="5476" y="10171"/>
                </a:lnTo>
                <a:lnTo>
                  <a:pt x="5427" y="9928"/>
                </a:lnTo>
                <a:lnTo>
                  <a:pt x="5403" y="9684"/>
                </a:lnTo>
                <a:lnTo>
                  <a:pt x="5403" y="9465"/>
                </a:lnTo>
                <a:lnTo>
                  <a:pt x="5403" y="9222"/>
                </a:lnTo>
                <a:lnTo>
                  <a:pt x="5427" y="8979"/>
                </a:lnTo>
                <a:lnTo>
                  <a:pt x="5451" y="8736"/>
                </a:lnTo>
                <a:lnTo>
                  <a:pt x="5500" y="8517"/>
                </a:lnTo>
                <a:lnTo>
                  <a:pt x="5573" y="8273"/>
                </a:lnTo>
                <a:lnTo>
                  <a:pt x="5646" y="8054"/>
                </a:lnTo>
                <a:lnTo>
                  <a:pt x="5743" y="7811"/>
                </a:lnTo>
                <a:lnTo>
                  <a:pt x="5865" y="7592"/>
                </a:lnTo>
                <a:lnTo>
                  <a:pt x="5987" y="7397"/>
                </a:lnTo>
                <a:lnTo>
                  <a:pt x="6133" y="7178"/>
                </a:lnTo>
                <a:lnTo>
                  <a:pt x="6376" y="6886"/>
                </a:lnTo>
                <a:lnTo>
                  <a:pt x="6644" y="6619"/>
                </a:lnTo>
                <a:lnTo>
                  <a:pt x="6911" y="6400"/>
                </a:lnTo>
                <a:lnTo>
                  <a:pt x="7228" y="6229"/>
                </a:lnTo>
                <a:lnTo>
                  <a:pt x="7544" y="6059"/>
                </a:lnTo>
                <a:lnTo>
                  <a:pt x="7884" y="5937"/>
                </a:lnTo>
                <a:lnTo>
                  <a:pt x="8225" y="5840"/>
                </a:lnTo>
                <a:lnTo>
                  <a:pt x="8590" y="5743"/>
                </a:lnTo>
                <a:lnTo>
                  <a:pt x="8687" y="5743"/>
                </a:lnTo>
                <a:lnTo>
                  <a:pt x="9052" y="5694"/>
                </a:lnTo>
                <a:close/>
                <a:moveTo>
                  <a:pt x="9150" y="5207"/>
                </a:moveTo>
                <a:lnTo>
                  <a:pt x="8760" y="5232"/>
                </a:lnTo>
                <a:lnTo>
                  <a:pt x="8420" y="5256"/>
                </a:lnTo>
                <a:lnTo>
                  <a:pt x="8055" y="5305"/>
                </a:lnTo>
                <a:lnTo>
                  <a:pt x="7714" y="5402"/>
                </a:lnTo>
                <a:lnTo>
                  <a:pt x="7373" y="5548"/>
                </a:lnTo>
                <a:lnTo>
                  <a:pt x="7057" y="5718"/>
                </a:lnTo>
                <a:lnTo>
                  <a:pt x="6741" y="5889"/>
                </a:lnTo>
                <a:lnTo>
                  <a:pt x="6473" y="6108"/>
                </a:lnTo>
                <a:lnTo>
                  <a:pt x="6181" y="6327"/>
                </a:lnTo>
                <a:lnTo>
                  <a:pt x="6035" y="6497"/>
                </a:lnTo>
                <a:lnTo>
                  <a:pt x="5865" y="6667"/>
                </a:lnTo>
                <a:lnTo>
                  <a:pt x="5597" y="7032"/>
                </a:lnTo>
                <a:lnTo>
                  <a:pt x="5354" y="7446"/>
                </a:lnTo>
                <a:lnTo>
                  <a:pt x="5159" y="7860"/>
                </a:lnTo>
                <a:lnTo>
                  <a:pt x="5013" y="8298"/>
                </a:lnTo>
                <a:lnTo>
                  <a:pt x="4916" y="8760"/>
                </a:lnTo>
                <a:lnTo>
                  <a:pt x="4867" y="9222"/>
                </a:lnTo>
                <a:lnTo>
                  <a:pt x="4867" y="9684"/>
                </a:lnTo>
                <a:lnTo>
                  <a:pt x="4916" y="10049"/>
                </a:lnTo>
                <a:lnTo>
                  <a:pt x="4965" y="10414"/>
                </a:lnTo>
                <a:lnTo>
                  <a:pt x="5062" y="10755"/>
                </a:lnTo>
                <a:lnTo>
                  <a:pt x="5184" y="11096"/>
                </a:lnTo>
                <a:lnTo>
                  <a:pt x="5330" y="11412"/>
                </a:lnTo>
                <a:lnTo>
                  <a:pt x="5500" y="11728"/>
                </a:lnTo>
                <a:lnTo>
                  <a:pt x="5695" y="12020"/>
                </a:lnTo>
                <a:lnTo>
                  <a:pt x="5914" y="12288"/>
                </a:lnTo>
                <a:lnTo>
                  <a:pt x="6157" y="12531"/>
                </a:lnTo>
                <a:lnTo>
                  <a:pt x="6425" y="12775"/>
                </a:lnTo>
                <a:lnTo>
                  <a:pt x="6717" y="12969"/>
                </a:lnTo>
                <a:lnTo>
                  <a:pt x="7009" y="13164"/>
                </a:lnTo>
                <a:lnTo>
                  <a:pt x="7325" y="13310"/>
                </a:lnTo>
                <a:lnTo>
                  <a:pt x="7665" y="13432"/>
                </a:lnTo>
                <a:lnTo>
                  <a:pt x="8006" y="13529"/>
                </a:lnTo>
                <a:lnTo>
                  <a:pt x="8371" y="13602"/>
                </a:lnTo>
                <a:lnTo>
                  <a:pt x="8687" y="13651"/>
                </a:lnTo>
                <a:lnTo>
                  <a:pt x="9296" y="13651"/>
                </a:lnTo>
                <a:lnTo>
                  <a:pt x="9612" y="13626"/>
                </a:lnTo>
                <a:lnTo>
                  <a:pt x="9928" y="13578"/>
                </a:lnTo>
                <a:lnTo>
                  <a:pt x="10220" y="13505"/>
                </a:lnTo>
                <a:lnTo>
                  <a:pt x="10512" y="13407"/>
                </a:lnTo>
                <a:lnTo>
                  <a:pt x="10804" y="13310"/>
                </a:lnTo>
                <a:lnTo>
                  <a:pt x="11072" y="13188"/>
                </a:lnTo>
                <a:lnTo>
                  <a:pt x="11340" y="13042"/>
                </a:lnTo>
                <a:lnTo>
                  <a:pt x="11607" y="12872"/>
                </a:lnTo>
                <a:lnTo>
                  <a:pt x="11851" y="12702"/>
                </a:lnTo>
                <a:lnTo>
                  <a:pt x="12094" y="12507"/>
                </a:lnTo>
                <a:lnTo>
                  <a:pt x="12313" y="12288"/>
                </a:lnTo>
                <a:lnTo>
                  <a:pt x="12508" y="12045"/>
                </a:lnTo>
                <a:lnTo>
                  <a:pt x="12702" y="11801"/>
                </a:lnTo>
                <a:lnTo>
                  <a:pt x="12897" y="11461"/>
                </a:lnTo>
                <a:lnTo>
                  <a:pt x="13092" y="11096"/>
                </a:lnTo>
                <a:lnTo>
                  <a:pt x="13213" y="10706"/>
                </a:lnTo>
                <a:lnTo>
                  <a:pt x="13335" y="10317"/>
                </a:lnTo>
                <a:lnTo>
                  <a:pt x="13384" y="9903"/>
                </a:lnTo>
                <a:lnTo>
                  <a:pt x="13432" y="9490"/>
                </a:lnTo>
                <a:lnTo>
                  <a:pt x="13432" y="9076"/>
                </a:lnTo>
                <a:lnTo>
                  <a:pt x="13384" y="8663"/>
                </a:lnTo>
                <a:lnTo>
                  <a:pt x="13311" y="8273"/>
                </a:lnTo>
                <a:lnTo>
                  <a:pt x="13189" y="7860"/>
                </a:lnTo>
                <a:lnTo>
                  <a:pt x="13043" y="7495"/>
                </a:lnTo>
                <a:lnTo>
                  <a:pt x="12873" y="7130"/>
                </a:lnTo>
                <a:lnTo>
                  <a:pt x="12654" y="6789"/>
                </a:lnTo>
                <a:lnTo>
                  <a:pt x="12386" y="6473"/>
                </a:lnTo>
                <a:lnTo>
                  <a:pt x="12094" y="6181"/>
                </a:lnTo>
                <a:lnTo>
                  <a:pt x="11778" y="5937"/>
                </a:lnTo>
                <a:lnTo>
                  <a:pt x="11461" y="5743"/>
                </a:lnTo>
                <a:lnTo>
                  <a:pt x="11096" y="5572"/>
                </a:lnTo>
                <a:lnTo>
                  <a:pt x="10731" y="5426"/>
                </a:lnTo>
                <a:lnTo>
                  <a:pt x="10342" y="5329"/>
                </a:lnTo>
                <a:lnTo>
                  <a:pt x="9953" y="5256"/>
                </a:lnTo>
                <a:lnTo>
                  <a:pt x="9539" y="5207"/>
                </a:lnTo>
                <a:close/>
                <a:moveTo>
                  <a:pt x="7714" y="511"/>
                </a:moveTo>
                <a:lnTo>
                  <a:pt x="8687" y="536"/>
                </a:lnTo>
                <a:lnTo>
                  <a:pt x="9685" y="560"/>
                </a:lnTo>
                <a:lnTo>
                  <a:pt x="10658" y="633"/>
                </a:lnTo>
                <a:lnTo>
                  <a:pt x="11340" y="633"/>
                </a:lnTo>
                <a:lnTo>
                  <a:pt x="11680" y="609"/>
                </a:lnTo>
                <a:lnTo>
                  <a:pt x="12021" y="609"/>
                </a:lnTo>
                <a:lnTo>
                  <a:pt x="12264" y="633"/>
                </a:lnTo>
                <a:lnTo>
                  <a:pt x="12483" y="706"/>
                </a:lnTo>
                <a:lnTo>
                  <a:pt x="12654" y="779"/>
                </a:lnTo>
                <a:lnTo>
                  <a:pt x="12800" y="876"/>
                </a:lnTo>
                <a:lnTo>
                  <a:pt x="12921" y="1022"/>
                </a:lnTo>
                <a:lnTo>
                  <a:pt x="13019" y="1168"/>
                </a:lnTo>
                <a:lnTo>
                  <a:pt x="13092" y="1314"/>
                </a:lnTo>
                <a:lnTo>
                  <a:pt x="13140" y="1484"/>
                </a:lnTo>
                <a:lnTo>
                  <a:pt x="13262" y="1874"/>
                </a:lnTo>
                <a:lnTo>
                  <a:pt x="13335" y="2263"/>
                </a:lnTo>
                <a:lnTo>
                  <a:pt x="13432" y="2652"/>
                </a:lnTo>
                <a:lnTo>
                  <a:pt x="13481" y="2847"/>
                </a:lnTo>
                <a:lnTo>
                  <a:pt x="13554" y="3017"/>
                </a:lnTo>
                <a:lnTo>
                  <a:pt x="13627" y="3115"/>
                </a:lnTo>
                <a:lnTo>
                  <a:pt x="13724" y="3139"/>
                </a:lnTo>
                <a:lnTo>
                  <a:pt x="13822" y="3139"/>
                </a:lnTo>
                <a:lnTo>
                  <a:pt x="13919" y="3090"/>
                </a:lnTo>
                <a:lnTo>
                  <a:pt x="14138" y="3066"/>
                </a:lnTo>
                <a:lnTo>
                  <a:pt x="14357" y="3066"/>
                </a:lnTo>
                <a:lnTo>
                  <a:pt x="14795" y="3090"/>
                </a:lnTo>
                <a:lnTo>
                  <a:pt x="15233" y="3139"/>
                </a:lnTo>
                <a:lnTo>
                  <a:pt x="15671" y="3163"/>
                </a:lnTo>
                <a:lnTo>
                  <a:pt x="16084" y="3188"/>
                </a:lnTo>
                <a:lnTo>
                  <a:pt x="16571" y="3212"/>
                </a:lnTo>
                <a:lnTo>
                  <a:pt x="16839" y="3212"/>
                </a:lnTo>
                <a:lnTo>
                  <a:pt x="17082" y="3188"/>
                </a:lnTo>
                <a:lnTo>
                  <a:pt x="17325" y="3163"/>
                </a:lnTo>
                <a:lnTo>
                  <a:pt x="17520" y="3066"/>
                </a:lnTo>
                <a:lnTo>
                  <a:pt x="17496" y="3261"/>
                </a:lnTo>
                <a:lnTo>
                  <a:pt x="17496" y="3480"/>
                </a:lnTo>
                <a:lnTo>
                  <a:pt x="17544" y="5086"/>
                </a:lnTo>
                <a:lnTo>
                  <a:pt x="17593" y="6789"/>
                </a:lnTo>
                <a:lnTo>
                  <a:pt x="17617" y="8517"/>
                </a:lnTo>
                <a:lnTo>
                  <a:pt x="17666" y="11753"/>
                </a:lnTo>
                <a:lnTo>
                  <a:pt x="17666" y="12483"/>
                </a:lnTo>
                <a:lnTo>
                  <a:pt x="17642" y="13213"/>
                </a:lnTo>
                <a:lnTo>
                  <a:pt x="17617" y="13943"/>
                </a:lnTo>
                <a:lnTo>
                  <a:pt x="17617" y="14673"/>
                </a:lnTo>
                <a:lnTo>
                  <a:pt x="17544" y="14673"/>
                </a:lnTo>
                <a:lnTo>
                  <a:pt x="16449" y="14746"/>
                </a:lnTo>
                <a:lnTo>
                  <a:pt x="15379" y="14794"/>
                </a:lnTo>
                <a:lnTo>
                  <a:pt x="14308" y="14794"/>
                </a:lnTo>
                <a:lnTo>
                  <a:pt x="13238" y="14770"/>
                </a:lnTo>
                <a:lnTo>
                  <a:pt x="11072" y="14721"/>
                </a:lnTo>
                <a:lnTo>
                  <a:pt x="10001" y="14697"/>
                </a:lnTo>
                <a:lnTo>
                  <a:pt x="8931" y="14673"/>
                </a:lnTo>
                <a:lnTo>
                  <a:pt x="7811" y="14673"/>
                </a:lnTo>
                <a:lnTo>
                  <a:pt x="6692" y="14721"/>
                </a:lnTo>
                <a:lnTo>
                  <a:pt x="4454" y="14819"/>
                </a:lnTo>
                <a:lnTo>
                  <a:pt x="2215" y="14892"/>
                </a:lnTo>
                <a:lnTo>
                  <a:pt x="1826" y="14892"/>
                </a:lnTo>
                <a:lnTo>
                  <a:pt x="1436" y="14867"/>
                </a:lnTo>
                <a:lnTo>
                  <a:pt x="828" y="14867"/>
                </a:lnTo>
                <a:lnTo>
                  <a:pt x="633" y="14916"/>
                </a:lnTo>
                <a:lnTo>
                  <a:pt x="658" y="14624"/>
                </a:lnTo>
                <a:lnTo>
                  <a:pt x="658" y="14308"/>
                </a:lnTo>
                <a:lnTo>
                  <a:pt x="658" y="13724"/>
                </a:lnTo>
                <a:lnTo>
                  <a:pt x="633" y="13115"/>
                </a:lnTo>
                <a:lnTo>
                  <a:pt x="633" y="12531"/>
                </a:lnTo>
                <a:lnTo>
                  <a:pt x="682" y="10804"/>
                </a:lnTo>
                <a:lnTo>
                  <a:pt x="706" y="9928"/>
                </a:lnTo>
                <a:lnTo>
                  <a:pt x="682" y="9076"/>
                </a:lnTo>
                <a:lnTo>
                  <a:pt x="585" y="7349"/>
                </a:lnTo>
                <a:lnTo>
                  <a:pt x="512" y="5597"/>
                </a:lnTo>
                <a:lnTo>
                  <a:pt x="463" y="4794"/>
                </a:lnTo>
                <a:lnTo>
                  <a:pt x="439" y="4380"/>
                </a:lnTo>
                <a:lnTo>
                  <a:pt x="439" y="3991"/>
                </a:lnTo>
                <a:lnTo>
                  <a:pt x="439" y="3601"/>
                </a:lnTo>
                <a:lnTo>
                  <a:pt x="390" y="3236"/>
                </a:lnTo>
                <a:lnTo>
                  <a:pt x="706" y="3285"/>
                </a:lnTo>
                <a:lnTo>
                  <a:pt x="1217" y="3285"/>
                </a:lnTo>
                <a:lnTo>
                  <a:pt x="1436" y="3261"/>
                </a:lnTo>
                <a:lnTo>
                  <a:pt x="1655" y="3212"/>
                </a:lnTo>
                <a:lnTo>
                  <a:pt x="1753" y="3163"/>
                </a:lnTo>
                <a:lnTo>
                  <a:pt x="1826" y="3115"/>
                </a:lnTo>
                <a:lnTo>
                  <a:pt x="1874" y="3042"/>
                </a:lnTo>
                <a:lnTo>
                  <a:pt x="1899" y="2969"/>
                </a:lnTo>
                <a:lnTo>
                  <a:pt x="1899" y="2896"/>
                </a:lnTo>
                <a:lnTo>
                  <a:pt x="1874" y="2823"/>
                </a:lnTo>
                <a:lnTo>
                  <a:pt x="1947" y="2725"/>
                </a:lnTo>
                <a:lnTo>
                  <a:pt x="2069" y="2652"/>
                </a:lnTo>
                <a:lnTo>
                  <a:pt x="2191" y="2579"/>
                </a:lnTo>
                <a:lnTo>
                  <a:pt x="2312" y="2555"/>
                </a:lnTo>
                <a:lnTo>
                  <a:pt x="2458" y="2531"/>
                </a:lnTo>
                <a:lnTo>
                  <a:pt x="2580" y="2531"/>
                </a:lnTo>
                <a:lnTo>
                  <a:pt x="2702" y="2555"/>
                </a:lnTo>
                <a:lnTo>
                  <a:pt x="2823" y="2579"/>
                </a:lnTo>
                <a:lnTo>
                  <a:pt x="2945" y="2628"/>
                </a:lnTo>
                <a:lnTo>
                  <a:pt x="3067" y="2677"/>
                </a:lnTo>
                <a:lnTo>
                  <a:pt x="3164" y="2774"/>
                </a:lnTo>
                <a:lnTo>
                  <a:pt x="3237" y="2847"/>
                </a:lnTo>
                <a:lnTo>
                  <a:pt x="3310" y="2944"/>
                </a:lnTo>
                <a:lnTo>
                  <a:pt x="3334" y="2993"/>
                </a:lnTo>
                <a:lnTo>
                  <a:pt x="3334" y="3017"/>
                </a:lnTo>
                <a:lnTo>
                  <a:pt x="3383" y="3115"/>
                </a:lnTo>
                <a:lnTo>
                  <a:pt x="3456" y="3163"/>
                </a:lnTo>
                <a:lnTo>
                  <a:pt x="3529" y="3188"/>
                </a:lnTo>
                <a:lnTo>
                  <a:pt x="3602" y="3163"/>
                </a:lnTo>
                <a:lnTo>
                  <a:pt x="3821" y="3188"/>
                </a:lnTo>
                <a:lnTo>
                  <a:pt x="4162" y="3212"/>
                </a:lnTo>
                <a:lnTo>
                  <a:pt x="4332" y="3188"/>
                </a:lnTo>
                <a:lnTo>
                  <a:pt x="4502" y="3139"/>
                </a:lnTo>
                <a:lnTo>
                  <a:pt x="4551" y="3090"/>
                </a:lnTo>
                <a:lnTo>
                  <a:pt x="4575" y="3042"/>
                </a:lnTo>
                <a:lnTo>
                  <a:pt x="4600" y="2993"/>
                </a:lnTo>
                <a:lnTo>
                  <a:pt x="4600" y="2920"/>
                </a:lnTo>
                <a:lnTo>
                  <a:pt x="4721" y="2725"/>
                </a:lnTo>
                <a:lnTo>
                  <a:pt x="4794" y="2506"/>
                </a:lnTo>
                <a:lnTo>
                  <a:pt x="4867" y="2263"/>
                </a:lnTo>
                <a:lnTo>
                  <a:pt x="4940" y="2020"/>
                </a:lnTo>
                <a:lnTo>
                  <a:pt x="5062" y="1533"/>
                </a:lnTo>
                <a:lnTo>
                  <a:pt x="5135" y="1290"/>
                </a:lnTo>
                <a:lnTo>
                  <a:pt x="5232" y="1095"/>
                </a:lnTo>
                <a:lnTo>
                  <a:pt x="5281" y="998"/>
                </a:lnTo>
                <a:lnTo>
                  <a:pt x="5354" y="925"/>
                </a:lnTo>
                <a:lnTo>
                  <a:pt x="5500" y="803"/>
                </a:lnTo>
                <a:lnTo>
                  <a:pt x="5695" y="706"/>
                </a:lnTo>
                <a:lnTo>
                  <a:pt x="5889" y="657"/>
                </a:lnTo>
                <a:lnTo>
                  <a:pt x="6108" y="609"/>
                </a:lnTo>
                <a:lnTo>
                  <a:pt x="6327" y="584"/>
                </a:lnTo>
                <a:lnTo>
                  <a:pt x="6717" y="560"/>
                </a:lnTo>
                <a:lnTo>
                  <a:pt x="7203" y="536"/>
                </a:lnTo>
                <a:lnTo>
                  <a:pt x="7714" y="511"/>
                </a:lnTo>
                <a:close/>
                <a:moveTo>
                  <a:pt x="7714" y="0"/>
                </a:moveTo>
                <a:lnTo>
                  <a:pt x="7130" y="25"/>
                </a:lnTo>
                <a:lnTo>
                  <a:pt x="6546" y="49"/>
                </a:lnTo>
                <a:lnTo>
                  <a:pt x="6157" y="98"/>
                </a:lnTo>
                <a:lnTo>
                  <a:pt x="5768" y="146"/>
                </a:lnTo>
                <a:lnTo>
                  <a:pt x="5573" y="195"/>
                </a:lnTo>
                <a:lnTo>
                  <a:pt x="5378" y="268"/>
                </a:lnTo>
                <a:lnTo>
                  <a:pt x="5208" y="365"/>
                </a:lnTo>
                <a:lnTo>
                  <a:pt x="5062" y="487"/>
                </a:lnTo>
                <a:lnTo>
                  <a:pt x="4940" y="584"/>
                </a:lnTo>
                <a:lnTo>
                  <a:pt x="4843" y="706"/>
                </a:lnTo>
                <a:lnTo>
                  <a:pt x="4697" y="949"/>
                </a:lnTo>
                <a:lnTo>
                  <a:pt x="4575" y="1241"/>
                </a:lnTo>
                <a:lnTo>
                  <a:pt x="4502" y="1533"/>
                </a:lnTo>
                <a:lnTo>
                  <a:pt x="4332" y="2141"/>
                </a:lnTo>
                <a:lnTo>
                  <a:pt x="4113" y="2750"/>
                </a:lnTo>
                <a:lnTo>
                  <a:pt x="3894" y="2774"/>
                </a:lnTo>
                <a:lnTo>
                  <a:pt x="3699" y="2774"/>
                </a:lnTo>
                <a:lnTo>
                  <a:pt x="3602" y="2628"/>
                </a:lnTo>
                <a:lnTo>
                  <a:pt x="3505" y="2482"/>
                </a:lnTo>
                <a:lnTo>
                  <a:pt x="3359" y="2385"/>
                </a:lnTo>
                <a:lnTo>
                  <a:pt x="3213" y="2287"/>
                </a:lnTo>
                <a:lnTo>
                  <a:pt x="3067" y="2214"/>
                </a:lnTo>
                <a:lnTo>
                  <a:pt x="2896" y="2166"/>
                </a:lnTo>
                <a:lnTo>
                  <a:pt x="2702" y="2117"/>
                </a:lnTo>
                <a:lnTo>
                  <a:pt x="2531" y="2093"/>
                </a:lnTo>
                <a:lnTo>
                  <a:pt x="2410" y="2117"/>
                </a:lnTo>
                <a:lnTo>
                  <a:pt x="2264" y="2141"/>
                </a:lnTo>
                <a:lnTo>
                  <a:pt x="2118" y="2166"/>
                </a:lnTo>
                <a:lnTo>
                  <a:pt x="1947" y="2239"/>
                </a:lnTo>
                <a:lnTo>
                  <a:pt x="1801" y="2312"/>
                </a:lnTo>
                <a:lnTo>
                  <a:pt x="1680" y="2409"/>
                </a:lnTo>
                <a:lnTo>
                  <a:pt x="1558" y="2506"/>
                </a:lnTo>
                <a:lnTo>
                  <a:pt x="1485" y="2628"/>
                </a:lnTo>
                <a:lnTo>
                  <a:pt x="1242" y="2652"/>
                </a:lnTo>
                <a:lnTo>
                  <a:pt x="1023" y="2677"/>
                </a:lnTo>
                <a:lnTo>
                  <a:pt x="220" y="2677"/>
                </a:lnTo>
                <a:lnTo>
                  <a:pt x="171" y="2701"/>
                </a:lnTo>
                <a:lnTo>
                  <a:pt x="122" y="2725"/>
                </a:lnTo>
                <a:lnTo>
                  <a:pt x="74" y="2774"/>
                </a:lnTo>
                <a:lnTo>
                  <a:pt x="25" y="2823"/>
                </a:lnTo>
                <a:lnTo>
                  <a:pt x="1" y="2896"/>
                </a:lnTo>
                <a:lnTo>
                  <a:pt x="25" y="4258"/>
                </a:lnTo>
                <a:lnTo>
                  <a:pt x="49" y="5597"/>
                </a:lnTo>
                <a:lnTo>
                  <a:pt x="98" y="7349"/>
                </a:lnTo>
                <a:lnTo>
                  <a:pt x="195" y="9076"/>
                </a:lnTo>
                <a:lnTo>
                  <a:pt x="195" y="9879"/>
                </a:lnTo>
                <a:lnTo>
                  <a:pt x="195" y="10706"/>
                </a:lnTo>
                <a:lnTo>
                  <a:pt x="171" y="11534"/>
                </a:lnTo>
                <a:lnTo>
                  <a:pt x="122" y="12337"/>
                </a:lnTo>
                <a:lnTo>
                  <a:pt x="98" y="12994"/>
                </a:lnTo>
                <a:lnTo>
                  <a:pt x="98" y="13626"/>
                </a:lnTo>
                <a:lnTo>
                  <a:pt x="122" y="14916"/>
                </a:lnTo>
                <a:lnTo>
                  <a:pt x="122" y="14965"/>
                </a:lnTo>
                <a:lnTo>
                  <a:pt x="147" y="15038"/>
                </a:lnTo>
                <a:lnTo>
                  <a:pt x="195" y="15086"/>
                </a:lnTo>
                <a:lnTo>
                  <a:pt x="244" y="15111"/>
                </a:lnTo>
                <a:lnTo>
                  <a:pt x="268" y="15184"/>
                </a:lnTo>
                <a:lnTo>
                  <a:pt x="317" y="15257"/>
                </a:lnTo>
                <a:lnTo>
                  <a:pt x="487" y="15354"/>
                </a:lnTo>
                <a:lnTo>
                  <a:pt x="706" y="15403"/>
                </a:lnTo>
                <a:lnTo>
                  <a:pt x="925" y="15427"/>
                </a:lnTo>
                <a:lnTo>
                  <a:pt x="1144" y="15451"/>
                </a:lnTo>
                <a:lnTo>
                  <a:pt x="1607" y="15451"/>
                </a:lnTo>
                <a:lnTo>
                  <a:pt x="2020" y="15427"/>
                </a:lnTo>
                <a:lnTo>
                  <a:pt x="3140" y="15403"/>
                </a:lnTo>
                <a:lnTo>
                  <a:pt x="4259" y="15378"/>
                </a:lnTo>
                <a:lnTo>
                  <a:pt x="5378" y="15330"/>
                </a:lnTo>
                <a:lnTo>
                  <a:pt x="6498" y="15281"/>
                </a:lnTo>
                <a:lnTo>
                  <a:pt x="7617" y="15232"/>
                </a:lnTo>
                <a:lnTo>
                  <a:pt x="8736" y="15208"/>
                </a:lnTo>
                <a:lnTo>
                  <a:pt x="9855" y="15232"/>
                </a:lnTo>
                <a:lnTo>
                  <a:pt x="10950" y="15257"/>
                </a:lnTo>
                <a:lnTo>
                  <a:pt x="13140" y="15305"/>
                </a:lnTo>
                <a:lnTo>
                  <a:pt x="14235" y="15330"/>
                </a:lnTo>
                <a:lnTo>
                  <a:pt x="15330" y="15330"/>
                </a:lnTo>
                <a:lnTo>
                  <a:pt x="16449" y="15305"/>
                </a:lnTo>
                <a:lnTo>
                  <a:pt x="17544" y="15208"/>
                </a:lnTo>
                <a:lnTo>
                  <a:pt x="17642" y="15184"/>
                </a:lnTo>
                <a:lnTo>
                  <a:pt x="17715" y="15135"/>
                </a:lnTo>
                <a:lnTo>
                  <a:pt x="17788" y="15184"/>
                </a:lnTo>
                <a:lnTo>
                  <a:pt x="17861" y="15208"/>
                </a:lnTo>
                <a:lnTo>
                  <a:pt x="17958" y="15232"/>
                </a:lnTo>
                <a:lnTo>
                  <a:pt x="18031" y="15208"/>
                </a:lnTo>
                <a:lnTo>
                  <a:pt x="18104" y="15184"/>
                </a:lnTo>
                <a:lnTo>
                  <a:pt x="18177" y="15111"/>
                </a:lnTo>
                <a:lnTo>
                  <a:pt x="18201" y="15038"/>
                </a:lnTo>
                <a:lnTo>
                  <a:pt x="18226" y="14940"/>
                </a:lnTo>
                <a:lnTo>
                  <a:pt x="18201" y="14186"/>
                </a:lnTo>
                <a:lnTo>
                  <a:pt x="18226" y="13432"/>
                </a:lnTo>
                <a:lnTo>
                  <a:pt x="18250" y="12677"/>
                </a:lnTo>
                <a:lnTo>
                  <a:pt x="18250" y="11923"/>
                </a:lnTo>
                <a:lnTo>
                  <a:pt x="18201" y="8711"/>
                </a:lnTo>
                <a:lnTo>
                  <a:pt x="18177" y="7081"/>
                </a:lnTo>
                <a:lnTo>
                  <a:pt x="18104" y="5475"/>
                </a:lnTo>
                <a:lnTo>
                  <a:pt x="18080" y="4794"/>
                </a:lnTo>
                <a:lnTo>
                  <a:pt x="18031" y="4137"/>
                </a:lnTo>
                <a:lnTo>
                  <a:pt x="17982" y="3480"/>
                </a:lnTo>
                <a:lnTo>
                  <a:pt x="17982" y="2798"/>
                </a:lnTo>
                <a:lnTo>
                  <a:pt x="17982" y="2750"/>
                </a:lnTo>
                <a:lnTo>
                  <a:pt x="17958" y="2701"/>
                </a:lnTo>
                <a:lnTo>
                  <a:pt x="17885" y="2652"/>
                </a:lnTo>
                <a:lnTo>
                  <a:pt x="17788" y="2628"/>
                </a:lnTo>
                <a:lnTo>
                  <a:pt x="17715" y="2628"/>
                </a:lnTo>
                <a:lnTo>
                  <a:pt x="17617" y="2579"/>
                </a:lnTo>
                <a:lnTo>
                  <a:pt x="17496" y="2555"/>
                </a:lnTo>
                <a:lnTo>
                  <a:pt x="17106" y="2555"/>
                </a:lnTo>
                <a:lnTo>
                  <a:pt x="16839" y="2604"/>
                </a:lnTo>
                <a:lnTo>
                  <a:pt x="16595" y="2628"/>
                </a:lnTo>
                <a:lnTo>
                  <a:pt x="15963" y="2652"/>
                </a:lnTo>
                <a:lnTo>
                  <a:pt x="15330" y="2628"/>
                </a:lnTo>
                <a:lnTo>
                  <a:pt x="14990" y="2604"/>
                </a:lnTo>
                <a:lnTo>
                  <a:pt x="14625" y="2555"/>
                </a:lnTo>
                <a:lnTo>
                  <a:pt x="14260" y="2555"/>
                </a:lnTo>
                <a:lnTo>
                  <a:pt x="14089" y="2579"/>
                </a:lnTo>
                <a:lnTo>
                  <a:pt x="13943" y="2628"/>
                </a:lnTo>
                <a:lnTo>
                  <a:pt x="13846" y="2263"/>
                </a:lnTo>
                <a:lnTo>
                  <a:pt x="13773" y="1874"/>
                </a:lnTo>
                <a:lnTo>
                  <a:pt x="13700" y="1509"/>
                </a:lnTo>
                <a:lnTo>
                  <a:pt x="13578" y="1168"/>
                </a:lnTo>
                <a:lnTo>
                  <a:pt x="13505" y="1022"/>
                </a:lnTo>
                <a:lnTo>
                  <a:pt x="13432" y="852"/>
                </a:lnTo>
                <a:lnTo>
                  <a:pt x="13335" y="706"/>
                </a:lnTo>
                <a:lnTo>
                  <a:pt x="13238" y="584"/>
                </a:lnTo>
                <a:lnTo>
                  <a:pt x="13092" y="463"/>
                </a:lnTo>
                <a:lnTo>
                  <a:pt x="12946" y="341"/>
                </a:lnTo>
                <a:lnTo>
                  <a:pt x="12775" y="268"/>
                </a:lnTo>
                <a:lnTo>
                  <a:pt x="12581" y="171"/>
                </a:lnTo>
                <a:lnTo>
                  <a:pt x="12386" y="146"/>
                </a:lnTo>
                <a:lnTo>
                  <a:pt x="12191" y="98"/>
                </a:lnTo>
                <a:lnTo>
                  <a:pt x="11802" y="98"/>
                </a:lnTo>
                <a:lnTo>
                  <a:pt x="11023" y="122"/>
                </a:lnTo>
                <a:lnTo>
                  <a:pt x="10488" y="122"/>
                </a:lnTo>
                <a:lnTo>
                  <a:pt x="9953" y="98"/>
                </a:lnTo>
                <a:lnTo>
                  <a:pt x="8882" y="25"/>
                </a:lnTo>
                <a:lnTo>
                  <a:pt x="8298" y="0"/>
                </a:lnTo>
                <a:close/>
              </a:path>
            </a:pathLst>
          </a:custGeom>
          <a:solidFill>
            <a:schemeClr val="dk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8" name="Солнце 27"/>
          <p:cNvSpPr/>
          <p:nvPr/>
        </p:nvSpPr>
        <p:spPr>
          <a:xfrm>
            <a:off x="4246880" y="2418080"/>
            <a:ext cx="2946400" cy="2611120"/>
          </a:xfrm>
          <a:prstGeom prst="sun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 err="1" smtClean="0"/>
              <a:t>ЗОЖиК</a:t>
            </a:r>
            <a:endParaRPr lang="ru-RU" dirty="0"/>
          </a:p>
        </p:txBody>
      </p:sp>
      <p:sp>
        <p:nvSpPr>
          <p:cNvPr id="30" name="Google Shape;410;p40"/>
          <p:cNvSpPr/>
          <p:nvPr/>
        </p:nvSpPr>
        <p:spPr>
          <a:xfrm>
            <a:off x="5674029" y="270077"/>
            <a:ext cx="392522" cy="339792"/>
          </a:xfrm>
          <a:custGeom>
            <a:avLst/>
            <a:gdLst/>
            <a:ahLst/>
            <a:cxnLst/>
            <a:rect l="l" t="t" r="r" b="b"/>
            <a:pathLst>
              <a:path w="17618" h="17812" extrusionOk="0">
                <a:moveTo>
                  <a:pt x="8785" y="3553"/>
                </a:moveTo>
                <a:lnTo>
                  <a:pt x="8931" y="3845"/>
                </a:lnTo>
                <a:lnTo>
                  <a:pt x="9052" y="4137"/>
                </a:lnTo>
                <a:lnTo>
                  <a:pt x="9223" y="4453"/>
                </a:lnTo>
                <a:lnTo>
                  <a:pt x="9198" y="4502"/>
                </a:lnTo>
                <a:lnTo>
                  <a:pt x="9198" y="4551"/>
                </a:lnTo>
                <a:lnTo>
                  <a:pt x="9223" y="4599"/>
                </a:lnTo>
                <a:lnTo>
                  <a:pt x="9247" y="4624"/>
                </a:lnTo>
                <a:lnTo>
                  <a:pt x="9393" y="4721"/>
                </a:lnTo>
                <a:lnTo>
                  <a:pt x="9539" y="4794"/>
                </a:lnTo>
                <a:lnTo>
                  <a:pt x="9685" y="4842"/>
                </a:lnTo>
                <a:lnTo>
                  <a:pt x="9855" y="4891"/>
                </a:lnTo>
                <a:lnTo>
                  <a:pt x="10220" y="4940"/>
                </a:lnTo>
                <a:lnTo>
                  <a:pt x="10561" y="4988"/>
                </a:lnTo>
                <a:lnTo>
                  <a:pt x="10366" y="5110"/>
                </a:lnTo>
                <a:lnTo>
                  <a:pt x="10172" y="5256"/>
                </a:lnTo>
                <a:lnTo>
                  <a:pt x="10001" y="5378"/>
                </a:lnTo>
                <a:lnTo>
                  <a:pt x="9831" y="5524"/>
                </a:lnTo>
                <a:lnTo>
                  <a:pt x="9734" y="5548"/>
                </a:lnTo>
                <a:lnTo>
                  <a:pt x="9661" y="5572"/>
                </a:lnTo>
                <a:lnTo>
                  <a:pt x="9612" y="5645"/>
                </a:lnTo>
                <a:lnTo>
                  <a:pt x="9588" y="5743"/>
                </a:lnTo>
                <a:lnTo>
                  <a:pt x="9588" y="5962"/>
                </a:lnTo>
                <a:lnTo>
                  <a:pt x="9636" y="6156"/>
                </a:lnTo>
                <a:lnTo>
                  <a:pt x="9758" y="6570"/>
                </a:lnTo>
                <a:lnTo>
                  <a:pt x="9831" y="6911"/>
                </a:lnTo>
                <a:lnTo>
                  <a:pt x="9831" y="6911"/>
                </a:lnTo>
                <a:lnTo>
                  <a:pt x="9466" y="6740"/>
                </a:lnTo>
                <a:lnTo>
                  <a:pt x="9125" y="6546"/>
                </a:lnTo>
                <a:lnTo>
                  <a:pt x="8979" y="6473"/>
                </a:lnTo>
                <a:lnTo>
                  <a:pt x="8785" y="6400"/>
                </a:lnTo>
                <a:lnTo>
                  <a:pt x="8687" y="6400"/>
                </a:lnTo>
                <a:lnTo>
                  <a:pt x="8614" y="6473"/>
                </a:lnTo>
                <a:lnTo>
                  <a:pt x="8444" y="6497"/>
                </a:lnTo>
                <a:lnTo>
                  <a:pt x="8274" y="6570"/>
                </a:lnTo>
                <a:lnTo>
                  <a:pt x="7957" y="6765"/>
                </a:lnTo>
                <a:lnTo>
                  <a:pt x="7592" y="6984"/>
                </a:lnTo>
                <a:lnTo>
                  <a:pt x="7714" y="6351"/>
                </a:lnTo>
                <a:lnTo>
                  <a:pt x="7787" y="6083"/>
                </a:lnTo>
                <a:lnTo>
                  <a:pt x="7836" y="6083"/>
                </a:lnTo>
                <a:lnTo>
                  <a:pt x="7909" y="6059"/>
                </a:lnTo>
                <a:lnTo>
                  <a:pt x="7957" y="6035"/>
                </a:lnTo>
                <a:lnTo>
                  <a:pt x="8006" y="5986"/>
                </a:lnTo>
                <a:lnTo>
                  <a:pt x="8030" y="5937"/>
                </a:lnTo>
                <a:lnTo>
                  <a:pt x="8030" y="5889"/>
                </a:lnTo>
                <a:lnTo>
                  <a:pt x="8030" y="5816"/>
                </a:lnTo>
                <a:lnTo>
                  <a:pt x="8006" y="5767"/>
                </a:lnTo>
                <a:lnTo>
                  <a:pt x="7860" y="5572"/>
                </a:lnTo>
                <a:lnTo>
                  <a:pt x="7690" y="5426"/>
                </a:lnTo>
                <a:lnTo>
                  <a:pt x="7300" y="5159"/>
                </a:lnTo>
                <a:lnTo>
                  <a:pt x="6960" y="4915"/>
                </a:lnTo>
                <a:lnTo>
                  <a:pt x="7057" y="4915"/>
                </a:lnTo>
                <a:lnTo>
                  <a:pt x="7325" y="4867"/>
                </a:lnTo>
                <a:lnTo>
                  <a:pt x="7592" y="4818"/>
                </a:lnTo>
                <a:lnTo>
                  <a:pt x="7884" y="4745"/>
                </a:lnTo>
                <a:lnTo>
                  <a:pt x="8006" y="4721"/>
                </a:lnTo>
                <a:lnTo>
                  <a:pt x="8128" y="4648"/>
                </a:lnTo>
                <a:lnTo>
                  <a:pt x="8201" y="4599"/>
                </a:lnTo>
                <a:lnTo>
                  <a:pt x="8225" y="4526"/>
                </a:lnTo>
                <a:lnTo>
                  <a:pt x="8298" y="4453"/>
                </a:lnTo>
                <a:lnTo>
                  <a:pt x="8371" y="4380"/>
                </a:lnTo>
                <a:lnTo>
                  <a:pt x="8493" y="4186"/>
                </a:lnTo>
                <a:lnTo>
                  <a:pt x="8663" y="3821"/>
                </a:lnTo>
                <a:lnTo>
                  <a:pt x="8785" y="3553"/>
                </a:lnTo>
                <a:close/>
                <a:moveTo>
                  <a:pt x="8712" y="3042"/>
                </a:moveTo>
                <a:lnTo>
                  <a:pt x="8614" y="3091"/>
                </a:lnTo>
                <a:lnTo>
                  <a:pt x="8541" y="3139"/>
                </a:lnTo>
                <a:lnTo>
                  <a:pt x="8468" y="3237"/>
                </a:lnTo>
                <a:lnTo>
                  <a:pt x="8347" y="3431"/>
                </a:lnTo>
                <a:lnTo>
                  <a:pt x="8274" y="3602"/>
                </a:lnTo>
                <a:lnTo>
                  <a:pt x="8152" y="3821"/>
                </a:lnTo>
                <a:lnTo>
                  <a:pt x="8006" y="4040"/>
                </a:lnTo>
                <a:lnTo>
                  <a:pt x="7909" y="4161"/>
                </a:lnTo>
                <a:lnTo>
                  <a:pt x="7860" y="4234"/>
                </a:lnTo>
                <a:lnTo>
                  <a:pt x="7811" y="4307"/>
                </a:lnTo>
                <a:lnTo>
                  <a:pt x="7617" y="4356"/>
                </a:lnTo>
                <a:lnTo>
                  <a:pt x="7398" y="4405"/>
                </a:lnTo>
                <a:lnTo>
                  <a:pt x="7008" y="4526"/>
                </a:lnTo>
                <a:lnTo>
                  <a:pt x="6643" y="4575"/>
                </a:lnTo>
                <a:lnTo>
                  <a:pt x="6546" y="4599"/>
                </a:lnTo>
                <a:lnTo>
                  <a:pt x="6449" y="4648"/>
                </a:lnTo>
                <a:lnTo>
                  <a:pt x="6400" y="4697"/>
                </a:lnTo>
                <a:lnTo>
                  <a:pt x="6376" y="4745"/>
                </a:lnTo>
                <a:lnTo>
                  <a:pt x="6400" y="4818"/>
                </a:lnTo>
                <a:lnTo>
                  <a:pt x="6449" y="4867"/>
                </a:lnTo>
                <a:lnTo>
                  <a:pt x="6449" y="4940"/>
                </a:lnTo>
                <a:lnTo>
                  <a:pt x="6497" y="5013"/>
                </a:lnTo>
                <a:lnTo>
                  <a:pt x="6619" y="5159"/>
                </a:lnTo>
                <a:lnTo>
                  <a:pt x="6741" y="5280"/>
                </a:lnTo>
                <a:lnTo>
                  <a:pt x="6887" y="5378"/>
                </a:lnTo>
                <a:lnTo>
                  <a:pt x="7495" y="5889"/>
                </a:lnTo>
                <a:lnTo>
                  <a:pt x="7446" y="5962"/>
                </a:lnTo>
                <a:lnTo>
                  <a:pt x="7398" y="6059"/>
                </a:lnTo>
                <a:lnTo>
                  <a:pt x="7325" y="6229"/>
                </a:lnTo>
                <a:lnTo>
                  <a:pt x="7179" y="6765"/>
                </a:lnTo>
                <a:lnTo>
                  <a:pt x="7057" y="7300"/>
                </a:lnTo>
                <a:lnTo>
                  <a:pt x="7057" y="7397"/>
                </a:lnTo>
                <a:lnTo>
                  <a:pt x="7106" y="7470"/>
                </a:lnTo>
                <a:lnTo>
                  <a:pt x="7154" y="7519"/>
                </a:lnTo>
                <a:lnTo>
                  <a:pt x="7203" y="7543"/>
                </a:lnTo>
                <a:lnTo>
                  <a:pt x="7276" y="7568"/>
                </a:lnTo>
                <a:lnTo>
                  <a:pt x="7349" y="7543"/>
                </a:lnTo>
                <a:lnTo>
                  <a:pt x="7422" y="7519"/>
                </a:lnTo>
                <a:lnTo>
                  <a:pt x="7471" y="7446"/>
                </a:lnTo>
                <a:lnTo>
                  <a:pt x="7617" y="7397"/>
                </a:lnTo>
                <a:lnTo>
                  <a:pt x="7763" y="7324"/>
                </a:lnTo>
                <a:lnTo>
                  <a:pt x="8030" y="7178"/>
                </a:lnTo>
                <a:lnTo>
                  <a:pt x="8371" y="7032"/>
                </a:lnTo>
                <a:lnTo>
                  <a:pt x="8541" y="6935"/>
                </a:lnTo>
                <a:lnTo>
                  <a:pt x="8712" y="6838"/>
                </a:lnTo>
                <a:lnTo>
                  <a:pt x="8736" y="6838"/>
                </a:lnTo>
                <a:lnTo>
                  <a:pt x="8833" y="6935"/>
                </a:lnTo>
                <a:lnTo>
                  <a:pt x="8955" y="7008"/>
                </a:lnTo>
                <a:lnTo>
                  <a:pt x="9174" y="7130"/>
                </a:lnTo>
                <a:lnTo>
                  <a:pt x="9369" y="7251"/>
                </a:lnTo>
                <a:lnTo>
                  <a:pt x="9612" y="7373"/>
                </a:lnTo>
                <a:lnTo>
                  <a:pt x="9855" y="7446"/>
                </a:lnTo>
                <a:lnTo>
                  <a:pt x="10074" y="7519"/>
                </a:lnTo>
                <a:lnTo>
                  <a:pt x="10147" y="7495"/>
                </a:lnTo>
                <a:lnTo>
                  <a:pt x="10220" y="7470"/>
                </a:lnTo>
                <a:lnTo>
                  <a:pt x="10269" y="7446"/>
                </a:lnTo>
                <a:lnTo>
                  <a:pt x="10293" y="7373"/>
                </a:lnTo>
                <a:lnTo>
                  <a:pt x="10293" y="7324"/>
                </a:lnTo>
                <a:lnTo>
                  <a:pt x="10293" y="7251"/>
                </a:lnTo>
                <a:lnTo>
                  <a:pt x="10293" y="7178"/>
                </a:lnTo>
                <a:lnTo>
                  <a:pt x="10245" y="7130"/>
                </a:lnTo>
                <a:lnTo>
                  <a:pt x="10269" y="7032"/>
                </a:lnTo>
                <a:lnTo>
                  <a:pt x="10269" y="6935"/>
                </a:lnTo>
                <a:lnTo>
                  <a:pt x="10245" y="6716"/>
                </a:lnTo>
                <a:lnTo>
                  <a:pt x="10196" y="6497"/>
                </a:lnTo>
                <a:lnTo>
                  <a:pt x="10123" y="6278"/>
                </a:lnTo>
                <a:lnTo>
                  <a:pt x="10074" y="6059"/>
                </a:lnTo>
                <a:lnTo>
                  <a:pt x="10050" y="5840"/>
                </a:lnTo>
                <a:lnTo>
                  <a:pt x="10293" y="5694"/>
                </a:lnTo>
                <a:lnTo>
                  <a:pt x="10537" y="5524"/>
                </a:lnTo>
                <a:lnTo>
                  <a:pt x="10683" y="5426"/>
                </a:lnTo>
                <a:lnTo>
                  <a:pt x="10829" y="5305"/>
                </a:lnTo>
                <a:lnTo>
                  <a:pt x="10975" y="5183"/>
                </a:lnTo>
                <a:lnTo>
                  <a:pt x="11096" y="5037"/>
                </a:lnTo>
                <a:lnTo>
                  <a:pt x="11121" y="4940"/>
                </a:lnTo>
                <a:lnTo>
                  <a:pt x="11096" y="4842"/>
                </a:lnTo>
                <a:lnTo>
                  <a:pt x="11121" y="4745"/>
                </a:lnTo>
                <a:lnTo>
                  <a:pt x="11072" y="4648"/>
                </a:lnTo>
                <a:lnTo>
                  <a:pt x="10999" y="4551"/>
                </a:lnTo>
                <a:lnTo>
                  <a:pt x="10950" y="4526"/>
                </a:lnTo>
                <a:lnTo>
                  <a:pt x="10877" y="4526"/>
                </a:lnTo>
                <a:lnTo>
                  <a:pt x="10610" y="4502"/>
                </a:lnTo>
                <a:lnTo>
                  <a:pt x="10318" y="4453"/>
                </a:lnTo>
                <a:lnTo>
                  <a:pt x="10026" y="4429"/>
                </a:lnTo>
                <a:lnTo>
                  <a:pt x="9734" y="4380"/>
                </a:lnTo>
                <a:lnTo>
                  <a:pt x="9709" y="4283"/>
                </a:lnTo>
                <a:lnTo>
                  <a:pt x="9490" y="3942"/>
                </a:lnTo>
                <a:lnTo>
                  <a:pt x="9296" y="3602"/>
                </a:lnTo>
                <a:lnTo>
                  <a:pt x="9150" y="3334"/>
                </a:lnTo>
                <a:lnTo>
                  <a:pt x="9052" y="3212"/>
                </a:lnTo>
                <a:lnTo>
                  <a:pt x="8979" y="3164"/>
                </a:lnTo>
                <a:lnTo>
                  <a:pt x="8906" y="3139"/>
                </a:lnTo>
                <a:lnTo>
                  <a:pt x="8882" y="3139"/>
                </a:lnTo>
                <a:lnTo>
                  <a:pt x="8858" y="3091"/>
                </a:lnTo>
                <a:lnTo>
                  <a:pt x="8785" y="3066"/>
                </a:lnTo>
                <a:lnTo>
                  <a:pt x="8712" y="3042"/>
                </a:lnTo>
                <a:close/>
                <a:moveTo>
                  <a:pt x="14430" y="2507"/>
                </a:moveTo>
                <a:lnTo>
                  <a:pt x="14576" y="2531"/>
                </a:lnTo>
                <a:lnTo>
                  <a:pt x="14868" y="2531"/>
                </a:lnTo>
                <a:lnTo>
                  <a:pt x="15403" y="2580"/>
                </a:lnTo>
                <a:lnTo>
                  <a:pt x="15695" y="2604"/>
                </a:lnTo>
                <a:lnTo>
                  <a:pt x="15987" y="2604"/>
                </a:lnTo>
                <a:lnTo>
                  <a:pt x="15890" y="2945"/>
                </a:lnTo>
                <a:lnTo>
                  <a:pt x="15865" y="3310"/>
                </a:lnTo>
                <a:lnTo>
                  <a:pt x="15817" y="3675"/>
                </a:lnTo>
                <a:lnTo>
                  <a:pt x="15768" y="4015"/>
                </a:lnTo>
                <a:lnTo>
                  <a:pt x="15671" y="4599"/>
                </a:lnTo>
                <a:lnTo>
                  <a:pt x="15500" y="5159"/>
                </a:lnTo>
                <a:lnTo>
                  <a:pt x="15306" y="5718"/>
                </a:lnTo>
                <a:lnTo>
                  <a:pt x="15184" y="5986"/>
                </a:lnTo>
                <a:lnTo>
                  <a:pt x="15062" y="6254"/>
                </a:lnTo>
                <a:lnTo>
                  <a:pt x="14843" y="6594"/>
                </a:lnTo>
                <a:lnTo>
                  <a:pt x="14576" y="6935"/>
                </a:lnTo>
                <a:lnTo>
                  <a:pt x="14308" y="7227"/>
                </a:lnTo>
                <a:lnTo>
                  <a:pt x="14040" y="7543"/>
                </a:lnTo>
                <a:lnTo>
                  <a:pt x="13700" y="7860"/>
                </a:lnTo>
                <a:lnTo>
                  <a:pt x="13335" y="8127"/>
                </a:lnTo>
                <a:lnTo>
                  <a:pt x="13286" y="8152"/>
                </a:lnTo>
                <a:lnTo>
                  <a:pt x="13408" y="7641"/>
                </a:lnTo>
                <a:lnTo>
                  <a:pt x="13529" y="7251"/>
                </a:lnTo>
                <a:lnTo>
                  <a:pt x="13602" y="6862"/>
                </a:lnTo>
                <a:lnTo>
                  <a:pt x="13724" y="6059"/>
                </a:lnTo>
                <a:lnTo>
                  <a:pt x="13748" y="5937"/>
                </a:lnTo>
                <a:lnTo>
                  <a:pt x="13992" y="4624"/>
                </a:lnTo>
                <a:lnTo>
                  <a:pt x="14089" y="4088"/>
                </a:lnTo>
                <a:lnTo>
                  <a:pt x="14186" y="3553"/>
                </a:lnTo>
                <a:lnTo>
                  <a:pt x="14259" y="3018"/>
                </a:lnTo>
                <a:lnTo>
                  <a:pt x="14284" y="2507"/>
                </a:lnTo>
                <a:close/>
                <a:moveTo>
                  <a:pt x="2118" y="2482"/>
                </a:moveTo>
                <a:lnTo>
                  <a:pt x="2677" y="2507"/>
                </a:lnTo>
                <a:lnTo>
                  <a:pt x="3261" y="2555"/>
                </a:lnTo>
                <a:lnTo>
                  <a:pt x="3213" y="2750"/>
                </a:lnTo>
                <a:lnTo>
                  <a:pt x="3213" y="2945"/>
                </a:lnTo>
                <a:lnTo>
                  <a:pt x="3237" y="3310"/>
                </a:lnTo>
                <a:lnTo>
                  <a:pt x="3286" y="3699"/>
                </a:lnTo>
                <a:lnTo>
                  <a:pt x="3334" y="4064"/>
                </a:lnTo>
                <a:lnTo>
                  <a:pt x="3456" y="4842"/>
                </a:lnTo>
                <a:lnTo>
                  <a:pt x="3529" y="5305"/>
                </a:lnTo>
                <a:lnTo>
                  <a:pt x="3602" y="5791"/>
                </a:lnTo>
                <a:lnTo>
                  <a:pt x="3699" y="6254"/>
                </a:lnTo>
                <a:lnTo>
                  <a:pt x="3845" y="6716"/>
                </a:lnTo>
                <a:lnTo>
                  <a:pt x="3991" y="7154"/>
                </a:lnTo>
                <a:lnTo>
                  <a:pt x="4162" y="7592"/>
                </a:lnTo>
                <a:lnTo>
                  <a:pt x="4381" y="8030"/>
                </a:lnTo>
                <a:lnTo>
                  <a:pt x="4600" y="8444"/>
                </a:lnTo>
                <a:lnTo>
                  <a:pt x="4381" y="8346"/>
                </a:lnTo>
                <a:lnTo>
                  <a:pt x="4162" y="8225"/>
                </a:lnTo>
                <a:lnTo>
                  <a:pt x="3967" y="8103"/>
                </a:lnTo>
                <a:lnTo>
                  <a:pt x="3772" y="7933"/>
                </a:lnTo>
                <a:lnTo>
                  <a:pt x="3602" y="7762"/>
                </a:lnTo>
                <a:lnTo>
                  <a:pt x="3407" y="7568"/>
                </a:lnTo>
                <a:lnTo>
                  <a:pt x="3091" y="7130"/>
                </a:lnTo>
                <a:lnTo>
                  <a:pt x="2823" y="6692"/>
                </a:lnTo>
                <a:lnTo>
                  <a:pt x="2580" y="6229"/>
                </a:lnTo>
                <a:lnTo>
                  <a:pt x="2385" y="5767"/>
                </a:lnTo>
                <a:lnTo>
                  <a:pt x="2191" y="5305"/>
                </a:lnTo>
                <a:lnTo>
                  <a:pt x="1947" y="4624"/>
                </a:lnTo>
                <a:lnTo>
                  <a:pt x="1728" y="3918"/>
                </a:lnTo>
                <a:lnTo>
                  <a:pt x="1607" y="3480"/>
                </a:lnTo>
                <a:lnTo>
                  <a:pt x="1534" y="3042"/>
                </a:lnTo>
                <a:lnTo>
                  <a:pt x="1534" y="2920"/>
                </a:lnTo>
                <a:lnTo>
                  <a:pt x="1534" y="2799"/>
                </a:lnTo>
                <a:lnTo>
                  <a:pt x="1558" y="2677"/>
                </a:lnTo>
                <a:lnTo>
                  <a:pt x="1534" y="2555"/>
                </a:lnTo>
                <a:lnTo>
                  <a:pt x="1850" y="2507"/>
                </a:lnTo>
                <a:lnTo>
                  <a:pt x="2118" y="2482"/>
                </a:lnTo>
                <a:close/>
                <a:moveTo>
                  <a:pt x="1850" y="1996"/>
                </a:moveTo>
                <a:lnTo>
                  <a:pt x="1558" y="2044"/>
                </a:lnTo>
                <a:lnTo>
                  <a:pt x="1412" y="2069"/>
                </a:lnTo>
                <a:lnTo>
                  <a:pt x="1290" y="2142"/>
                </a:lnTo>
                <a:lnTo>
                  <a:pt x="1193" y="2215"/>
                </a:lnTo>
                <a:lnTo>
                  <a:pt x="1120" y="2336"/>
                </a:lnTo>
                <a:lnTo>
                  <a:pt x="1120" y="2409"/>
                </a:lnTo>
                <a:lnTo>
                  <a:pt x="1169" y="2482"/>
                </a:lnTo>
                <a:lnTo>
                  <a:pt x="1096" y="2604"/>
                </a:lnTo>
                <a:lnTo>
                  <a:pt x="1047" y="2750"/>
                </a:lnTo>
                <a:lnTo>
                  <a:pt x="1023" y="2945"/>
                </a:lnTo>
                <a:lnTo>
                  <a:pt x="1023" y="3139"/>
                </a:lnTo>
                <a:lnTo>
                  <a:pt x="1047" y="3358"/>
                </a:lnTo>
                <a:lnTo>
                  <a:pt x="1071" y="3577"/>
                </a:lnTo>
                <a:lnTo>
                  <a:pt x="1193" y="4064"/>
                </a:lnTo>
                <a:lnTo>
                  <a:pt x="1363" y="4551"/>
                </a:lnTo>
                <a:lnTo>
                  <a:pt x="1509" y="4988"/>
                </a:lnTo>
                <a:lnTo>
                  <a:pt x="1753" y="5597"/>
                </a:lnTo>
                <a:lnTo>
                  <a:pt x="1972" y="6132"/>
                </a:lnTo>
                <a:lnTo>
                  <a:pt x="2215" y="6692"/>
                </a:lnTo>
                <a:lnTo>
                  <a:pt x="2531" y="7227"/>
                </a:lnTo>
                <a:lnTo>
                  <a:pt x="2726" y="7495"/>
                </a:lnTo>
                <a:lnTo>
                  <a:pt x="2896" y="7762"/>
                </a:lnTo>
                <a:lnTo>
                  <a:pt x="3115" y="7981"/>
                </a:lnTo>
                <a:lnTo>
                  <a:pt x="3334" y="8200"/>
                </a:lnTo>
                <a:lnTo>
                  <a:pt x="3553" y="8395"/>
                </a:lnTo>
                <a:lnTo>
                  <a:pt x="3797" y="8565"/>
                </a:lnTo>
                <a:lnTo>
                  <a:pt x="4064" y="8711"/>
                </a:lnTo>
                <a:lnTo>
                  <a:pt x="4332" y="8833"/>
                </a:lnTo>
                <a:lnTo>
                  <a:pt x="4624" y="8882"/>
                </a:lnTo>
                <a:lnTo>
                  <a:pt x="4916" y="8930"/>
                </a:lnTo>
                <a:lnTo>
                  <a:pt x="4964" y="8906"/>
                </a:lnTo>
                <a:lnTo>
                  <a:pt x="5013" y="8906"/>
                </a:lnTo>
                <a:lnTo>
                  <a:pt x="5062" y="8833"/>
                </a:lnTo>
                <a:lnTo>
                  <a:pt x="5110" y="8736"/>
                </a:lnTo>
                <a:lnTo>
                  <a:pt x="5086" y="8663"/>
                </a:lnTo>
                <a:lnTo>
                  <a:pt x="5110" y="8590"/>
                </a:lnTo>
                <a:lnTo>
                  <a:pt x="5135" y="8492"/>
                </a:lnTo>
                <a:lnTo>
                  <a:pt x="5110" y="8322"/>
                </a:lnTo>
                <a:lnTo>
                  <a:pt x="5037" y="8152"/>
                </a:lnTo>
                <a:lnTo>
                  <a:pt x="4940" y="7957"/>
                </a:lnTo>
                <a:lnTo>
                  <a:pt x="4721" y="7568"/>
                </a:lnTo>
                <a:lnTo>
                  <a:pt x="4527" y="7276"/>
                </a:lnTo>
                <a:lnTo>
                  <a:pt x="4405" y="7032"/>
                </a:lnTo>
                <a:lnTo>
                  <a:pt x="4283" y="6740"/>
                </a:lnTo>
                <a:lnTo>
                  <a:pt x="4186" y="6448"/>
                </a:lnTo>
                <a:lnTo>
                  <a:pt x="4113" y="6156"/>
                </a:lnTo>
                <a:lnTo>
                  <a:pt x="4040" y="5864"/>
                </a:lnTo>
                <a:lnTo>
                  <a:pt x="3991" y="5572"/>
                </a:lnTo>
                <a:lnTo>
                  <a:pt x="3918" y="4964"/>
                </a:lnTo>
                <a:lnTo>
                  <a:pt x="3894" y="4672"/>
                </a:lnTo>
                <a:lnTo>
                  <a:pt x="3845" y="4380"/>
                </a:lnTo>
                <a:lnTo>
                  <a:pt x="3724" y="3796"/>
                </a:lnTo>
                <a:lnTo>
                  <a:pt x="3651" y="3480"/>
                </a:lnTo>
                <a:lnTo>
                  <a:pt x="3626" y="3188"/>
                </a:lnTo>
                <a:lnTo>
                  <a:pt x="3602" y="2896"/>
                </a:lnTo>
                <a:lnTo>
                  <a:pt x="3602" y="2580"/>
                </a:lnTo>
                <a:lnTo>
                  <a:pt x="3699" y="2555"/>
                </a:lnTo>
                <a:lnTo>
                  <a:pt x="3748" y="2507"/>
                </a:lnTo>
                <a:lnTo>
                  <a:pt x="3797" y="2409"/>
                </a:lnTo>
                <a:lnTo>
                  <a:pt x="3821" y="2336"/>
                </a:lnTo>
                <a:lnTo>
                  <a:pt x="3821" y="2263"/>
                </a:lnTo>
                <a:lnTo>
                  <a:pt x="3797" y="2190"/>
                </a:lnTo>
                <a:lnTo>
                  <a:pt x="3724" y="2117"/>
                </a:lnTo>
                <a:lnTo>
                  <a:pt x="3651" y="2093"/>
                </a:lnTo>
                <a:lnTo>
                  <a:pt x="2872" y="2020"/>
                </a:lnTo>
                <a:lnTo>
                  <a:pt x="2507" y="1996"/>
                </a:lnTo>
                <a:close/>
                <a:moveTo>
                  <a:pt x="16425" y="1558"/>
                </a:moveTo>
                <a:lnTo>
                  <a:pt x="16522" y="1582"/>
                </a:lnTo>
                <a:lnTo>
                  <a:pt x="16717" y="1679"/>
                </a:lnTo>
                <a:lnTo>
                  <a:pt x="16839" y="1801"/>
                </a:lnTo>
                <a:lnTo>
                  <a:pt x="16960" y="1971"/>
                </a:lnTo>
                <a:lnTo>
                  <a:pt x="17033" y="2166"/>
                </a:lnTo>
                <a:lnTo>
                  <a:pt x="17106" y="2385"/>
                </a:lnTo>
                <a:lnTo>
                  <a:pt x="17131" y="2628"/>
                </a:lnTo>
                <a:lnTo>
                  <a:pt x="17155" y="2872"/>
                </a:lnTo>
                <a:lnTo>
                  <a:pt x="17131" y="3407"/>
                </a:lnTo>
                <a:lnTo>
                  <a:pt x="17058" y="3918"/>
                </a:lnTo>
                <a:lnTo>
                  <a:pt x="16985" y="4356"/>
                </a:lnTo>
                <a:lnTo>
                  <a:pt x="16936" y="4672"/>
                </a:lnTo>
                <a:lnTo>
                  <a:pt x="16814" y="5134"/>
                </a:lnTo>
                <a:lnTo>
                  <a:pt x="16668" y="5572"/>
                </a:lnTo>
                <a:lnTo>
                  <a:pt x="16498" y="6010"/>
                </a:lnTo>
                <a:lnTo>
                  <a:pt x="16279" y="6424"/>
                </a:lnTo>
                <a:lnTo>
                  <a:pt x="16060" y="6838"/>
                </a:lnTo>
                <a:lnTo>
                  <a:pt x="15792" y="7227"/>
                </a:lnTo>
                <a:lnTo>
                  <a:pt x="15525" y="7592"/>
                </a:lnTo>
                <a:lnTo>
                  <a:pt x="15233" y="7957"/>
                </a:lnTo>
                <a:lnTo>
                  <a:pt x="15062" y="8127"/>
                </a:lnTo>
                <a:lnTo>
                  <a:pt x="14892" y="8298"/>
                </a:lnTo>
                <a:lnTo>
                  <a:pt x="14503" y="8614"/>
                </a:lnTo>
                <a:lnTo>
                  <a:pt x="14089" y="8906"/>
                </a:lnTo>
                <a:lnTo>
                  <a:pt x="13675" y="9149"/>
                </a:lnTo>
                <a:lnTo>
                  <a:pt x="13456" y="9247"/>
                </a:lnTo>
                <a:lnTo>
                  <a:pt x="13262" y="9320"/>
                </a:lnTo>
                <a:lnTo>
                  <a:pt x="12824" y="9441"/>
                </a:lnTo>
                <a:lnTo>
                  <a:pt x="12970" y="9076"/>
                </a:lnTo>
                <a:lnTo>
                  <a:pt x="13091" y="8760"/>
                </a:lnTo>
                <a:lnTo>
                  <a:pt x="13237" y="8711"/>
                </a:lnTo>
                <a:lnTo>
                  <a:pt x="13359" y="8663"/>
                </a:lnTo>
                <a:lnTo>
                  <a:pt x="13627" y="8492"/>
                </a:lnTo>
                <a:lnTo>
                  <a:pt x="13870" y="8298"/>
                </a:lnTo>
                <a:lnTo>
                  <a:pt x="14089" y="8127"/>
                </a:lnTo>
                <a:lnTo>
                  <a:pt x="14430" y="7787"/>
                </a:lnTo>
                <a:lnTo>
                  <a:pt x="14746" y="7446"/>
                </a:lnTo>
                <a:lnTo>
                  <a:pt x="15062" y="7057"/>
                </a:lnTo>
                <a:lnTo>
                  <a:pt x="15330" y="6667"/>
                </a:lnTo>
                <a:lnTo>
                  <a:pt x="15500" y="6424"/>
                </a:lnTo>
                <a:lnTo>
                  <a:pt x="15622" y="6156"/>
                </a:lnTo>
                <a:lnTo>
                  <a:pt x="15744" y="5889"/>
                </a:lnTo>
                <a:lnTo>
                  <a:pt x="15841" y="5597"/>
                </a:lnTo>
                <a:lnTo>
                  <a:pt x="16011" y="5013"/>
                </a:lnTo>
                <a:lnTo>
                  <a:pt x="16133" y="4429"/>
                </a:lnTo>
                <a:lnTo>
                  <a:pt x="16255" y="3894"/>
                </a:lnTo>
                <a:lnTo>
                  <a:pt x="16328" y="3334"/>
                </a:lnTo>
                <a:lnTo>
                  <a:pt x="16401" y="2896"/>
                </a:lnTo>
                <a:lnTo>
                  <a:pt x="16425" y="2677"/>
                </a:lnTo>
                <a:lnTo>
                  <a:pt x="16425" y="2580"/>
                </a:lnTo>
                <a:lnTo>
                  <a:pt x="16425" y="2482"/>
                </a:lnTo>
                <a:lnTo>
                  <a:pt x="16449" y="2409"/>
                </a:lnTo>
                <a:lnTo>
                  <a:pt x="16449" y="2336"/>
                </a:lnTo>
                <a:lnTo>
                  <a:pt x="16425" y="2288"/>
                </a:lnTo>
                <a:lnTo>
                  <a:pt x="16376" y="2215"/>
                </a:lnTo>
                <a:lnTo>
                  <a:pt x="16230" y="2166"/>
                </a:lnTo>
                <a:lnTo>
                  <a:pt x="16060" y="2117"/>
                </a:lnTo>
                <a:lnTo>
                  <a:pt x="15890" y="2093"/>
                </a:lnTo>
                <a:lnTo>
                  <a:pt x="15719" y="2069"/>
                </a:lnTo>
                <a:lnTo>
                  <a:pt x="14624" y="2069"/>
                </a:lnTo>
                <a:lnTo>
                  <a:pt x="14430" y="2093"/>
                </a:lnTo>
                <a:lnTo>
                  <a:pt x="14259" y="2142"/>
                </a:lnTo>
                <a:lnTo>
                  <a:pt x="14235" y="1606"/>
                </a:lnTo>
                <a:lnTo>
                  <a:pt x="14478" y="1679"/>
                </a:lnTo>
                <a:lnTo>
                  <a:pt x="14746" y="1704"/>
                </a:lnTo>
                <a:lnTo>
                  <a:pt x="15014" y="1679"/>
                </a:lnTo>
                <a:lnTo>
                  <a:pt x="15281" y="1655"/>
                </a:lnTo>
                <a:lnTo>
                  <a:pt x="15817" y="1582"/>
                </a:lnTo>
                <a:lnTo>
                  <a:pt x="16060" y="1558"/>
                </a:lnTo>
                <a:close/>
                <a:moveTo>
                  <a:pt x="12556" y="463"/>
                </a:moveTo>
                <a:lnTo>
                  <a:pt x="12337" y="536"/>
                </a:lnTo>
                <a:lnTo>
                  <a:pt x="12118" y="633"/>
                </a:lnTo>
                <a:lnTo>
                  <a:pt x="11948" y="755"/>
                </a:lnTo>
                <a:lnTo>
                  <a:pt x="11875" y="828"/>
                </a:lnTo>
                <a:lnTo>
                  <a:pt x="11826" y="925"/>
                </a:lnTo>
                <a:lnTo>
                  <a:pt x="11826" y="949"/>
                </a:lnTo>
                <a:lnTo>
                  <a:pt x="11851" y="974"/>
                </a:lnTo>
                <a:lnTo>
                  <a:pt x="12921" y="682"/>
                </a:lnTo>
                <a:lnTo>
                  <a:pt x="13505" y="560"/>
                </a:lnTo>
                <a:lnTo>
                  <a:pt x="13700" y="536"/>
                </a:lnTo>
                <a:lnTo>
                  <a:pt x="13797" y="536"/>
                </a:lnTo>
                <a:lnTo>
                  <a:pt x="13894" y="511"/>
                </a:lnTo>
                <a:lnTo>
                  <a:pt x="13894" y="511"/>
                </a:lnTo>
                <a:lnTo>
                  <a:pt x="13870" y="682"/>
                </a:lnTo>
                <a:lnTo>
                  <a:pt x="13748" y="730"/>
                </a:lnTo>
                <a:lnTo>
                  <a:pt x="13627" y="779"/>
                </a:lnTo>
                <a:lnTo>
                  <a:pt x="13383" y="876"/>
                </a:lnTo>
                <a:lnTo>
                  <a:pt x="13018" y="1022"/>
                </a:lnTo>
                <a:lnTo>
                  <a:pt x="12654" y="1144"/>
                </a:lnTo>
                <a:lnTo>
                  <a:pt x="12289" y="1266"/>
                </a:lnTo>
                <a:lnTo>
                  <a:pt x="11948" y="1412"/>
                </a:lnTo>
                <a:lnTo>
                  <a:pt x="11924" y="1436"/>
                </a:lnTo>
                <a:lnTo>
                  <a:pt x="11924" y="1460"/>
                </a:lnTo>
                <a:lnTo>
                  <a:pt x="11924" y="1485"/>
                </a:lnTo>
                <a:lnTo>
                  <a:pt x="12337" y="1485"/>
                </a:lnTo>
                <a:lnTo>
                  <a:pt x="12751" y="1412"/>
                </a:lnTo>
                <a:lnTo>
                  <a:pt x="13140" y="1314"/>
                </a:lnTo>
                <a:lnTo>
                  <a:pt x="13505" y="1193"/>
                </a:lnTo>
                <a:lnTo>
                  <a:pt x="13651" y="1120"/>
                </a:lnTo>
                <a:lnTo>
                  <a:pt x="13870" y="1047"/>
                </a:lnTo>
                <a:lnTo>
                  <a:pt x="13870" y="1047"/>
                </a:lnTo>
                <a:lnTo>
                  <a:pt x="13821" y="1290"/>
                </a:lnTo>
                <a:lnTo>
                  <a:pt x="13821" y="1339"/>
                </a:lnTo>
                <a:lnTo>
                  <a:pt x="13529" y="1387"/>
                </a:lnTo>
                <a:lnTo>
                  <a:pt x="13262" y="1460"/>
                </a:lnTo>
                <a:lnTo>
                  <a:pt x="12970" y="1558"/>
                </a:lnTo>
                <a:lnTo>
                  <a:pt x="12702" y="1631"/>
                </a:lnTo>
                <a:lnTo>
                  <a:pt x="12508" y="1679"/>
                </a:lnTo>
                <a:lnTo>
                  <a:pt x="12264" y="1728"/>
                </a:lnTo>
                <a:lnTo>
                  <a:pt x="12143" y="1777"/>
                </a:lnTo>
                <a:lnTo>
                  <a:pt x="12045" y="1825"/>
                </a:lnTo>
                <a:lnTo>
                  <a:pt x="11972" y="1898"/>
                </a:lnTo>
                <a:lnTo>
                  <a:pt x="11924" y="1971"/>
                </a:lnTo>
                <a:lnTo>
                  <a:pt x="11948" y="1996"/>
                </a:lnTo>
                <a:lnTo>
                  <a:pt x="12021" y="2069"/>
                </a:lnTo>
                <a:lnTo>
                  <a:pt x="12118" y="2093"/>
                </a:lnTo>
                <a:lnTo>
                  <a:pt x="12240" y="2093"/>
                </a:lnTo>
                <a:lnTo>
                  <a:pt x="12362" y="2069"/>
                </a:lnTo>
                <a:lnTo>
                  <a:pt x="12605" y="2020"/>
                </a:lnTo>
                <a:lnTo>
                  <a:pt x="12800" y="1971"/>
                </a:lnTo>
                <a:lnTo>
                  <a:pt x="13335" y="1874"/>
                </a:lnTo>
                <a:lnTo>
                  <a:pt x="13602" y="1801"/>
                </a:lnTo>
                <a:lnTo>
                  <a:pt x="13870" y="1704"/>
                </a:lnTo>
                <a:lnTo>
                  <a:pt x="13821" y="2020"/>
                </a:lnTo>
                <a:lnTo>
                  <a:pt x="13773" y="1996"/>
                </a:lnTo>
                <a:lnTo>
                  <a:pt x="13748" y="1971"/>
                </a:lnTo>
                <a:lnTo>
                  <a:pt x="13529" y="1971"/>
                </a:lnTo>
                <a:lnTo>
                  <a:pt x="13310" y="2069"/>
                </a:lnTo>
                <a:lnTo>
                  <a:pt x="12921" y="2263"/>
                </a:lnTo>
                <a:lnTo>
                  <a:pt x="12508" y="2458"/>
                </a:lnTo>
                <a:lnTo>
                  <a:pt x="12313" y="2604"/>
                </a:lnTo>
                <a:lnTo>
                  <a:pt x="12216" y="2677"/>
                </a:lnTo>
                <a:lnTo>
                  <a:pt x="12143" y="2750"/>
                </a:lnTo>
                <a:lnTo>
                  <a:pt x="12143" y="2774"/>
                </a:lnTo>
                <a:lnTo>
                  <a:pt x="12362" y="2774"/>
                </a:lnTo>
                <a:lnTo>
                  <a:pt x="12581" y="2701"/>
                </a:lnTo>
                <a:lnTo>
                  <a:pt x="12970" y="2555"/>
                </a:lnTo>
                <a:lnTo>
                  <a:pt x="13408" y="2409"/>
                </a:lnTo>
                <a:lnTo>
                  <a:pt x="13627" y="2312"/>
                </a:lnTo>
                <a:lnTo>
                  <a:pt x="13797" y="2215"/>
                </a:lnTo>
                <a:lnTo>
                  <a:pt x="13797" y="2458"/>
                </a:lnTo>
                <a:lnTo>
                  <a:pt x="13602" y="2531"/>
                </a:lnTo>
                <a:lnTo>
                  <a:pt x="13432" y="2604"/>
                </a:lnTo>
                <a:lnTo>
                  <a:pt x="13091" y="2774"/>
                </a:lnTo>
                <a:lnTo>
                  <a:pt x="12581" y="3018"/>
                </a:lnTo>
                <a:lnTo>
                  <a:pt x="12313" y="3164"/>
                </a:lnTo>
                <a:lnTo>
                  <a:pt x="12094" y="3358"/>
                </a:lnTo>
                <a:lnTo>
                  <a:pt x="12118" y="3383"/>
                </a:lnTo>
                <a:lnTo>
                  <a:pt x="12240" y="3383"/>
                </a:lnTo>
                <a:lnTo>
                  <a:pt x="12386" y="3358"/>
                </a:lnTo>
                <a:lnTo>
                  <a:pt x="12678" y="3261"/>
                </a:lnTo>
                <a:lnTo>
                  <a:pt x="13213" y="3042"/>
                </a:lnTo>
                <a:lnTo>
                  <a:pt x="13481" y="2945"/>
                </a:lnTo>
                <a:lnTo>
                  <a:pt x="13627" y="2896"/>
                </a:lnTo>
                <a:lnTo>
                  <a:pt x="13773" y="2823"/>
                </a:lnTo>
                <a:lnTo>
                  <a:pt x="13773" y="3164"/>
                </a:lnTo>
                <a:lnTo>
                  <a:pt x="13748" y="3285"/>
                </a:lnTo>
                <a:lnTo>
                  <a:pt x="13602" y="3285"/>
                </a:lnTo>
                <a:lnTo>
                  <a:pt x="13432" y="3358"/>
                </a:lnTo>
                <a:lnTo>
                  <a:pt x="13140" y="3529"/>
                </a:lnTo>
                <a:lnTo>
                  <a:pt x="12727" y="3748"/>
                </a:lnTo>
                <a:lnTo>
                  <a:pt x="12508" y="3894"/>
                </a:lnTo>
                <a:lnTo>
                  <a:pt x="12337" y="4040"/>
                </a:lnTo>
                <a:lnTo>
                  <a:pt x="12313" y="4064"/>
                </a:lnTo>
                <a:lnTo>
                  <a:pt x="12362" y="4064"/>
                </a:lnTo>
                <a:lnTo>
                  <a:pt x="12556" y="4015"/>
                </a:lnTo>
                <a:lnTo>
                  <a:pt x="12775" y="3942"/>
                </a:lnTo>
                <a:lnTo>
                  <a:pt x="13164" y="3748"/>
                </a:lnTo>
                <a:lnTo>
                  <a:pt x="13456" y="3650"/>
                </a:lnTo>
                <a:lnTo>
                  <a:pt x="13602" y="3577"/>
                </a:lnTo>
                <a:lnTo>
                  <a:pt x="13748" y="3480"/>
                </a:lnTo>
                <a:lnTo>
                  <a:pt x="13700" y="3796"/>
                </a:lnTo>
                <a:lnTo>
                  <a:pt x="13627" y="3772"/>
                </a:lnTo>
                <a:lnTo>
                  <a:pt x="13554" y="3796"/>
                </a:lnTo>
                <a:lnTo>
                  <a:pt x="13189" y="3967"/>
                </a:lnTo>
                <a:lnTo>
                  <a:pt x="12824" y="4137"/>
                </a:lnTo>
                <a:lnTo>
                  <a:pt x="12459" y="4332"/>
                </a:lnTo>
                <a:lnTo>
                  <a:pt x="12289" y="4453"/>
                </a:lnTo>
                <a:lnTo>
                  <a:pt x="12143" y="4575"/>
                </a:lnTo>
                <a:lnTo>
                  <a:pt x="12118" y="4624"/>
                </a:lnTo>
                <a:lnTo>
                  <a:pt x="12143" y="4648"/>
                </a:lnTo>
                <a:lnTo>
                  <a:pt x="12337" y="4672"/>
                </a:lnTo>
                <a:lnTo>
                  <a:pt x="12532" y="4648"/>
                </a:lnTo>
                <a:lnTo>
                  <a:pt x="12727" y="4599"/>
                </a:lnTo>
                <a:lnTo>
                  <a:pt x="12921" y="4502"/>
                </a:lnTo>
                <a:lnTo>
                  <a:pt x="13310" y="4307"/>
                </a:lnTo>
                <a:lnTo>
                  <a:pt x="13481" y="4210"/>
                </a:lnTo>
                <a:lnTo>
                  <a:pt x="13651" y="4137"/>
                </a:lnTo>
                <a:lnTo>
                  <a:pt x="13578" y="4502"/>
                </a:lnTo>
                <a:lnTo>
                  <a:pt x="13456" y="4526"/>
                </a:lnTo>
                <a:lnTo>
                  <a:pt x="13310" y="4551"/>
                </a:lnTo>
                <a:lnTo>
                  <a:pt x="13067" y="4672"/>
                </a:lnTo>
                <a:lnTo>
                  <a:pt x="12605" y="4915"/>
                </a:lnTo>
                <a:lnTo>
                  <a:pt x="12337" y="5013"/>
                </a:lnTo>
                <a:lnTo>
                  <a:pt x="12216" y="5086"/>
                </a:lnTo>
                <a:lnTo>
                  <a:pt x="12118" y="5159"/>
                </a:lnTo>
                <a:lnTo>
                  <a:pt x="12094" y="5207"/>
                </a:lnTo>
                <a:lnTo>
                  <a:pt x="12118" y="5256"/>
                </a:lnTo>
                <a:lnTo>
                  <a:pt x="12216" y="5305"/>
                </a:lnTo>
                <a:lnTo>
                  <a:pt x="12313" y="5353"/>
                </a:lnTo>
                <a:lnTo>
                  <a:pt x="12508" y="5353"/>
                </a:lnTo>
                <a:lnTo>
                  <a:pt x="12727" y="5280"/>
                </a:lnTo>
                <a:lnTo>
                  <a:pt x="12921" y="5207"/>
                </a:lnTo>
                <a:lnTo>
                  <a:pt x="13383" y="5013"/>
                </a:lnTo>
                <a:lnTo>
                  <a:pt x="13481" y="4964"/>
                </a:lnTo>
                <a:lnTo>
                  <a:pt x="13432" y="5280"/>
                </a:lnTo>
                <a:lnTo>
                  <a:pt x="13286" y="5305"/>
                </a:lnTo>
                <a:lnTo>
                  <a:pt x="13140" y="5353"/>
                </a:lnTo>
                <a:lnTo>
                  <a:pt x="12872" y="5499"/>
                </a:lnTo>
                <a:lnTo>
                  <a:pt x="12435" y="5645"/>
                </a:lnTo>
                <a:lnTo>
                  <a:pt x="12240" y="5743"/>
                </a:lnTo>
                <a:lnTo>
                  <a:pt x="12021" y="5840"/>
                </a:lnTo>
                <a:lnTo>
                  <a:pt x="12021" y="5864"/>
                </a:lnTo>
                <a:lnTo>
                  <a:pt x="12045" y="5889"/>
                </a:lnTo>
                <a:lnTo>
                  <a:pt x="12216" y="5913"/>
                </a:lnTo>
                <a:lnTo>
                  <a:pt x="12410" y="5889"/>
                </a:lnTo>
                <a:lnTo>
                  <a:pt x="12605" y="5840"/>
                </a:lnTo>
                <a:lnTo>
                  <a:pt x="12775" y="5791"/>
                </a:lnTo>
                <a:lnTo>
                  <a:pt x="13067" y="5694"/>
                </a:lnTo>
                <a:lnTo>
                  <a:pt x="13359" y="5572"/>
                </a:lnTo>
                <a:lnTo>
                  <a:pt x="13335" y="5694"/>
                </a:lnTo>
                <a:lnTo>
                  <a:pt x="13310" y="5913"/>
                </a:lnTo>
                <a:lnTo>
                  <a:pt x="13116" y="5937"/>
                </a:lnTo>
                <a:lnTo>
                  <a:pt x="12945" y="5986"/>
                </a:lnTo>
                <a:lnTo>
                  <a:pt x="12605" y="6108"/>
                </a:lnTo>
                <a:lnTo>
                  <a:pt x="12191" y="6254"/>
                </a:lnTo>
                <a:lnTo>
                  <a:pt x="11997" y="6351"/>
                </a:lnTo>
                <a:lnTo>
                  <a:pt x="11826" y="6473"/>
                </a:lnTo>
                <a:lnTo>
                  <a:pt x="11826" y="6497"/>
                </a:lnTo>
                <a:lnTo>
                  <a:pt x="11826" y="6521"/>
                </a:lnTo>
                <a:lnTo>
                  <a:pt x="12021" y="6497"/>
                </a:lnTo>
                <a:lnTo>
                  <a:pt x="12216" y="6448"/>
                </a:lnTo>
                <a:lnTo>
                  <a:pt x="12581" y="6327"/>
                </a:lnTo>
                <a:lnTo>
                  <a:pt x="12921" y="6229"/>
                </a:lnTo>
                <a:lnTo>
                  <a:pt x="13262" y="6132"/>
                </a:lnTo>
                <a:lnTo>
                  <a:pt x="13262" y="6132"/>
                </a:lnTo>
                <a:lnTo>
                  <a:pt x="13213" y="6327"/>
                </a:lnTo>
                <a:lnTo>
                  <a:pt x="13140" y="6351"/>
                </a:lnTo>
                <a:lnTo>
                  <a:pt x="12800" y="6546"/>
                </a:lnTo>
                <a:lnTo>
                  <a:pt x="12459" y="6740"/>
                </a:lnTo>
                <a:lnTo>
                  <a:pt x="12118" y="6935"/>
                </a:lnTo>
                <a:lnTo>
                  <a:pt x="11948" y="7057"/>
                </a:lnTo>
                <a:lnTo>
                  <a:pt x="11802" y="7178"/>
                </a:lnTo>
                <a:lnTo>
                  <a:pt x="11802" y="7227"/>
                </a:lnTo>
                <a:lnTo>
                  <a:pt x="11802" y="7251"/>
                </a:lnTo>
                <a:lnTo>
                  <a:pt x="11826" y="7251"/>
                </a:lnTo>
                <a:lnTo>
                  <a:pt x="12167" y="7203"/>
                </a:lnTo>
                <a:lnTo>
                  <a:pt x="12508" y="7081"/>
                </a:lnTo>
                <a:lnTo>
                  <a:pt x="12824" y="6935"/>
                </a:lnTo>
                <a:lnTo>
                  <a:pt x="13140" y="6789"/>
                </a:lnTo>
                <a:lnTo>
                  <a:pt x="13140" y="6789"/>
                </a:lnTo>
                <a:lnTo>
                  <a:pt x="13091" y="6984"/>
                </a:lnTo>
                <a:lnTo>
                  <a:pt x="12945" y="7081"/>
                </a:lnTo>
                <a:lnTo>
                  <a:pt x="12848" y="7130"/>
                </a:lnTo>
                <a:lnTo>
                  <a:pt x="12362" y="7495"/>
                </a:lnTo>
                <a:lnTo>
                  <a:pt x="11851" y="7860"/>
                </a:lnTo>
                <a:lnTo>
                  <a:pt x="11875" y="7884"/>
                </a:lnTo>
                <a:lnTo>
                  <a:pt x="11997" y="7908"/>
                </a:lnTo>
                <a:lnTo>
                  <a:pt x="12216" y="7908"/>
                </a:lnTo>
                <a:lnTo>
                  <a:pt x="12337" y="7860"/>
                </a:lnTo>
                <a:lnTo>
                  <a:pt x="12556" y="7762"/>
                </a:lnTo>
                <a:lnTo>
                  <a:pt x="12775" y="7616"/>
                </a:lnTo>
                <a:lnTo>
                  <a:pt x="12994" y="7470"/>
                </a:lnTo>
                <a:lnTo>
                  <a:pt x="12994" y="7470"/>
                </a:lnTo>
                <a:lnTo>
                  <a:pt x="12921" y="7762"/>
                </a:lnTo>
                <a:lnTo>
                  <a:pt x="12872" y="7762"/>
                </a:lnTo>
                <a:lnTo>
                  <a:pt x="12556" y="7957"/>
                </a:lnTo>
                <a:lnTo>
                  <a:pt x="12216" y="8103"/>
                </a:lnTo>
                <a:lnTo>
                  <a:pt x="12070" y="8176"/>
                </a:lnTo>
                <a:lnTo>
                  <a:pt x="11924" y="8273"/>
                </a:lnTo>
                <a:lnTo>
                  <a:pt x="11802" y="8371"/>
                </a:lnTo>
                <a:lnTo>
                  <a:pt x="11680" y="8492"/>
                </a:lnTo>
                <a:lnTo>
                  <a:pt x="11680" y="8541"/>
                </a:lnTo>
                <a:lnTo>
                  <a:pt x="11729" y="8565"/>
                </a:lnTo>
                <a:lnTo>
                  <a:pt x="11972" y="8517"/>
                </a:lnTo>
                <a:lnTo>
                  <a:pt x="12240" y="8468"/>
                </a:lnTo>
                <a:lnTo>
                  <a:pt x="12508" y="8371"/>
                </a:lnTo>
                <a:lnTo>
                  <a:pt x="12775" y="8273"/>
                </a:lnTo>
                <a:lnTo>
                  <a:pt x="12702" y="8419"/>
                </a:lnTo>
                <a:lnTo>
                  <a:pt x="12629" y="8590"/>
                </a:lnTo>
                <a:lnTo>
                  <a:pt x="12483" y="8614"/>
                </a:lnTo>
                <a:lnTo>
                  <a:pt x="12337" y="8687"/>
                </a:lnTo>
                <a:lnTo>
                  <a:pt x="12070" y="8784"/>
                </a:lnTo>
                <a:lnTo>
                  <a:pt x="11899" y="8857"/>
                </a:lnTo>
                <a:lnTo>
                  <a:pt x="11729" y="8955"/>
                </a:lnTo>
                <a:lnTo>
                  <a:pt x="11583" y="9052"/>
                </a:lnTo>
                <a:lnTo>
                  <a:pt x="11461" y="9198"/>
                </a:lnTo>
                <a:lnTo>
                  <a:pt x="11461" y="9222"/>
                </a:lnTo>
                <a:lnTo>
                  <a:pt x="11486" y="9222"/>
                </a:lnTo>
                <a:lnTo>
                  <a:pt x="11851" y="9174"/>
                </a:lnTo>
                <a:lnTo>
                  <a:pt x="12240" y="9101"/>
                </a:lnTo>
                <a:lnTo>
                  <a:pt x="12459" y="9028"/>
                </a:lnTo>
                <a:lnTo>
                  <a:pt x="12386" y="9174"/>
                </a:lnTo>
                <a:lnTo>
                  <a:pt x="12143" y="9271"/>
                </a:lnTo>
                <a:lnTo>
                  <a:pt x="11899" y="9344"/>
                </a:lnTo>
                <a:lnTo>
                  <a:pt x="11534" y="9466"/>
                </a:lnTo>
                <a:lnTo>
                  <a:pt x="11340" y="9563"/>
                </a:lnTo>
                <a:lnTo>
                  <a:pt x="11194" y="9660"/>
                </a:lnTo>
                <a:lnTo>
                  <a:pt x="11169" y="9685"/>
                </a:lnTo>
                <a:lnTo>
                  <a:pt x="11169" y="9733"/>
                </a:lnTo>
                <a:lnTo>
                  <a:pt x="11194" y="9758"/>
                </a:lnTo>
                <a:lnTo>
                  <a:pt x="11218" y="9782"/>
                </a:lnTo>
                <a:lnTo>
                  <a:pt x="11413" y="9831"/>
                </a:lnTo>
                <a:lnTo>
                  <a:pt x="11583" y="9806"/>
                </a:lnTo>
                <a:lnTo>
                  <a:pt x="11778" y="9758"/>
                </a:lnTo>
                <a:lnTo>
                  <a:pt x="11948" y="9709"/>
                </a:lnTo>
                <a:lnTo>
                  <a:pt x="11875" y="9782"/>
                </a:lnTo>
                <a:lnTo>
                  <a:pt x="11875" y="9879"/>
                </a:lnTo>
                <a:lnTo>
                  <a:pt x="11851" y="9879"/>
                </a:lnTo>
                <a:lnTo>
                  <a:pt x="11656" y="9928"/>
                </a:lnTo>
                <a:lnTo>
                  <a:pt x="11437" y="10001"/>
                </a:lnTo>
                <a:lnTo>
                  <a:pt x="11072" y="10147"/>
                </a:lnTo>
                <a:lnTo>
                  <a:pt x="10683" y="10293"/>
                </a:lnTo>
                <a:lnTo>
                  <a:pt x="10683" y="10317"/>
                </a:lnTo>
                <a:lnTo>
                  <a:pt x="10707" y="10342"/>
                </a:lnTo>
                <a:lnTo>
                  <a:pt x="10877" y="10317"/>
                </a:lnTo>
                <a:lnTo>
                  <a:pt x="11048" y="10317"/>
                </a:lnTo>
                <a:lnTo>
                  <a:pt x="11413" y="10220"/>
                </a:lnTo>
                <a:lnTo>
                  <a:pt x="11583" y="10171"/>
                </a:lnTo>
                <a:lnTo>
                  <a:pt x="11583" y="10171"/>
                </a:lnTo>
                <a:lnTo>
                  <a:pt x="11291" y="10463"/>
                </a:lnTo>
                <a:lnTo>
                  <a:pt x="11023" y="10536"/>
                </a:lnTo>
                <a:lnTo>
                  <a:pt x="10658" y="10585"/>
                </a:lnTo>
                <a:lnTo>
                  <a:pt x="10464" y="10634"/>
                </a:lnTo>
                <a:lnTo>
                  <a:pt x="10391" y="10682"/>
                </a:lnTo>
                <a:lnTo>
                  <a:pt x="10318" y="10731"/>
                </a:lnTo>
                <a:lnTo>
                  <a:pt x="10293" y="10755"/>
                </a:lnTo>
                <a:lnTo>
                  <a:pt x="10318" y="10804"/>
                </a:lnTo>
                <a:lnTo>
                  <a:pt x="10439" y="10853"/>
                </a:lnTo>
                <a:lnTo>
                  <a:pt x="10585" y="10877"/>
                </a:lnTo>
                <a:lnTo>
                  <a:pt x="10731" y="10877"/>
                </a:lnTo>
                <a:lnTo>
                  <a:pt x="10877" y="10853"/>
                </a:lnTo>
                <a:lnTo>
                  <a:pt x="10756" y="10926"/>
                </a:lnTo>
                <a:lnTo>
                  <a:pt x="10512" y="10999"/>
                </a:lnTo>
                <a:lnTo>
                  <a:pt x="10172" y="11047"/>
                </a:lnTo>
                <a:lnTo>
                  <a:pt x="10001" y="11096"/>
                </a:lnTo>
                <a:lnTo>
                  <a:pt x="9831" y="11169"/>
                </a:lnTo>
                <a:lnTo>
                  <a:pt x="9807" y="11218"/>
                </a:lnTo>
                <a:lnTo>
                  <a:pt x="9831" y="11242"/>
                </a:lnTo>
                <a:lnTo>
                  <a:pt x="9953" y="11315"/>
                </a:lnTo>
                <a:lnTo>
                  <a:pt x="10074" y="11339"/>
                </a:lnTo>
                <a:lnTo>
                  <a:pt x="9782" y="11461"/>
                </a:lnTo>
                <a:lnTo>
                  <a:pt x="9490" y="11534"/>
                </a:lnTo>
                <a:lnTo>
                  <a:pt x="9198" y="11607"/>
                </a:lnTo>
                <a:lnTo>
                  <a:pt x="8906" y="11656"/>
                </a:lnTo>
                <a:lnTo>
                  <a:pt x="8639" y="11680"/>
                </a:lnTo>
                <a:lnTo>
                  <a:pt x="8347" y="11680"/>
                </a:lnTo>
                <a:lnTo>
                  <a:pt x="8079" y="11656"/>
                </a:lnTo>
                <a:lnTo>
                  <a:pt x="7836" y="11607"/>
                </a:lnTo>
                <a:lnTo>
                  <a:pt x="7568" y="11534"/>
                </a:lnTo>
                <a:lnTo>
                  <a:pt x="7325" y="11437"/>
                </a:lnTo>
                <a:lnTo>
                  <a:pt x="7081" y="11315"/>
                </a:lnTo>
                <a:lnTo>
                  <a:pt x="6838" y="11193"/>
                </a:lnTo>
                <a:lnTo>
                  <a:pt x="6595" y="11047"/>
                </a:lnTo>
                <a:lnTo>
                  <a:pt x="6376" y="10901"/>
                </a:lnTo>
                <a:lnTo>
                  <a:pt x="6157" y="10731"/>
                </a:lnTo>
                <a:lnTo>
                  <a:pt x="5962" y="10536"/>
                </a:lnTo>
                <a:lnTo>
                  <a:pt x="5840" y="10390"/>
                </a:lnTo>
                <a:lnTo>
                  <a:pt x="5719" y="10220"/>
                </a:lnTo>
                <a:lnTo>
                  <a:pt x="5524" y="9904"/>
                </a:lnTo>
                <a:lnTo>
                  <a:pt x="5548" y="9782"/>
                </a:lnTo>
                <a:lnTo>
                  <a:pt x="5500" y="9660"/>
                </a:lnTo>
                <a:lnTo>
                  <a:pt x="5475" y="9612"/>
                </a:lnTo>
                <a:lnTo>
                  <a:pt x="5427" y="9563"/>
                </a:lnTo>
                <a:lnTo>
                  <a:pt x="5378" y="9539"/>
                </a:lnTo>
                <a:lnTo>
                  <a:pt x="5305" y="9539"/>
                </a:lnTo>
                <a:lnTo>
                  <a:pt x="4867" y="9441"/>
                </a:lnTo>
                <a:lnTo>
                  <a:pt x="4429" y="9320"/>
                </a:lnTo>
                <a:lnTo>
                  <a:pt x="4040" y="9174"/>
                </a:lnTo>
                <a:lnTo>
                  <a:pt x="3651" y="8955"/>
                </a:lnTo>
                <a:lnTo>
                  <a:pt x="3310" y="8711"/>
                </a:lnTo>
                <a:lnTo>
                  <a:pt x="2994" y="8444"/>
                </a:lnTo>
                <a:lnTo>
                  <a:pt x="2677" y="8152"/>
                </a:lnTo>
                <a:lnTo>
                  <a:pt x="2410" y="7811"/>
                </a:lnTo>
                <a:lnTo>
                  <a:pt x="2142" y="7470"/>
                </a:lnTo>
                <a:lnTo>
                  <a:pt x="1923" y="7081"/>
                </a:lnTo>
                <a:lnTo>
                  <a:pt x="1704" y="6716"/>
                </a:lnTo>
                <a:lnTo>
                  <a:pt x="1509" y="6302"/>
                </a:lnTo>
                <a:lnTo>
                  <a:pt x="1339" y="5913"/>
                </a:lnTo>
                <a:lnTo>
                  <a:pt x="1169" y="5499"/>
                </a:lnTo>
                <a:lnTo>
                  <a:pt x="1047" y="5086"/>
                </a:lnTo>
                <a:lnTo>
                  <a:pt x="925" y="4672"/>
                </a:lnTo>
                <a:lnTo>
                  <a:pt x="731" y="4040"/>
                </a:lnTo>
                <a:lnTo>
                  <a:pt x="560" y="3358"/>
                </a:lnTo>
                <a:lnTo>
                  <a:pt x="487" y="3018"/>
                </a:lnTo>
                <a:lnTo>
                  <a:pt x="463" y="2701"/>
                </a:lnTo>
                <a:lnTo>
                  <a:pt x="463" y="2361"/>
                </a:lnTo>
                <a:lnTo>
                  <a:pt x="512" y="2020"/>
                </a:lnTo>
                <a:lnTo>
                  <a:pt x="560" y="1923"/>
                </a:lnTo>
                <a:lnTo>
                  <a:pt x="609" y="1850"/>
                </a:lnTo>
                <a:lnTo>
                  <a:pt x="731" y="1679"/>
                </a:lnTo>
                <a:lnTo>
                  <a:pt x="877" y="1582"/>
                </a:lnTo>
                <a:lnTo>
                  <a:pt x="1071" y="1485"/>
                </a:lnTo>
                <a:lnTo>
                  <a:pt x="1266" y="1436"/>
                </a:lnTo>
                <a:lnTo>
                  <a:pt x="1485" y="1387"/>
                </a:lnTo>
                <a:lnTo>
                  <a:pt x="1874" y="1339"/>
                </a:lnTo>
                <a:lnTo>
                  <a:pt x="2215" y="1314"/>
                </a:lnTo>
                <a:lnTo>
                  <a:pt x="2580" y="1339"/>
                </a:lnTo>
                <a:lnTo>
                  <a:pt x="3115" y="1339"/>
                </a:lnTo>
                <a:lnTo>
                  <a:pt x="3286" y="1314"/>
                </a:lnTo>
                <a:lnTo>
                  <a:pt x="3383" y="1339"/>
                </a:lnTo>
                <a:lnTo>
                  <a:pt x="3456" y="1339"/>
                </a:lnTo>
                <a:lnTo>
                  <a:pt x="3553" y="1290"/>
                </a:lnTo>
                <a:lnTo>
                  <a:pt x="3578" y="1241"/>
                </a:lnTo>
                <a:lnTo>
                  <a:pt x="3578" y="1193"/>
                </a:lnTo>
                <a:lnTo>
                  <a:pt x="3602" y="1047"/>
                </a:lnTo>
                <a:lnTo>
                  <a:pt x="3602" y="876"/>
                </a:lnTo>
                <a:lnTo>
                  <a:pt x="3578" y="584"/>
                </a:lnTo>
                <a:lnTo>
                  <a:pt x="3894" y="536"/>
                </a:lnTo>
                <a:lnTo>
                  <a:pt x="4210" y="511"/>
                </a:lnTo>
                <a:lnTo>
                  <a:pt x="4867" y="511"/>
                </a:lnTo>
                <a:lnTo>
                  <a:pt x="5500" y="536"/>
                </a:lnTo>
                <a:lnTo>
                  <a:pt x="6132" y="536"/>
                </a:lnTo>
                <a:lnTo>
                  <a:pt x="7422" y="511"/>
                </a:lnTo>
                <a:lnTo>
                  <a:pt x="11315" y="511"/>
                </a:lnTo>
                <a:lnTo>
                  <a:pt x="11948" y="487"/>
                </a:lnTo>
                <a:lnTo>
                  <a:pt x="12556" y="463"/>
                </a:lnTo>
                <a:close/>
                <a:moveTo>
                  <a:pt x="9636" y="12069"/>
                </a:moveTo>
                <a:lnTo>
                  <a:pt x="9612" y="12118"/>
                </a:lnTo>
                <a:lnTo>
                  <a:pt x="9466" y="12167"/>
                </a:lnTo>
                <a:lnTo>
                  <a:pt x="9320" y="12240"/>
                </a:lnTo>
                <a:lnTo>
                  <a:pt x="9052" y="12386"/>
                </a:lnTo>
                <a:lnTo>
                  <a:pt x="8906" y="12483"/>
                </a:lnTo>
                <a:lnTo>
                  <a:pt x="8809" y="12580"/>
                </a:lnTo>
                <a:lnTo>
                  <a:pt x="8785" y="12629"/>
                </a:lnTo>
                <a:lnTo>
                  <a:pt x="8809" y="12702"/>
                </a:lnTo>
                <a:lnTo>
                  <a:pt x="8858" y="12751"/>
                </a:lnTo>
                <a:lnTo>
                  <a:pt x="9052" y="12751"/>
                </a:lnTo>
                <a:lnTo>
                  <a:pt x="9198" y="12702"/>
                </a:lnTo>
                <a:lnTo>
                  <a:pt x="9466" y="12580"/>
                </a:lnTo>
                <a:lnTo>
                  <a:pt x="9563" y="12556"/>
                </a:lnTo>
                <a:lnTo>
                  <a:pt x="9563" y="12678"/>
                </a:lnTo>
                <a:lnTo>
                  <a:pt x="9198" y="12872"/>
                </a:lnTo>
                <a:lnTo>
                  <a:pt x="8955" y="13018"/>
                </a:lnTo>
                <a:lnTo>
                  <a:pt x="8833" y="13115"/>
                </a:lnTo>
                <a:lnTo>
                  <a:pt x="8760" y="13237"/>
                </a:lnTo>
                <a:lnTo>
                  <a:pt x="8736" y="13261"/>
                </a:lnTo>
                <a:lnTo>
                  <a:pt x="8760" y="13310"/>
                </a:lnTo>
                <a:lnTo>
                  <a:pt x="8785" y="13334"/>
                </a:lnTo>
                <a:lnTo>
                  <a:pt x="8955" y="13334"/>
                </a:lnTo>
                <a:lnTo>
                  <a:pt x="9077" y="13286"/>
                </a:lnTo>
                <a:lnTo>
                  <a:pt x="9320" y="13188"/>
                </a:lnTo>
                <a:lnTo>
                  <a:pt x="9588" y="13042"/>
                </a:lnTo>
                <a:lnTo>
                  <a:pt x="9588" y="13213"/>
                </a:lnTo>
                <a:lnTo>
                  <a:pt x="9223" y="13383"/>
                </a:lnTo>
                <a:lnTo>
                  <a:pt x="9077" y="13480"/>
                </a:lnTo>
                <a:lnTo>
                  <a:pt x="8931" y="13578"/>
                </a:lnTo>
                <a:lnTo>
                  <a:pt x="8906" y="13626"/>
                </a:lnTo>
                <a:lnTo>
                  <a:pt x="8882" y="13675"/>
                </a:lnTo>
                <a:lnTo>
                  <a:pt x="8882" y="13797"/>
                </a:lnTo>
                <a:lnTo>
                  <a:pt x="8882" y="13821"/>
                </a:lnTo>
                <a:lnTo>
                  <a:pt x="8906" y="13845"/>
                </a:lnTo>
                <a:lnTo>
                  <a:pt x="9004" y="13845"/>
                </a:lnTo>
                <a:lnTo>
                  <a:pt x="9077" y="13821"/>
                </a:lnTo>
                <a:lnTo>
                  <a:pt x="9247" y="13748"/>
                </a:lnTo>
                <a:lnTo>
                  <a:pt x="9393" y="13675"/>
                </a:lnTo>
                <a:lnTo>
                  <a:pt x="9612" y="13578"/>
                </a:lnTo>
                <a:lnTo>
                  <a:pt x="9588" y="13602"/>
                </a:lnTo>
                <a:lnTo>
                  <a:pt x="9417" y="13699"/>
                </a:lnTo>
                <a:lnTo>
                  <a:pt x="9223" y="13845"/>
                </a:lnTo>
                <a:lnTo>
                  <a:pt x="9077" y="13991"/>
                </a:lnTo>
                <a:lnTo>
                  <a:pt x="8931" y="14162"/>
                </a:lnTo>
                <a:lnTo>
                  <a:pt x="8931" y="14186"/>
                </a:lnTo>
                <a:lnTo>
                  <a:pt x="8931" y="14210"/>
                </a:lnTo>
                <a:lnTo>
                  <a:pt x="8955" y="14235"/>
                </a:lnTo>
                <a:lnTo>
                  <a:pt x="8979" y="14235"/>
                </a:lnTo>
                <a:lnTo>
                  <a:pt x="9271" y="14137"/>
                </a:lnTo>
                <a:lnTo>
                  <a:pt x="9563" y="14016"/>
                </a:lnTo>
                <a:lnTo>
                  <a:pt x="9563" y="14259"/>
                </a:lnTo>
                <a:lnTo>
                  <a:pt x="9320" y="14405"/>
                </a:lnTo>
                <a:lnTo>
                  <a:pt x="9198" y="14454"/>
                </a:lnTo>
                <a:lnTo>
                  <a:pt x="9052" y="14551"/>
                </a:lnTo>
                <a:lnTo>
                  <a:pt x="8955" y="14648"/>
                </a:lnTo>
                <a:lnTo>
                  <a:pt x="8906" y="14697"/>
                </a:lnTo>
                <a:lnTo>
                  <a:pt x="8882" y="14770"/>
                </a:lnTo>
                <a:lnTo>
                  <a:pt x="8882" y="14819"/>
                </a:lnTo>
                <a:lnTo>
                  <a:pt x="8931" y="14843"/>
                </a:lnTo>
                <a:lnTo>
                  <a:pt x="9004" y="14867"/>
                </a:lnTo>
                <a:lnTo>
                  <a:pt x="9077" y="14843"/>
                </a:lnTo>
                <a:lnTo>
                  <a:pt x="9223" y="14819"/>
                </a:lnTo>
                <a:lnTo>
                  <a:pt x="9490" y="14673"/>
                </a:lnTo>
                <a:lnTo>
                  <a:pt x="9539" y="14648"/>
                </a:lnTo>
                <a:lnTo>
                  <a:pt x="9563" y="14940"/>
                </a:lnTo>
                <a:lnTo>
                  <a:pt x="9442" y="14965"/>
                </a:lnTo>
                <a:lnTo>
                  <a:pt x="9320" y="15038"/>
                </a:lnTo>
                <a:lnTo>
                  <a:pt x="9174" y="15159"/>
                </a:lnTo>
                <a:lnTo>
                  <a:pt x="9101" y="15232"/>
                </a:lnTo>
                <a:lnTo>
                  <a:pt x="9052" y="15281"/>
                </a:lnTo>
                <a:lnTo>
                  <a:pt x="9028" y="15305"/>
                </a:lnTo>
                <a:lnTo>
                  <a:pt x="9028" y="15354"/>
                </a:lnTo>
                <a:lnTo>
                  <a:pt x="9174" y="15354"/>
                </a:lnTo>
                <a:lnTo>
                  <a:pt x="9271" y="15330"/>
                </a:lnTo>
                <a:lnTo>
                  <a:pt x="9442" y="15257"/>
                </a:lnTo>
                <a:lnTo>
                  <a:pt x="9539" y="15208"/>
                </a:lnTo>
                <a:lnTo>
                  <a:pt x="9612" y="15159"/>
                </a:lnTo>
                <a:lnTo>
                  <a:pt x="9661" y="15208"/>
                </a:lnTo>
                <a:lnTo>
                  <a:pt x="9539" y="15281"/>
                </a:lnTo>
                <a:lnTo>
                  <a:pt x="9393" y="15378"/>
                </a:lnTo>
                <a:lnTo>
                  <a:pt x="9296" y="15500"/>
                </a:lnTo>
                <a:lnTo>
                  <a:pt x="9223" y="15622"/>
                </a:lnTo>
                <a:lnTo>
                  <a:pt x="9223" y="15646"/>
                </a:lnTo>
                <a:lnTo>
                  <a:pt x="9223" y="15695"/>
                </a:lnTo>
                <a:lnTo>
                  <a:pt x="9271" y="15743"/>
                </a:lnTo>
                <a:lnTo>
                  <a:pt x="9344" y="15768"/>
                </a:lnTo>
                <a:lnTo>
                  <a:pt x="9417" y="15768"/>
                </a:lnTo>
                <a:lnTo>
                  <a:pt x="9636" y="15670"/>
                </a:lnTo>
                <a:lnTo>
                  <a:pt x="9855" y="15573"/>
                </a:lnTo>
                <a:lnTo>
                  <a:pt x="10123" y="15500"/>
                </a:lnTo>
                <a:lnTo>
                  <a:pt x="10196" y="15524"/>
                </a:lnTo>
                <a:lnTo>
                  <a:pt x="10074" y="15573"/>
                </a:lnTo>
                <a:lnTo>
                  <a:pt x="9953" y="15670"/>
                </a:lnTo>
                <a:lnTo>
                  <a:pt x="9855" y="15768"/>
                </a:lnTo>
                <a:lnTo>
                  <a:pt x="9807" y="15865"/>
                </a:lnTo>
                <a:lnTo>
                  <a:pt x="9807" y="15938"/>
                </a:lnTo>
                <a:lnTo>
                  <a:pt x="9831" y="15987"/>
                </a:lnTo>
                <a:lnTo>
                  <a:pt x="9880" y="16035"/>
                </a:lnTo>
                <a:lnTo>
                  <a:pt x="9928" y="16035"/>
                </a:lnTo>
                <a:lnTo>
                  <a:pt x="10099" y="16011"/>
                </a:lnTo>
                <a:lnTo>
                  <a:pt x="10245" y="15962"/>
                </a:lnTo>
                <a:lnTo>
                  <a:pt x="10537" y="15841"/>
                </a:lnTo>
                <a:lnTo>
                  <a:pt x="10829" y="15768"/>
                </a:lnTo>
                <a:lnTo>
                  <a:pt x="10950" y="15743"/>
                </a:lnTo>
                <a:lnTo>
                  <a:pt x="11096" y="15670"/>
                </a:lnTo>
                <a:lnTo>
                  <a:pt x="11267" y="15719"/>
                </a:lnTo>
                <a:lnTo>
                  <a:pt x="11169" y="15743"/>
                </a:lnTo>
                <a:lnTo>
                  <a:pt x="11072" y="15768"/>
                </a:lnTo>
                <a:lnTo>
                  <a:pt x="10877" y="15865"/>
                </a:lnTo>
                <a:lnTo>
                  <a:pt x="10610" y="15987"/>
                </a:lnTo>
                <a:lnTo>
                  <a:pt x="10488" y="16060"/>
                </a:lnTo>
                <a:lnTo>
                  <a:pt x="10366" y="16157"/>
                </a:lnTo>
                <a:lnTo>
                  <a:pt x="10342" y="16230"/>
                </a:lnTo>
                <a:lnTo>
                  <a:pt x="10366" y="16303"/>
                </a:lnTo>
                <a:lnTo>
                  <a:pt x="10415" y="16352"/>
                </a:lnTo>
                <a:lnTo>
                  <a:pt x="10634" y="16352"/>
                </a:lnTo>
                <a:lnTo>
                  <a:pt x="10780" y="16303"/>
                </a:lnTo>
                <a:lnTo>
                  <a:pt x="11048" y="16181"/>
                </a:lnTo>
                <a:lnTo>
                  <a:pt x="11315" y="16084"/>
                </a:lnTo>
                <a:lnTo>
                  <a:pt x="11437" y="16011"/>
                </a:lnTo>
                <a:lnTo>
                  <a:pt x="11486" y="15962"/>
                </a:lnTo>
                <a:lnTo>
                  <a:pt x="11510" y="15889"/>
                </a:lnTo>
                <a:lnTo>
                  <a:pt x="11510" y="15841"/>
                </a:lnTo>
                <a:lnTo>
                  <a:pt x="11510" y="15816"/>
                </a:lnTo>
                <a:lnTo>
                  <a:pt x="11826" y="15962"/>
                </a:lnTo>
                <a:lnTo>
                  <a:pt x="11583" y="16035"/>
                </a:lnTo>
                <a:lnTo>
                  <a:pt x="11340" y="16108"/>
                </a:lnTo>
                <a:lnTo>
                  <a:pt x="11121" y="16230"/>
                </a:lnTo>
                <a:lnTo>
                  <a:pt x="11048" y="16303"/>
                </a:lnTo>
                <a:lnTo>
                  <a:pt x="10975" y="16376"/>
                </a:lnTo>
                <a:lnTo>
                  <a:pt x="10950" y="16449"/>
                </a:lnTo>
                <a:lnTo>
                  <a:pt x="10950" y="16522"/>
                </a:lnTo>
                <a:lnTo>
                  <a:pt x="10999" y="16571"/>
                </a:lnTo>
                <a:lnTo>
                  <a:pt x="11072" y="16571"/>
                </a:lnTo>
                <a:lnTo>
                  <a:pt x="11291" y="16473"/>
                </a:lnTo>
                <a:lnTo>
                  <a:pt x="11510" y="16376"/>
                </a:lnTo>
                <a:lnTo>
                  <a:pt x="11802" y="16279"/>
                </a:lnTo>
                <a:lnTo>
                  <a:pt x="12094" y="16206"/>
                </a:lnTo>
                <a:lnTo>
                  <a:pt x="12143" y="16181"/>
                </a:lnTo>
                <a:lnTo>
                  <a:pt x="12313" y="16303"/>
                </a:lnTo>
                <a:lnTo>
                  <a:pt x="12021" y="16352"/>
                </a:lnTo>
                <a:lnTo>
                  <a:pt x="11851" y="16376"/>
                </a:lnTo>
                <a:lnTo>
                  <a:pt x="11705" y="16425"/>
                </a:lnTo>
                <a:lnTo>
                  <a:pt x="11559" y="16498"/>
                </a:lnTo>
                <a:lnTo>
                  <a:pt x="11413" y="16571"/>
                </a:lnTo>
                <a:lnTo>
                  <a:pt x="11364" y="16619"/>
                </a:lnTo>
                <a:lnTo>
                  <a:pt x="11340" y="16668"/>
                </a:lnTo>
                <a:lnTo>
                  <a:pt x="11340" y="16717"/>
                </a:lnTo>
                <a:lnTo>
                  <a:pt x="11340" y="16765"/>
                </a:lnTo>
                <a:lnTo>
                  <a:pt x="11364" y="16814"/>
                </a:lnTo>
                <a:lnTo>
                  <a:pt x="11413" y="16863"/>
                </a:lnTo>
                <a:lnTo>
                  <a:pt x="11534" y="16863"/>
                </a:lnTo>
                <a:lnTo>
                  <a:pt x="11778" y="16790"/>
                </a:lnTo>
                <a:lnTo>
                  <a:pt x="12045" y="16717"/>
                </a:lnTo>
                <a:lnTo>
                  <a:pt x="12337" y="16692"/>
                </a:lnTo>
                <a:lnTo>
                  <a:pt x="12629" y="16644"/>
                </a:lnTo>
                <a:lnTo>
                  <a:pt x="12702" y="16741"/>
                </a:lnTo>
                <a:lnTo>
                  <a:pt x="12532" y="16814"/>
                </a:lnTo>
                <a:lnTo>
                  <a:pt x="12362" y="16887"/>
                </a:lnTo>
                <a:lnTo>
                  <a:pt x="11997" y="16984"/>
                </a:lnTo>
                <a:lnTo>
                  <a:pt x="11242" y="17106"/>
                </a:lnTo>
                <a:lnTo>
                  <a:pt x="10658" y="17203"/>
                </a:lnTo>
                <a:lnTo>
                  <a:pt x="10074" y="17252"/>
                </a:lnTo>
                <a:lnTo>
                  <a:pt x="9466" y="17276"/>
                </a:lnTo>
                <a:lnTo>
                  <a:pt x="7860" y="17276"/>
                </a:lnTo>
                <a:lnTo>
                  <a:pt x="7373" y="17228"/>
                </a:lnTo>
                <a:lnTo>
                  <a:pt x="6862" y="17179"/>
                </a:lnTo>
                <a:lnTo>
                  <a:pt x="5865" y="17057"/>
                </a:lnTo>
                <a:lnTo>
                  <a:pt x="4892" y="16863"/>
                </a:lnTo>
                <a:lnTo>
                  <a:pt x="4989" y="16668"/>
                </a:lnTo>
                <a:lnTo>
                  <a:pt x="5110" y="16522"/>
                </a:lnTo>
                <a:lnTo>
                  <a:pt x="5256" y="16376"/>
                </a:lnTo>
                <a:lnTo>
                  <a:pt x="5427" y="16254"/>
                </a:lnTo>
                <a:lnTo>
                  <a:pt x="5597" y="16157"/>
                </a:lnTo>
                <a:lnTo>
                  <a:pt x="5792" y="16060"/>
                </a:lnTo>
                <a:lnTo>
                  <a:pt x="6181" y="15914"/>
                </a:lnTo>
                <a:lnTo>
                  <a:pt x="6546" y="15768"/>
                </a:lnTo>
                <a:lnTo>
                  <a:pt x="6911" y="15622"/>
                </a:lnTo>
                <a:lnTo>
                  <a:pt x="7276" y="15476"/>
                </a:lnTo>
                <a:lnTo>
                  <a:pt x="7641" y="15354"/>
                </a:lnTo>
                <a:lnTo>
                  <a:pt x="7714" y="15330"/>
                </a:lnTo>
                <a:lnTo>
                  <a:pt x="7763" y="15281"/>
                </a:lnTo>
                <a:lnTo>
                  <a:pt x="7787" y="15257"/>
                </a:lnTo>
                <a:lnTo>
                  <a:pt x="7860" y="15159"/>
                </a:lnTo>
                <a:lnTo>
                  <a:pt x="7909" y="15086"/>
                </a:lnTo>
                <a:lnTo>
                  <a:pt x="7957" y="14892"/>
                </a:lnTo>
                <a:lnTo>
                  <a:pt x="7982" y="14697"/>
                </a:lnTo>
                <a:lnTo>
                  <a:pt x="8006" y="14478"/>
                </a:lnTo>
                <a:lnTo>
                  <a:pt x="8055" y="13894"/>
                </a:lnTo>
                <a:lnTo>
                  <a:pt x="8055" y="13286"/>
                </a:lnTo>
                <a:lnTo>
                  <a:pt x="8055" y="12726"/>
                </a:lnTo>
                <a:lnTo>
                  <a:pt x="8030" y="12434"/>
                </a:lnTo>
                <a:lnTo>
                  <a:pt x="7982" y="12167"/>
                </a:lnTo>
                <a:lnTo>
                  <a:pt x="8371" y="12191"/>
                </a:lnTo>
                <a:lnTo>
                  <a:pt x="8760" y="12191"/>
                </a:lnTo>
                <a:lnTo>
                  <a:pt x="9198" y="12167"/>
                </a:lnTo>
                <a:lnTo>
                  <a:pt x="9636" y="12069"/>
                </a:lnTo>
                <a:close/>
                <a:moveTo>
                  <a:pt x="12945" y="0"/>
                </a:moveTo>
                <a:lnTo>
                  <a:pt x="11705" y="49"/>
                </a:lnTo>
                <a:lnTo>
                  <a:pt x="7519" y="49"/>
                </a:lnTo>
                <a:lnTo>
                  <a:pt x="6132" y="73"/>
                </a:lnTo>
                <a:lnTo>
                  <a:pt x="5427" y="49"/>
                </a:lnTo>
                <a:lnTo>
                  <a:pt x="4697" y="49"/>
                </a:lnTo>
                <a:lnTo>
                  <a:pt x="3967" y="73"/>
                </a:lnTo>
                <a:lnTo>
                  <a:pt x="3626" y="98"/>
                </a:lnTo>
                <a:lnTo>
                  <a:pt x="3261" y="146"/>
                </a:lnTo>
                <a:lnTo>
                  <a:pt x="3213" y="171"/>
                </a:lnTo>
                <a:lnTo>
                  <a:pt x="3140" y="244"/>
                </a:lnTo>
                <a:lnTo>
                  <a:pt x="3115" y="292"/>
                </a:lnTo>
                <a:lnTo>
                  <a:pt x="3091" y="365"/>
                </a:lnTo>
                <a:lnTo>
                  <a:pt x="3164" y="1071"/>
                </a:lnTo>
                <a:lnTo>
                  <a:pt x="2994" y="998"/>
                </a:lnTo>
                <a:lnTo>
                  <a:pt x="2823" y="974"/>
                </a:lnTo>
                <a:lnTo>
                  <a:pt x="2434" y="949"/>
                </a:lnTo>
                <a:lnTo>
                  <a:pt x="2045" y="949"/>
                </a:lnTo>
                <a:lnTo>
                  <a:pt x="1728" y="974"/>
                </a:lnTo>
                <a:lnTo>
                  <a:pt x="1339" y="1022"/>
                </a:lnTo>
                <a:lnTo>
                  <a:pt x="1144" y="1047"/>
                </a:lnTo>
                <a:lnTo>
                  <a:pt x="974" y="1095"/>
                </a:lnTo>
                <a:lnTo>
                  <a:pt x="779" y="1168"/>
                </a:lnTo>
                <a:lnTo>
                  <a:pt x="609" y="1266"/>
                </a:lnTo>
                <a:lnTo>
                  <a:pt x="463" y="1387"/>
                </a:lnTo>
                <a:lnTo>
                  <a:pt x="317" y="1509"/>
                </a:lnTo>
                <a:lnTo>
                  <a:pt x="220" y="1679"/>
                </a:lnTo>
                <a:lnTo>
                  <a:pt x="122" y="1825"/>
                </a:lnTo>
                <a:lnTo>
                  <a:pt x="74" y="2020"/>
                </a:lnTo>
                <a:lnTo>
                  <a:pt x="25" y="2190"/>
                </a:lnTo>
                <a:lnTo>
                  <a:pt x="25" y="2385"/>
                </a:lnTo>
                <a:lnTo>
                  <a:pt x="1" y="2604"/>
                </a:lnTo>
                <a:lnTo>
                  <a:pt x="49" y="2993"/>
                </a:lnTo>
                <a:lnTo>
                  <a:pt x="98" y="3431"/>
                </a:lnTo>
                <a:lnTo>
                  <a:pt x="195" y="3821"/>
                </a:lnTo>
                <a:lnTo>
                  <a:pt x="414" y="4551"/>
                </a:lnTo>
                <a:lnTo>
                  <a:pt x="536" y="4988"/>
                </a:lnTo>
                <a:lnTo>
                  <a:pt x="682" y="5451"/>
                </a:lnTo>
                <a:lnTo>
                  <a:pt x="852" y="5913"/>
                </a:lnTo>
                <a:lnTo>
                  <a:pt x="1047" y="6351"/>
                </a:lnTo>
                <a:lnTo>
                  <a:pt x="1242" y="6789"/>
                </a:lnTo>
                <a:lnTo>
                  <a:pt x="1461" y="7203"/>
                </a:lnTo>
                <a:lnTo>
                  <a:pt x="1704" y="7616"/>
                </a:lnTo>
                <a:lnTo>
                  <a:pt x="1972" y="8006"/>
                </a:lnTo>
                <a:lnTo>
                  <a:pt x="2264" y="8371"/>
                </a:lnTo>
                <a:lnTo>
                  <a:pt x="2580" y="8687"/>
                </a:lnTo>
                <a:lnTo>
                  <a:pt x="2896" y="9003"/>
                </a:lnTo>
                <a:lnTo>
                  <a:pt x="3286" y="9271"/>
                </a:lnTo>
                <a:lnTo>
                  <a:pt x="3675" y="9514"/>
                </a:lnTo>
                <a:lnTo>
                  <a:pt x="4089" y="9709"/>
                </a:lnTo>
                <a:lnTo>
                  <a:pt x="4551" y="9879"/>
                </a:lnTo>
                <a:lnTo>
                  <a:pt x="5037" y="9977"/>
                </a:lnTo>
                <a:lnTo>
                  <a:pt x="5037" y="10098"/>
                </a:lnTo>
                <a:lnTo>
                  <a:pt x="5062" y="10196"/>
                </a:lnTo>
                <a:lnTo>
                  <a:pt x="5183" y="10415"/>
                </a:lnTo>
                <a:lnTo>
                  <a:pt x="5329" y="10634"/>
                </a:lnTo>
                <a:lnTo>
                  <a:pt x="5500" y="10828"/>
                </a:lnTo>
                <a:lnTo>
                  <a:pt x="5694" y="11023"/>
                </a:lnTo>
                <a:lnTo>
                  <a:pt x="5889" y="11169"/>
                </a:lnTo>
                <a:lnTo>
                  <a:pt x="6254" y="11437"/>
                </a:lnTo>
                <a:lnTo>
                  <a:pt x="6546" y="11631"/>
                </a:lnTo>
                <a:lnTo>
                  <a:pt x="6862" y="11802"/>
                </a:lnTo>
                <a:lnTo>
                  <a:pt x="7179" y="11948"/>
                </a:lnTo>
                <a:lnTo>
                  <a:pt x="7519" y="12045"/>
                </a:lnTo>
                <a:lnTo>
                  <a:pt x="7471" y="12313"/>
                </a:lnTo>
                <a:lnTo>
                  <a:pt x="7471" y="12580"/>
                </a:lnTo>
                <a:lnTo>
                  <a:pt x="7471" y="12872"/>
                </a:lnTo>
                <a:lnTo>
                  <a:pt x="7519" y="13115"/>
                </a:lnTo>
                <a:lnTo>
                  <a:pt x="7519" y="13407"/>
                </a:lnTo>
                <a:lnTo>
                  <a:pt x="7519" y="13724"/>
                </a:lnTo>
                <a:lnTo>
                  <a:pt x="7471" y="14308"/>
                </a:lnTo>
                <a:lnTo>
                  <a:pt x="7422" y="14624"/>
                </a:lnTo>
                <a:lnTo>
                  <a:pt x="7422" y="14770"/>
                </a:lnTo>
                <a:lnTo>
                  <a:pt x="7422" y="14916"/>
                </a:lnTo>
                <a:lnTo>
                  <a:pt x="7203" y="14965"/>
                </a:lnTo>
                <a:lnTo>
                  <a:pt x="6984" y="15013"/>
                </a:lnTo>
                <a:lnTo>
                  <a:pt x="6741" y="15086"/>
                </a:lnTo>
                <a:lnTo>
                  <a:pt x="6522" y="15184"/>
                </a:lnTo>
                <a:lnTo>
                  <a:pt x="6084" y="15378"/>
                </a:lnTo>
                <a:lnTo>
                  <a:pt x="5670" y="15549"/>
                </a:lnTo>
                <a:lnTo>
                  <a:pt x="5451" y="15646"/>
                </a:lnTo>
                <a:lnTo>
                  <a:pt x="5232" y="15743"/>
                </a:lnTo>
                <a:lnTo>
                  <a:pt x="5037" y="15889"/>
                </a:lnTo>
                <a:lnTo>
                  <a:pt x="4867" y="16011"/>
                </a:lnTo>
                <a:lnTo>
                  <a:pt x="4697" y="16181"/>
                </a:lnTo>
                <a:lnTo>
                  <a:pt x="4551" y="16376"/>
                </a:lnTo>
                <a:lnTo>
                  <a:pt x="4429" y="16571"/>
                </a:lnTo>
                <a:lnTo>
                  <a:pt x="4332" y="16814"/>
                </a:lnTo>
                <a:lnTo>
                  <a:pt x="4308" y="16887"/>
                </a:lnTo>
                <a:lnTo>
                  <a:pt x="4308" y="16936"/>
                </a:lnTo>
                <a:lnTo>
                  <a:pt x="4332" y="16984"/>
                </a:lnTo>
                <a:lnTo>
                  <a:pt x="4356" y="17033"/>
                </a:lnTo>
                <a:lnTo>
                  <a:pt x="4454" y="17106"/>
                </a:lnTo>
                <a:lnTo>
                  <a:pt x="4575" y="17130"/>
                </a:lnTo>
                <a:lnTo>
                  <a:pt x="4746" y="17252"/>
                </a:lnTo>
                <a:lnTo>
                  <a:pt x="4940" y="17374"/>
                </a:lnTo>
                <a:lnTo>
                  <a:pt x="5159" y="17447"/>
                </a:lnTo>
                <a:lnTo>
                  <a:pt x="5402" y="17495"/>
                </a:lnTo>
                <a:lnTo>
                  <a:pt x="5865" y="17568"/>
                </a:lnTo>
                <a:lnTo>
                  <a:pt x="6303" y="17617"/>
                </a:lnTo>
                <a:lnTo>
                  <a:pt x="6984" y="17714"/>
                </a:lnTo>
                <a:lnTo>
                  <a:pt x="7665" y="17763"/>
                </a:lnTo>
                <a:lnTo>
                  <a:pt x="8371" y="17787"/>
                </a:lnTo>
                <a:lnTo>
                  <a:pt x="9052" y="17812"/>
                </a:lnTo>
                <a:lnTo>
                  <a:pt x="9685" y="17787"/>
                </a:lnTo>
                <a:lnTo>
                  <a:pt x="10318" y="17739"/>
                </a:lnTo>
                <a:lnTo>
                  <a:pt x="10950" y="17690"/>
                </a:lnTo>
                <a:lnTo>
                  <a:pt x="11559" y="17593"/>
                </a:lnTo>
                <a:lnTo>
                  <a:pt x="11948" y="17520"/>
                </a:lnTo>
                <a:lnTo>
                  <a:pt x="12410" y="17447"/>
                </a:lnTo>
                <a:lnTo>
                  <a:pt x="12654" y="17398"/>
                </a:lnTo>
                <a:lnTo>
                  <a:pt x="12848" y="17301"/>
                </a:lnTo>
                <a:lnTo>
                  <a:pt x="13018" y="17203"/>
                </a:lnTo>
                <a:lnTo>
                  <a:pt x="13091" y="17130"/>
                </a:lnTo>
                <a:lnTo>
                  <a:pt x="13164" y="17057"/>
                </a:lnTo>
                <a:lnTo>
                  <a:pt x="13237" y="16984"/>
                </a:lnTo>
                <a:lnTo>
                  <a:pt x="13286" y="16911"/>
                </a:lnTo>
                <a:lnTo>
                  <a:pt x="13310" y="16814"/>
                </a:lnTo>
                <a:lnTo>
                  <a:pt x="13286" y="16692"/>
                </a:lnTo>
                <a:lnTo>
                  <a:pt x="13140" y="16400"/>
                </a:lnTo>
                <a:lnTo>
                  <a:pt x="12921" y="16157"/>
                </a:lnTo>
                <a:lnTo>
                  <a:pt x="12702" y="15914"/>
                </a:lnTo>
                <a:lnTo>
                  <a:pt x="12435" y="15719"/>
                </a:lnTo>
                <a:lnTo>
                  <a:pt x="12167" y="15549"/>
                </a:lnTo>
                <a:lnTo>
                  <a:pt x="11851" y="15403"/>
                </a:lnTo>
                <a:lnTo>
                  <a:pt x="11559" y="15281"/>
                </a:lnTo>
                <a:lnTo>
                  <a:pt x="11242" y="15184"/>
                </a:lnTo>
                <a:lnTo>
                  <a:pt x="10780" y="15062"/>
                </a:lnTo>
                <a:lnTo>
                  <a:pt x="10439" y="15013"/>
                </a:lnTo>
                <a:lnTo>
                  <a:pt x="10123" y="14965"/>
                </a:lnTo>
                <a:lnTo>
                  <a:pt x="10147" y="14746"/>
                </a:lnTo>
                <a:lnTo>
                  <a:pt x="10123" y="14502"/>
                </a:lnTo>
                <a:lnTo>
                  <a:pt x="10123" y="14259"/>
                </a:lnTo>
                <a:lnTo>
                  <a:pt x="10099" y="14089"/>
                </a:lnTo>
                <a:lnTo>
                  <a:pt x="10123" y="13529"/>
                </a:lnTo>
                <a:lnTo>
                  <a:pt x="10099" y="12945"/>
                </a:lnTo>
                <a:lnTo>
                  <a:pt x="10099" y="12434"/>
                </a:lnTo>
                <a:lnTo>
                  <a:pt x="10074" y="12191"/>
                </a:lnTo>
                <a:lnTo>
                  <a:pt x="10050" y="12069"/>
                </a:lnTo>
                <a:lnTo>
                  <a:pt x="10001" y="11948"/>
                </a:lnTo>
                <a:lnTo>
                  <a:pt x="10391" y="11777"/>
                </a:lnTo>
                <a:lnTo>
                  <a:pt x="10756" y="11583"/>
                </a:lnTo>
                <a:lnTo>
                  <a:pt x="11096" y="11364"/>
                </a:lnTo>
                <a:lnTo>
                  <a:pt x="11413" y="11096"/>
                </a:lnTo>
                <a:lnTo>
                  <a:pt x="11851" y="10707"/>
                </a:lnTo>
                <a:lnTo>
                  <a:pt x="12118" y="10463"/>
                </a:lnTo>
                <a:lnTo>
                  <a:pt x="12240" y="10317"/>
                </a:lnTo>
                <a:lnTo>
                  <a:pt x="12337" y="10196"/>
                </a:lnTo>
                <a:lnTo>
                  <a:pt x="12508" y="10001"/>
                </a:lnTo>
                <a:lnTo>
                  <a:pt x="12897" y="9879"/>
                </a:lnTo>
                <a:lnTo>
                  <a:pt x="13286" y="9782"/>
                </a:lnTo>
                <a:lnTo>
                  <a:pt x="13675" y="9660"/>
                </a:lnTo>
                <a:lnTo>
                  <a:pt x="13870" y="9587"/>
                </a:lnTo>
                <a:lnTo>
                  <a:pt x="14040" y="9490"/>
                </a:lnTo>
                <a:lnTo>
                  <a:pt x="14478" y="9222"/>
                </a:lnTo>
                <a:lnTo>
                  <a:pt x="14916" y="8906"/>
                </a:lnTo>
                <a:lnTo>
                  <a:pt x="15306" y="8565"/>
                </a:lnTo>
                <a:lnTo>
                  <a:pt x="15646" y="8176"/>
                </a:lnTo>
                <a:lnTo>
                  <a:pt x="15963" y="7787"/>
                </a:lnTo>
                <a:lnTo>
                  <a:pt x="16255" y="7397"/>
                </a:lnTo>
                <a:lnTo>
                  <a:pt x="16522" y="6959"/>
                </a:lnTo>
                <a:lnTo>
                  <a:pt x="16766" y="6521"/>
                </a:lnTo>
                <a:lnTo>
                  <a:pt x="16960" y="6083"/>
                </a:lnTo>
                <a:lnTo>
                  <a:pt x="17155" y="5621"/>
                </a:lnTo>
                <a:lnTo>
                  <a:pt x="17301" y="5134"/>
                </a:lnTo>
                <a:lnTo>
                  <a:pt x="17398" y="4648"/>
                </a:lnTo>
                <a:lnTo>
                  <a:pt x="17544" y="3869"/>
                </a:lnTo>
                <a:lnTo>
                  <a:pt x="17593" y="3431"/>
                </a:lnTo>
                <a:lnTo>
                  <a:pt x="17617" y="2993"/>
                </a:lnTo>
                <a:lnTo>
                  <a:pt x="17593" y="2555"/>
                </a:lnTo>
                <a:lnTo>
                  <a:pt x="17569" y="2361"/>
                </a:lnTo>
                <a:lnTo>
                  <a:pt x="17520" y="2142"/>
                </a:lnTo>
                <a:lnTo>
                  <a:pt x="17447" y="1947"/>
                </a:lnTo>
                <a:lnTo>
                  <a:pt x="17374" y="1777"/>
                </a:lnTo>
                <a:lnTo>
                  <a:pt x="17277" y="1606"/>
                </a:lnTo>
                <a:lnTo>
                  <a:pt x="17131" y="1460"/>
                </a:lnTo>
                <a:lnTo>
                  <a:pt x="17009" y="1339"/>
                </a:lnTo>
                <a:lnTo>
                  <a:pt x="16863" y="1241"/>
                </a:lnTo>
                <a:lnTo>
                  <a:pt x="16693" y="1168"/>
                </a:lnTo>
                <a:lnTo>
                  <a:pt x="16547" y="1120"/>
                </a:lnTo>
                <a:lnTo>
                  <a:pt x="16376" y="1095"/>
                </a:lnTo>
                <a:lnTo>
                  <a:pt x="16206" y="1095"/>
                </a:lnTo>
                <a:lnTo>
                  <a:pt x="15841" y="1120"/>
                </a:lnTo>
                <a:lnTo>
                  <a:pt x="15476" y="1168"/>
                </a:lnTo>
                <a:lnTo>
                  <a:pt x="15087" y="1241"/>
                </a:lnTo>
                <a:lnTo>
                  <a:pt x="14868" y="1266"/>
                </a:lnTo>
                <a:lnTo>
                  <a:pt x="14478" y="1266"/>
                </a:lnTo>
                <a:lnTo>
                  <a:pt x="14308" y="1217"/>
                </a:lnTo>
                <a:lnTo>
                  <a:pt x="14332" y="755"/>
                </a:lnTo>
                <a:lnTo>
                  <a:pt x="14357" y="292"/>
                </a:lnTo>
                <a:lnTo>
                  <a:pt x="14357" y="219"/>
                </a:lnTo>
                <a:lnTo>
                  <a:pt x="14332" y="146"/>
                </a:lnTo>
                <a:lnTo>
                  <a:pt x="14259" y="98"/>
                </a:lnTo>
                <a:lnTo>
                  <a:pt x="14186" y="73"/>
                </a:lnTo>
                <a:lnTo>
                  <a:pt x="13894" y="25"/>
                </a:lnTo>
                <a:lnTo>
                  <a:pt x="13578" y="0"/>
                </a:lnTo>
                <a:close/>
              </a:path>
            </a:pathLst>
          </a:custGeom>
          <a:solidFill>
            <a:schemeClr val="dk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ln>
                <a:solidFill>
                  <a:schemeClr val="accent3">
                    <a:lumMod val="75000"/>
                  </a:schemeClr>
                </a:solidFill>
              </a:ln>
            </a:endParaRPr>
          </a:p>
        </p:txBody>
      </p:sp>
      <p:pic>
        <p:nvPicPr>
          <p:cNvPr id="34820" name="Picture 4" descr="Калужане поучаствуют в конкурсе «Самая спортивная семья России» - Лента  новостей Калуги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839335" y="2999129"/>
            <a:ext cx="1774825" cy="1586568"/>
          </a:xfrm>
          <a:prstGeom prst="ellipse">
            <a:avLst/>
          </a:prstGeom>
          <a:ln w="63500" cap="rnd">
            <a:solidFill>
              <a:srgbClr val="1F8492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34821" name="Picture 5" descr="C:\Users\7272~1\AppData\Local\Temp\Rar$DRa6956.40804\IMG_20241114_105444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295400" y="1498600"/>
            <a:ext cx="1925320" cy="1925320"/>
          </a:xfrm>
          <a:prstGeom prst="rect">
            <a:avLst/>
          </a:prstGeom>
          <a:noFill/>
        </p:spPr>
      </p:pic>
      <p:pic>
        <p:nvPicPr>
          <p:cNvPr id="34822" name="Picture 6" descr="C:\Users\7272~1\AppData\Local\Temp\Rar$DRa6956.41774\IMG_20241114_104256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067560" y="4505960"/>
            <a:ext cx="2098040" cy="1823720"/>
          </a:xfrm>
          <a:prstGeom prst="rect">
            <a:avLst/>
          </a:prstGeom>
          <a:noFill/>
        </p:spPr>
      </p:pic>
      <p:pic>
        <p:nvPicPr>
          <p:cNvPr id="34823" name="Picture 7" descr="C:\Users\7272~1\AppData\Local\Temp\Rar$DRa6956.43298\IMG_20241114_103107.jp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909560" y="1214120"/>
            <a:ext cx="1833880" cy="1833880"/>
          </a:xfrm>
          <a:prstGeom prst="rect">
            <a:avLst/>
          </a:prstGeom>
          <a:noFill/>
        </p:spPr>
      </p:pic>
      <p:pic>
        <p:nvPicPr>
          <p:cNvPr id="34824" name="Picture 8" descr="C:\Users\7272~1\AppData\Local\Temp\Rar$DRa6956.44120\IMG_20241114_100813.jp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493000" y="4168289"/>
            <a:ext cx="2123440" cy="1963570"/>
          </a:xfrm>
          <a:prstGeom prst="rect">
            <a:avLst/>
          </a:prstGeom>
          <a:noFill/>
        </p:spPr>
      </p:pic>
      <p:pic>
        <p:nvPicPr>
          <p:cNvPr id="34825" name="Picture 9" descr="C:\Users\7272~1\AppData\Local\Temp\Rar$DRa6956.45303\IMG_20241114_095110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0" y="3053080"/>
            <a:ext cx="2067560" cy="2067560"/>
          </a:xfrm>
          <a:prstGeom prst="rect">
            <a:avLst/>
          </a:prstGeom>
          <a:noFill/>
        </p:spPr>
      </p:pic>
      <p:pic>
        <p:nvPicPr>
          <p:cNvPr id="34826" name="Picture 10" descr="C:\Users\7272~1\AppData\Local\Temp\Rar$DRa6956.46665\IMG_20241114_083245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9809708" y="3274060"/>
            <a:ext cx="2143760" cy="2143760"/>
          </a:xfrm>
          <a:prstGeom prst="rect">
            <a:avLst/>
          </a:prstGeom>
          <a:noFill/>
        </p:spPr>
      </p:pic>
      <p:sp>
        <p:nvSpPr>
          <p:cNvPr id="76" name="Стрелка вправо 75"/>
          <p:cNvSpPr/>
          <p:nvPr/>
        </p:nvSpPr>
        <p:spPr>
          <a:xfrm>
            <a:off x="4842271" y="5604734"/>
            <a:ext cx="2448560" cy="772160"/>
          </a:xfrm>
          <a:prstGeom prst="rightArrow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b="1" dirty="0" smtClean="0"/>
              <a:t>Практикум для родителей </a:t>
            </a:r>
            <a:r>
              <a:rPr lang="ru-RU" sz="1200" dirty="0" smtClean="0"/>
              <a:t>«Детская Йога»</a:t>
            </a:r>
            <a:endParaRPr lang="ru-RU" sz="1200" dirty="0"/>
          </a:p>
        </p:txBody>
      </p:sp>
      <p:sp>
        <p:nvSpPr>
          <p:cNvPr id="77" name="Стрелка вправо 76"/>
          <p:cNvSpPr/>
          <p:nvPr/>
        </p:nvSpPr>
        <p:spPr>
          <a:xfrm>
            <a:off x="5516880" y="1199804"/>
            <a:ext cx="2397760" cy="690880"/>
          </a:xfrm>
          <a:prstGeom prst="rightArrow">
            <a:avLst/>
          </a:prstGeom>
          <a:ln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chemeClr val="tx1"/>
                </a:solidFill>
              </a:rPr>
              <a:t>Утренняя гимнастика </a:t>
            </a:r>
            <a:r>
              <a:rPr lang="ru-RU" sz="1200" dirty="0" smtClean="0">
                <a:solidFill>
                  <a:schemeClr val="tx1"/>
                </a:solidFill>
              </a:rPr>
              <a:t>«Семейная зарядка»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78" name="Стрелка вправо 77"/>
          <p:cNvSpPr/>
          <p:nvPr/>
        </p:nvSpPr>
        <p:spPr>
          <a:xfrm>
            <a:off x="7290830" y="3149919"/>
            <a:ext cx="2452609" cy="731520"/>
          </a:xfrm>
          <a:prstGeom prst="rightArrow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b="1" dirty="0" smtClean="0"/>
              <a:t>Мастер-класс</a:t>
            </a:r>
          </a:p>
          <a:p>
            <a:pPr algn="ctr"/>
            <a:r>
              <a:rPr lang="ru-RU" sz="1200" dirty="0" smtClean="0"/>
              <a:t> «Физкультура вместе с мамой»</a:t>
            </a:r>
            <a:endParaRPr lang="ru-RU" sz="1200" dirty="0"/>
          </a:p>
        </p:txBody>
      </p:sp>
      <p:sp>
        <p:nvSpPr>
          <p:cNvPr id="79" name="Стрелка влево 78"/>
          <p:cNvSpPr/>
          <p:nvPr/>
        </p:nvSpPr>
        <p:spPr>
          <a:xfrm>
            <a:off x="3237547" y="1608466"/>
            <a:ext cx="2489200" cy="711200"/>
          </a:xfrm>
          <a:prstGeom prst="leftArrow">
            <a:avLst/>
          </a:prstGeom>
          <a:solidFill>
            <a:schemeClr val="accent2">
              <a:lumMod val="20000"/>
              <a:lumOff val="80000"/>
            </a:schemeClr>
          </a:solidFill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b="1" dirty="0" smtClean="0"/>
              <a:t>Спортивное развлечение </a:t>
            </a:r>
            <a:r>
              <a:rPr lang="ru-RU" sz="1200" dirty="0" smtClean="0"/>
              <a:t>«Семейная Спартакиада»</a:t>
            </a:r>
            <a:endParaRPr lang="ru-RU" sz="1200" dirty="0"/>
          </a:p>
        </p:txBody>
      </p:sp>
      <p:sp>
        <p:nvSpPr>
          <p:cNvPr id="80" name="Стрелка влево 79"/>
          <p:cNvSpPr/>
          <p:nvPr/>
        </p:nvSpPr>
        <p:spPr>
          <a:xfrm>
            <a:off x="2092960" y="3789680"/>
            <a:ext cx="2509520" cy="660400"/>
          </a:xfrm>
          <a:prstGeom prst="leftArrow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b="1" dirty="0" smtClean="0"/>
              <a:t>Спортивная эстафета</a:t>
            </a:r>
          </a:p>
          <a:p>
            <a:pPr algn="ctr"/>
            <a:r>
              <a:rPr lang="ru-RU" sz="1200" dirty="0" smtClean="0"/>
              <a:t> «Папа может»</a:t>
            </a:r>
            <a:endParaRPr lang="ru-RU" sz="1200" dirty="0"/>
          </a:p>
        </p:txBody>
      </p:sp>
      <p:sp>
        <p:nvSpPr>
          <p:cNvPr id="81" name="Стрелка влево 80"/>
          <p:cNvSpPr/>
          <p:nvPr/>
        </p:nvSpPr>
        <p:spPr>
          <a:xfrm>
            <a:off x="4104640" y="4922519"/>
            <a:ext cx="2824480" cy="762000"/>
          </a:xfrm>
          <a:prstGeom prst="leftArrow">
            <a:avLst/>
          </a:prstGeom>
          <a:solidFill>
            <a:schemeClr val="accent6">
              <a:lumMod val="60000"/>
              <a:lumOff val="40000"/>
            </a:schemeClr>
          </a:solidFill>
          <a:ln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chemeClr val="tx1"/>
                </a:solidFill>
              </a:rPr>
              <a:t>Спортивно-интеллектуальная игра</a:t>
            </a:r>
            <a:r>
              <a:rPr lang="ru-RU" sz="1200" dirty="0" smtClean="0">
                <a:solidFill>
                  <a:schemeClr val="tx1"/>
                </a:solidFill>
              </a:rPr>
              <a:t> «</a:t>
            </a:r>
            <a:r>
              <a:rPr lang="ru-RU" sz="1200" dirty="0" err="1" smtClean="0">
                <a:solidFill>
                  <a:schemeClr val="tx1"/>
                </a:solidFill>
              </a:rPr>
              <a:t>Форт-Боярд</a:t>
            </a:r>
            <a:r>
              <a:rPr lang="ru-RU" sz="1200" dirty="0" smtClean="0">
                <a:solidFill>
                  <a:schemeClr val="tx1"/>
                </a:solidFill>
              </a:rPr>
              <a:t>»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53" name="Прямоугольник 52"/>
          <p:cNvSpPr/>
          <p:nvPr/>
        </p:nvSpPr>
        <p:spPr>
          <a:xfrm>
            <a:off x="9037320" y="133929"/>
            <a:ext cx="3099979" cy="553355"/>
          </a:xfrm>
          <a:prstGeom prst="rect">
            <a:avLst/>
          </a:prstGeom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rgbClr val="00B0F0"/>
                </a:solidFill>
              </a:rPr>
              <a:t>Иллюстрации деятельности родительских клубов</a:t>
            </a:r>
            <a:endParaRPr lang="ru-RU" dirty="0">
              <a:solidFill>
                <a:srgbClr val="00B0F0"/>
              </a:solidFill>
            </a:endParaRPr>
          </a:p>
        </p:txBody>
      </p:sp>
      <p:sp>
        <p:nvSpPr>
          <p:cNvPr id="54" name="Стрелка влево 53"/>
          <p:cNvSpPr/>
          <p:nvPr/>
        </p:nvSpPr>
        <p:spPr>
          <a:xfrm>
            <a:off x="3242071" y="2329923"/>
            <a:ext cx="1435806" cy="762000"/>
          </a:xfrm>
          <a:prstGeom prst="leftArrow">
            <a:avLst/>
          </a:prstGeom>
          <a:solidFill>
            <a:schemeClr val="accent6">
              <a:lumMod val="60000"/>
              <a:lumOff val="40000"/>
            </a:schemeClr>
          </a:solidFill>
          <a:ln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chemeClr val="tx1"/>
                </a:solidFill>
              </a:rPr>
              <a:t>Кросс-нации, дни здоровья</a:t>
            </a:r>
            <a:endParaRPr lang="ru-RU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9340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4">
            <a:extLst>
              <a:ext uri="{FF2B5EF4-FFF2-40B4-BE49-F238E27FC236}">
                <a16:creationId xmlns:a16="http://schemas.microsoft.com/office/drawing/2014/main" xmlns="" id="{B210F6F7-62F4-4E9E-9E2E-B49C62584D97}"/>
              </a:ext>
            </a:extLst>
          </p:cNvPr>
          <p:cNvSpPr/>
          <p:nvPr/>
        </p:nvSpPr>
        <p:spPr>
          <a:xfrm>
            <a:off x="1" y="0"/>
            <a:ext cx="8717280" cy="1605281"/>
          </a:xfrm>
          <a:custGeom>
            <a:avLst/>
            <a:gdLst>
              <a:gd name="connsiteX0" fmla="*/ 0 w 5880100"/>
              <a:gd name="connsiteY0" fmla="*/ 0 h 5880100"/>
              <a:gd name="connsiteX1" fmla="*/ 5880100 w 5880100"/>
              <a:gd name="connsiteY1" fmla="*/ 0 h 5880100"/>
              <a:gd name="connsiteX2" fmla="*/ 5880100 w 5880100"/>
              <a:gd name="connsiteY2" fmla="*/ 5880100 h 5880100"/>
              <a:gd name="connsiteX3" fmla="*/ 0 w 5880100"/>
              <a:gd name="connsiteY3" fmla="*/ 5880100 h 5880100"/>
              <a:gd name="connsiteX4" fmla="*/ 0 w 5880100"/>
              <a:gd name="connsiteY4" fmla="*/ 0 h 5880100"/>
              <a:gd name="connsiteX0" fmla="*/ 0 w 6615112"/>
              <a:gd name="connsiteY0" fmla="*/ 0 h 6615112"/>
              <a:gd name="connsiteX1" fmla="*/ 5880100 w 6615112"/>
              <a:gd name="connsiteY1" fmla="*/ 0 h 6615112"/>
              <a:gd name="connsiteX2" fmla="*/ 5880100 w 6615112"/>
              <a:gd name="connsiteY2" fmla="*/ 5880100 h 6615112"/>
              <a:gd name="connsiteX3" fmla="*/ 0 w 6615112"/>
              <a:gd name="connsiteY3" fmla="*/ 5880100 h 6615112"/>
              <a:gd name="connsiteX4" fmla="*/ 0 w 6615112"/>
              <a:gd name="connsiteY4" fmla="*/ 0 h 6615112"/>
              <a:gd name="connsiteX0" fmla="*/ 0 w 6145189"/>
              <a:gd name="connsiteY0" fmla="*/ 0 h 6082525"/>
              <a:gd name="connsiteX1" fmla="*/ 5880100 w 6145189"/>
              <a:gd name="connsiteY1" fmla="*/ 0 h 6082525"/>
              <a:gd name="connsiteX2" fmla="*/ 3898900 w 6145189"/>
              <a:gd name="connsiteY2" fmla="*/ 3035300 h 6082525"/>
              <a:gd name="connsiteX3" fmla="*/ 0 w 6145189"/>
              <a:gd name="connsiteY3" fmla="*/ 5880100 h 6082525"/>
              <a:gd name="connsiteX4" fmla="*/ 0 w 6145189"/>
              <a:gd name="connsiteY4" fmla="*/ 0 h 6082525"/>
              <a:gd name="connsiteX0" fmla="*/ 0 w 6085854"/>
              <a:gd name="connsiteY0" fmla="*/ 0 h 6135502"/>
              <a:gd name="connsiteX1" fmla="*/ 5880100 w 6085854"/>
              <a:gd name="connsiteY1" fmla="*/ 0 h 6135502"/>
              <a:gd name="connsiteX2" fmla="*/ 3898900 w 6085854"/>
              <a:gd name="connsiteY2" fmla="*/ 3035300 h 6135502"/>
              <a:gd name="connsiteX3" fmla="*/ 0 w 6085854"/>
              <a:gd name="connsiteY3" fmla="*/ 5880100 h 6135502"/>
              <a:gd name="connsiteX4" fmla="*/ 0 w 6085854"/>
              <a:gd name="connsiteY4" fmla="*/ 0 h 6135502"/>
              <a:gd name="connsiteX0" fmla="*/ 0 w 6113652"/>
              <a:gd name="connsiteY0" fmla="*/ 0 h 6259192"/>
              <a:gd name="connsiteX1" fmla="*/ 5880100 w 6113652"/>
              <a:gd name="connsiteY1" fmla="*/ 0 h 6259192"/>
              <a:gd name="connsiteX2" fmla="*/ 4318000 w 6113652"/>
              <a:gd name="connsiteY2" fmla="*/ 4038600 h 6259192"/>
              <a:gd name="connsiteX3" fmla="*/ 0 w 6113652"/>
              <a:gd name="connsiteY3" fmla="*/ 5880100 h 6259192"/>
              <a:gd name="connsiteX4" fmla="*/ 0 w 6113652"/>
              <a:gd name="connsiteY4" fmla="*/ 0 h 6259192"/>
              <a:gd name="connsiteX0" fmla="*/ 0 w 6124861"/>
              <a:gd name="connsiteY0" fmla="*/ 0 h 6340446"/>
              <a:gd name="connsiteX1" fmla="*/ 5880100 w 6124861"/>
              <a:gd name="connsiteY1" fmla="*/ 0 h 6340446"/>
              <a:gd name="connsiteX2" fmla="*/ 4318000 w 6124861"/>
              <a:gd name="connsiteY2" fmla="*/ 4038600 h 6340446"/>
              <a:gd name="connsiteX3" fmla="*/ 0 w 6124861"/>
              <a:gd name="connsiteY3" fmla="*/ 5880100 h 6340446"/>
              <a:gd name="connsiteX4" fmla="*/ 0 w 6124861"/>
              <a:gd name="connsiteY4" fmla="*/ 0 h 6340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24861" h="6340446">
                <a:moveTo>
                  <a:pt x="0" y="0"/>
                </a:moveTo>
                <a:lnTo>
                  <a:pt x="5880100" y="0"/>
                </a:lnTo>
                <a:cubicBezTo>
                  <a:pt x="6860117" y="980017"/>
                  <a:pt x="4599517" y="1788583"/>
                  <a:pt x="4318000" y="4038600"/>
                </a:cubicBezTo>
                <a:cubicBezTo>
                  <a:pt x="4036483" y="6288617"/>
                  <a:pt x="980017" y="6860117"/>
                  <a:pt x="0" y="5880100"/>
                </a:cubicBezTo>
                <a:lnTo>
                  <a:pt x="0" y="0"/>
                </a:lnTo>
                <a:close/>
              </a:path>
            </a:pathLst>
          </a:cu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indent="449263" algn="just" fontAlgn="base">
              <a:spcBef>
                <a:spcPct val="0"/>
              </a:spcBef>
              <a:spcAft>
                <a:spcPct val="0"/>
              </a:spcAft>
            </a:pPr>
            <a:r>
              <a:rPr lang="ru-RU" b="1" dirty="0" smtClean="0">
                <a:solidFill>
                  <a:schemeClr val="tx1"/>
                </a:solidFill>
                <a:latin typeface="Calibri" charset="-52"/>
                <a:ea typeface="Times New Roman" pitchFamily="18" charset="0"/>
                <a:cs typeface="Times New Roman" pitchFamily="18" charset="0"/>
              </a:rPr>
              <a:t>                                  Клуб «Содружество «Родитель +»</a:t>
            </a:r>
            <a:endParaRPr lang="ru-RU" sz="10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lvl="0" indent="449263" algn="just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solidFill>
                  <a:schemeClr val="tx1"/>
                </a:solidFill>
                <a:latin typeface="Calibri" charset="-52"/>
                <a:ea typeface="Times New Roman" pitchFamily="18" charset="0"/>
                <a:cs typeface="Times New Roman" pitchFamily="18" charset="0"/>
              </a:rPr>
              <a:t>Цель: создание просветительской платформы для эффективного взаимодействия родителей и педагогов, повышение родительской компетентности и их педагогической культуры в вопросах образования на этапе дошкольного детства .</a:t>
            </a:r>
            <a:endParaRPr lang="ru-RU" b="1" dirty="0" smtClean="0"/>
          </a:p>
        </p:txBody>
      </p:sp>
      <p:sp>
        <p:nvSpPr>
          <p:cNvPr id="12" name="Прямоугольник 11"/>
          <p:cNvSpPr/>
          <p:nvPr/>
        </p:nvSpPr>
        <p:spPr>
          <a:xfrm>
            <a:off x="2204184" y="5303519"/>
            <a:ext cx="247369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/>
              <a:t> </a:t>
            </a:r>
            <a:endParaRPr lang="ru-RU" dirty="0"/>
          </a:p>
        </p:txBody>
      </p:sp>
      <p:grpSp>
        <p:nvGrpSpPr>
          <p:cNvPr id="2" name="Group 9">
            <a:extLst>
              <a:ext uri="{FF2B5EF4-FFF2-40B4-BE49-F238E27FC236}">
                <a16:creationId xmlns:a16="http://schemas.microsoft.com/office/drawing/2014/main" xmlns="" id="{2EB978E7-A19C-4366-B94D-EEC57A5AE8DC}"/>
              </a:ext>
            </a:extLst>
          </p:cNvPr>
          <p:cNvGrpSpPr/>
          <p:nvPr/>
        </p:nvGrpSpPr>
        <p:grpSpPr>
          <a:xfrm>
            <a:off x="10027921" y="134239"/>
            <a:ext cx="1950720" cy="1867281"/>
            <a:chOff x="6705600" y="1238250"/>
            <a:chExt cx="866776" cy="866776"/>
          </a:xfrm>
        </p:grpSpPr>
        <p:sp>
          <p:nvSpPr>
            <p:cNvPr id="20" name="Oval 8">
              <a:extLst>
                <a:ext uri="{FF2B5EF4-FFF2-40B4-BE49-F238E27FC236}">
                  <a16:creationId xmlns:a16="http://schemas.microsoft.com/office/drawing/2014/main" xmlns="" id="{4A46D147-0CC5-4735-AE1F-65BCC6509DC0}"/>
                </a:ext>
              </a:extLst>
            </p:cNvPr>
            <p:cNvSpPr/>
            <p:nvPr/>
          </p:nvSpPr>
          <p:spPr>
            <a:xfrm>
              <a:off x="6705600" y="1238250"/>
              <a:ext cx="866776" cy="866776"/>
            </a:xfrm>
            <a:prstGeom prst="ellipse">
              <a:avLst/>
            </a:prstGeom>
            <a:ln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1" name="Oval 7">
              <a:extLst>
                <a:ext uri="{FF2B5EF4-FFF2-40B4-BE49-F238E27FC236}">
                  <a16:creationId xmlns:a16="http://schemas.microsoft.com/office/drawing/2014/main" xmlns="" id="{97103F70-3F4B-4955-9BCE-2928397D6D93}"/>
                </a:ext>
              </a:extLst>
            </p:cNvPr>
            <p:cNvSpPr/>
            <p:nvPr/>
          </p:nvSpPr>
          <p:spPr>
            <a:xfrm>
              <a:off x="6800851" y="1333501"/>
              <a:ext cx="676275" cy="676275"/>
            </a:xfrm>
            <a:prstGeom prst="ellipse">
              <a:avLst/>
            </a:prstGeom>
            <a:ln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ru-RU" sz="6000" dirty="0" smtClean="0"/>
                <a:t>2</a:t>
              </a:r>
              <a:endParaRPr lang="en-US" sz="6000" dirty="0"/>
            </a:p>
          </p:txBody>
        </p:sp>
      </p:grpSp>
      <p:pic>
        <p:nvPicPr>
          <p:cNvPr id="33" name="Рисунок 32">
            <a:extLst>
              <a:ext uri="{FF2B5EF4-FFF2-40B4-BE49-F238E27FC236}">
                <a16:creationId xmlns:a16="http://schemas.microsoft.com/office/drawing/2014/main" xmlns="" id="{F5A915BA-698F-4574-83F2-CC987DC1D5F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87158" y="134239"/>
            <a:ext cx="1586530" cy="428112"/>
          </a:xfrm>
          <a:prstGeom prst="rect">
            <a:avLst/>
          </a:prstGeom>
        </p:spPr>
      </p:pic>
      <p:grpSp>
        <p:nvGrpSpPr>
          <p:cNvPr id="3" name="Google Shape;541;p41"/>
          <p:cNvGrpSpPr/>
          <p:nvPr/>
        </p:nvGrpSpPr>
        <p:grpSpPr>
          <a:xfrm>
            <a:off x="10576561" y="1366378"/>
            <a:ext cx="934719" cy="1224422"/>
            <a:chOff x="9901824" y="937343"/>
            <a:chExt cx="744273" cy="793950"/>
          </a:xfrm>
        </p:grpSpPr>
        <p:grpSp>
          <p:nvGrpSpPr>
            <p:cNvPr id="4" name="Google Shape;542;p41"/>
            <p:cNvGrpSpPr/>
            <p:nvPr/>
          </p:nvGrpSpPr>
          <p:grpSpPr>
            <a:xfrm>
              <a:off x="9901824" y="937343"/>
              <a:ext cx="744273" cy="793950"/>
              <a:chOff x="9901824" y="937343"/>
              <a:chExt cx="744273" cy="793950"/>
            </a:xfrm>
          </p:grpSpPr>
          <p:sp>
            <p:nvSpPr>
              <p:cNvPr id="42" name="Google Shape;543;p41"/>
              <p:cNvSpPr/>
              <p:nvPr/>
            </p:nvSpPr>
            <p:spPr>
              <a:xfrm>
                <a:off x="10463799" y="1043794"/>
                <a:ext cx="76068" cy="75403"/>
              </a:xfrm>
              <a:custGeom>
                <a:avLst/>
                <a:gdLst/>
                <a:ahLst/>
                <a:cxnLst/>
                <a:rect l="l" t="t" r="r" b="b"/>
                <a:pathLst>
                  <a:path w="133" h="132" extrusionOk="0">
                    <a:moveTo>
                      <a:pt x="12" y="132"/>
                    </a:moveTo>
                    <a:cubicBezTo>
                      <a:pt x="9" y="132"/>
                      <a:pt x="6" y="131"/>
                      <a:pt x="4" y="128"/>
                    </a:cubicBezTo>
                    <a:cubicBezTo>
                      <a:pt x="0" y="124"/>
                      <a:pt x="0" y="118"/>
                      <a:pt x="4" y="114"/>
                    </a:cubicBezTo>
                    <a:cubicBezTo>
                      <a:pt x="113" y="4"/>
                      <a:pt x="113" y="4"/>
                      <a:pt x="113" y="4"/>
                    </a:cubicBezTo>
                    <a:cubicBezTo>
                      <a:pt x="118" y="0"/>
                      <a:pt x="124" y="0"/>
                      <a:pt x="128" y="4"/>
                    </a:cubicBezTo>
                    <a:cubicBezTo>
                      <a:pt x="133" y="8"/>
                      <a:pt x="133" y="15"/>
                      <a:pt x="128" y="19"/>
                    </a:cubicBezTo>
                    <a:cubicBezTo>
                      <a:pt x="19" y="128"/>
                      <a:pt x="19" y="128"/>
                      <a:pt x="19" y="128"/>
                    </a:cubicBezTo>
                    <a:cubicBezTo>
                      <a:pt x="17" y="131"/>
                      <a:pt x="14" y="132"/>
                      <a:pt x="12" y="132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4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" name="Google Shape;544;p41"/>
              <p:cNvSpPr/>
              <p:nvPr/>
            </p:nvSpPr>
            <p:spPr>
              <a:xfrm>
                <a:off x="10546077" y="1303491"/>
                <a:ext cx="100020" cy="11976"/>
              </a:xfrm>
              <a:custGeom>
                <a:avLst/>
                <a:gdLst/>
                <a:ahLst/>
                <a:cxnLst/>
                <a:rect l="l" t="t" r="r" b="b"/>
                <a:pathLst>
                  <a:path w="175" h="21" extrusionOk="0">
                    <a:moveTo>
                      <a:pt x="165" y="21"/>
                    </a:moveTo>
                    <a:cubicBezTo>
                      <a:pt x="10" y="21"/>
                      <a:pt x="10" y="21"/>
                      <a:pt x="10" y="21"/>
                    </a:cubicBezTo>
                    <a:cubicBezTo>
                      <a:pt x="4" y="21"/>
                      <a:pt x="0" y="17"/>
                      <a:pt x="0" y="11"/>
                    </a:cubicBezTo>
                    <a:cubicBezTo>
                      <a:pt x="0" y="5"/>
                      <a:pt x="4" y="0"/>
                      <a:pt x="10" y="0"/>
                    </a:cubicBezTo>
                    <a:cubicBezTo>
                      <a:pt x="165" y="0"/>
                      <a:pt x="165" y="0"/>
                      <a:pt x="165" y="0"/>
                    </a:cubicBezTo>
                    <a:cubicBezTo>
                      <a:pt x="171" y="0"/>
                      <a:pt x="175" y="5"/>
                      <a:pt x="175" y="11"/>
                    </a:cubicBezTo>
                    <a:cubicBezTo>
                      <a:pt x="175" y="17"/>
                      <a:pt x="171" y="21"/>
                      <a:pt x="165" y="2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4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" name="Google Shape;545;p41"/>
              <p:cNvSpPr/>
              <p:nvPr/>
            </p:nvSpPr>
            <p:spPr>
              <a:xfrm>
                <a:off x="10463799" y="1499539"/>
                <a:ext cx="76068" cy="75625"/>
              </a:xfrm>
              <a:custGeom>
                <a:avLst/>
                <a:gdLst/>
                <a:ahLst/>
                <a:cxnLst/>
                <a:rect l="l" t="t" r="r" b="b"/>
                <a:pathLst>
                  <a:path w="133" h="132" extrusionOk="0">
                    <a:moveTo>
                      <a:pt x="121" y="132"/>
                    </a:moveTo>
                    <a:cubicBezTo>
                      <a:pt x="119" y="132"/>
                      <a:pt x="116" y="131"/>
                      <a:pt x="114" y="129"/>
                    </a:cubicBezTo>
                    <a:cubicBezTo>
                      <a:pt x="5" y="19"/>
                      <a:pt x="5" y="19"/>
                      <a:pt x="5" y="19"/>
                    </a:cubicBezTo>
                    <a:cubicBezTo>
                      <a:pt x="0" y="15"/>
                      <a:pt x="0" y="8"/>
                      <a:pt x="5" y="4"/>
                    </a:cubicBezTo>
                    <a:cubicBezTo>
                      <a:pt x="9" y="0"/>
                      <a:pt x="15" y="0"/>
                      <a:pt x="20" y="4"/>
                    </a:cubicBezTo>
                    <a:cubicBezTo>
                      <a:pt x="129" y="114"/>
                      <a:pt x="129" y="114"/>
                      <a:pt x="129" y="114"/>
                    </a:cubicBezTo>
                    <a:cubicBezTo>
                      <a:pt x="133" y="118"/>
                      <a:pt x="133" y="124"/>
                      <a:pt x="129" y="129"/>
                    </a:cubicBezTo>
                    <a:cubicBezTo>
                      <a:pt x="127" y="131"/>
                      <a:pt x="124" y="132"/>
                      <a:pt x="121" y="132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4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" name="Google Shape;546;p41"/>
              <p:cNvSpPr/>
              <p:nvPr/>
            </p:nvSpPr>
            <p:spPr>
              <a:xfrm>
                <a:off x="10008275" y="1500204"/>
                <a:ext cx="76068" cy="74960"/>
              </a:xfrm>
              <a:custGeom>
                <a:avLst/>
                <a:gdLst/>
                <a:ahLst/>
                <a:cxnLst/>
                <a:rect l="l" t="t" r="r" b="b"/>
                <a:pathLst>
                  <a:path w="133" h="131" extrusionOk="0">
                    <a:moveTo>
                      <a:pt x="12" y="131"/>
                    </a:moveTo>
                    <a:cubicBezTo>
                      <a:pt x="9" y="131"/>
                      <a:pt x="7" y="130"/>
                      <a:pt x="5" y="128"/>
                    </a:cubicBezTo>
                    <a:cubicBezTo>
                      <a:pt x="0" y="124"/>
                      <a:pt x="0" y="117"/>
                      <a:pt x="5" y="113"/>
                    </a:cubicBezTo>
                    <a:cubicBezTo>
                      <a:pt x="114" y="4"/>
                      <a:pt x="114" y="4"/>
                      <a:pt x="114" y="4"/>
                    </a:cubicBezTo>
                    <a:cubicBezTo>
                      <a:pt x="118" y="0"/>
                      <a:pt x="125" y="0"/>
                      <a:pt x="129" y="4"/>
                    </a:cubicBezTo>
                    <a:cubicBezTo>
                      <a:pt x="133" y="8"/>
                      <a:pt x="133" y="14"/>
                      <a:pt x="129" y="19"/>
                    </a:cubicBezTo>
                    <a:cubicBezTo>
                      <a:pt x="19" y="128"/>
                      <a:pt x="19" y="128"/>
                      <a:pt x="19" y="128"/>
                    </a:cubicBezTo>
                    <a:cubicBezTo>
                      <a:pt x="17" y="130"/>
                      <a:pt x="15" y="131"/>
                      <a:pt x="12" y="13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4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" name="Google Shape;547;p41"/>
              <p:cNvSpPr/>
              <p:nvPr/>
            </p:nvSpPr>
            <p:spPr>
              <a:xfrm>
                <a:off x="9901824" y="1303934"/>
                <a:ext cx="100020" cy="11976"/>
              </a:xfrm>
              <a:custGeom>
                <a:avLst/>
                <a:gdLst/>
                <a:ahLst/>
                <a:cxnLst/>
                <a:rect l="l" t="t" r="r" b="b"/>
                <a:pathLst>
                  <a:path w="175" h="21" extrusionOk="0">
                    <a:moveTo>
                      <a:pt x="165" y="21"/>
                    </a:moveTo>
                    <a:cubicBezTo>
                      <a:pt x="10" y="21"/>
                      <a:pt x="10" y="21"/>
                      <a:pt x="10" y="21"/>
                    </a:cubicBezTo>
                    <a:cubicBezTo>
                      <a:pt x="4" y="21"/>
                      <a:pt x="0" y="16"/>
                      <a:pt x="0" y="10"/>
                    </a:cubicBezTo>
                    <a:cubicBezTo>
                      <a:pt x="0" y="5"/>
                      <a:pt x="4" y="0"/>
                      <a:pt x="10" y="0"/>
                    </a:cubicBezTo>
                    <a:cubicBezTo>
                      <a:pt x="165" y="0"/>
                      <a:pt x="165" y="0"/>
                      <a:pt x="165" y="0"/>
                    </a:cubicBezTo>
                    <a:cubicBezTo>
                      <a:pt x="171" y="0"/>
                      <a:pt x="175" y="5"/>
                      <a:pt x="175" y="10"/>
                    </a:cubicBezTo>
                    <a:cubicBezTo>
                      <a:pt x="175" y="16"/>
                      <a:pt x="171" y="21"/>
                      <a:pt x="165" y="2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4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" name="Google Shape;548;p41"/>
              <p:cNvSpPr/>
              <p:nvPr/>
            </p:nvSpPr>
            <p:spPr>
              <a:xfrm>
                <a:off x="10008275" y="1044237"/>
                <a:ext cx="75403" cy="74960"/>
              </a:xfrm>
              <a:custGeom>
                <a:avLst/>
                <a:gdLst/>
                <a:ahLst/>
                <a:cxnLst/>
                <a:rect l="l" t="t" r="r" b="b"/>
                <a:pathLst>
                  <a:path w="132" h="131" extrusionOk="0">
                    <a:moveTo>
                      <a:pt x="121" y="131"/>
                    </a:moveTo>
                    <a:cubicBezTo>
                      <a:pt x="118" y="131"/>
                      <a:pt x="115" y="130"/>
                      <a:pt x="113" y="128"/>
                    </a:cubicBezTo>
                    <a:cubicBezTo>
                      <a:pt x="4" y="19"/>
                      <a:pt x="4" y="19"/>
                      <a:pt x="4" y="19"/>
                    </a:cubicBezTo>
                    <a:cubicBezTo>
                      <a:pt x="0" y="14"/>
                      <a:pt x="0" y="8"/>
                      <a:pt x="4" y="4"/>
                    </a:cubicBezTo>
                    <a:cubicBezTo>
                      <a:pt x="8" y="0"/>
                      <a:pt x="15" y="0"/>
                      <a:pt x="19" y="4"/>
                    </a:cubicBezTo>
                    <a:cubicBezTo>
                      <a:pt x="128" y="113"/>
                      <a:pt x="128" y="113"/>
                      <a:pt x="128" y="113"/>
                    </a:cubicBezTo>
                    <a:cubicBezTo>
                      <a:pt x="132" y="117"/>
                      <a:pt x="132" y="124"/>
                      <a:pt x="128" y="128"/>
                    </a:cubicBezTo>
                    <a:cubicBezTo>
                      <a:pt x="126" y="130"/>
                      <a:pt x="124" y="131"/>
                      <a:pt x="121" y="13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4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8" name="Google Shape;549;p41"/>
              <p:cNvSpPr/>
              <p:nvPr/>
            </p:nvSpPr>
            <p:spPr>
              <a:xfrm>
                <a:off x="10267751" y="937343"/>
                <a:ext cx="11976" cy="100020"/>
              </a:xfrm>
              <a:custGeom>
                <a:avLst/>
                <a:gdLst/>
                <a:ahLst/>
                <a:cxnLst/>
                <a:rect l="l" t="t" r="r" b="b"/>
                <a:pathLst>
                  <a:path w="21" h="175" extrusionOk="0">
                    <a:moveTo>
                      <a:pt x="11" y="175"/>
                    </a:moveTo>
                    <a:cubicBezTo>
                      <a:pt x="5" y="175"/>
                      <a:pt x="0" y="171"/>
                      <a:pt x="0" y="165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4"/>
                      <a:pt x="5" y="0"/>
                      <a:pt x="11" y="0"/>
                    </a:cubicBezTo>
                    <a:cubicBezTo>
                      <a:pt x="17" y="0"/>
                      <a:pt x="21" y="4"/>
                      <a:pt x="21" y="10"/>
                    </a:cubicBezTo>
                    <a:cubicBezTo>
                      <a:pt x="21" y="165"/>
                      <a:pt x="21" y="165"/>
                      <a:pt x="21" y="165"/>
                    </a:cubicBezTo>
                    <a:cubicBezTo>
                      <a:pt x="21" y="171"/>
                      <a:pt x="17" y="175"/>
                      <a:pt x="11" y="175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4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9" name="Google Shape;550;p41"/>
              <p:cNvSpPr/>
              <p:nvPr/>
            </p:nvSpPr>
            <p:spPr>
              <a:xfrm>
                <a:off x="10183698" y="1629498"/>
                <a:ext cx="180080" cy="25726"/>
              </a:xfrm>
              <a:custGeom>
                <a:avLst/>
                <a:gdLst/>
                <a:ahLst/>
                <a:cxnLst/>
                <a:rect l="l" t="t" r="r" b="b"/>
                <a:pathLst>
                  <a:path w="315" h="45" extrusionOk="0">
                    <a:moveTo>
                      <a:pt x="0" y="23"/>
                    </a:moveTo>
                    <a:cubicBezTo>
                      <a:pt x="0" y="35"/>
                      <a:pt x="10" y="45"/>
                      <a:pt x="22" y="45"/>
                    </a:cubicBezTo>
                    <a:cubicBezTo>
                      <a:pt x="293" y="45"/>
                      <a:pt x="293" y="45"/>
                      <a:pt x="293" y="45"/>
                    </a:cubicBezTo>
                    <a:cubicBezTo>
                      <a:pt x="305" y="45"/>
                      <a:pt x="315" y="35"/>
                      <a:pt x="315" y="23"/>
                    </a:cubicBezTo>
                    <a:cubicBezTo>
                      <a:pt x="315" y="23"/>
                      <a:pt x="315" y="23"/>
                      <a:pt x="315" y="23"/>
                    </a:cubicBezTo>
                    <a:cubicBezTo>
                      <a:pt x="315" y="11"/>
                      <a:pt x="305" y="0"/>
                      <a:pt x="293" y="0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10" y="0"/>
                      <a:pt x="0" y="11"/>
                      <a:pt x="0" y="23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4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" name="Google Shape;551;p41"/>
              <p:cNvSpPr/>
              <p:nvPr/>
            </p:nvSpPr>
            <p:spPr>
              <a:xfrm>
                <a:off x="10188356" y="1667865"/>
                <a:ext cx="170766" cy="25726"/>
              </a:xfrm>
              <a:custGeom>
                <a:avLst/>
                <a:gdLst/>
                <a:ahLst/>
                <a:cxnLst/>
                <a:rect l="l" t="t" r="r" b="b"/>
                <a:pathLst>
                  <a:path w="299" h="45" extrusionOk="0">
                    <a:moveTo>
                      <a:pt x="0" y="22"/>
                    </a:moveTo>
                    <a:cubicBezTo>
                      <a:pt x="0" y="35"/>
                      <a:pt x="10" y="45"/>
                      <a:pt x="23" y="45"/>
                    </a:cubicBezTo>
                    <a:cubicBezTo>
                      <a:pt x="277" y="45"/>
                      <a:pt x="277" y="45"/>
                      <a:pt x="277" y="45"/>
                    </a:cubicBezTo>
                    <a:cubicBezTo>
                      <a:pt x="289" y="45"/>
                      <a:pt x="299" y="35"/>
                      <a:pt x="299" y="22"/>
                    </a:cubicBezTo>
                    <a:cubicBezTo>
                      <a:pt x="299" y="22"/>
                      <a:pt x="299" y="22"/>
                      <a:pt x="299" y="22"/>
                    </a:cubicBezTo>
                    <a:cubicBezTo>
                      <a:pt x="299" y="10"/>
                      <a:pt x="289" y="0"/>
                      <a:pt x="277" y="0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10" y="0"/>
                      <a:pt x="0" y="10"/>
                      <a:pt x="0" y="22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4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" name="Google Shape;552;p41"/>
              <p:cNvSpPr/>
              <p:nvPr/>
            </p:nvSpPr>
            <p:spPr>
              <a:xfrm>
                <a:off x="10212751" y="1705567"/>
                <a:ext cx="122419" cy="25726"/>
              </a:xfrm>
              <a:custGeom>
                <a:avLst/>
                <a:gdLst/>
                <a:ahLst/>
                <a:cxnLst/>
                <a:rect l="l" t="t" r="r" b="b"/>
                <a:pathLst>
                  <a:path w="214" h="45" extrusionOk="0">
                    <a:moveTo>
                      <a:pt x="0" y="23"/>
                    </a:moveTo>
                    <a:cubicBezTo>
                      <a:pt x="0" y="35"/>
                      <a:pt x="10" y="45"/>
                      <a:pt x="22" y="45"/>
                    </a:cubicBezTo>
                    <a:cubicBezTo>
                      <a:pt x="192" y="45"/>
                      <a:pt x="192" y="45"/>
                      <a:pt x="192" y="45"/>
                    </a:cubicBezTo>
                    <a:cubicBezTo>
                      <a:pt x="204" y="45"/>
                      <a:pt x="214" y="35"/>
                      <a:pt x="214" y="23"/>
                    </a:cubicBezTo>
                    <a:cubicBezTo>
                      <a:pt x="214" y="23"/>
                      <a:pt x="214" y="23"/>
                      <a:pt x="214" y="23"/>
                    </a:cubicBezTo>
                    <a:cubicBezTo>
                      <a:pt x="214" y="10"/>
                      <a:pt x="204" y="0"/>
                      <a:pt x="192" y="0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10" y="0"/>
                      <a:pt x="0" y="10"/>
                      <a:pt x="0" y="23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4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36" name="Google Shape;553;p41"/>
            <p:cNvSpPr/>
            <p:nvPr/>
          </p:nvSpPr>
          <p:spPr>
            <a:xfrm>
              <a:off x="10047751" y="1220548"/>
              <a:ext cx="217117" cy="205362"/>
            </a:xfrm>
            <a:custGeom>
              <a:avLst/>
              <a:gdLst/>
              <a:ahLst/>
              <a:cxnLst/>
              <a:rect l="l" t="t" r="r" b="b"/>
              <a:pathLst>
                <a:path w="380" h="359" extrusionOk="0">
                  <a:moveTo>
                    <a:pt x="63" y="268"/>
                  </a:moveTo>
                  <a:cubicBezTo>
                    <a:pt x="78" y="297"/>
                    <a:pt x="94" y="324"/>
                    <a:pt x="108" y="350"/>
                  </a:cubicBezTo>
                  <a:cubicBezTo>
                    <a:pt x="113" y="359"/>
                    <a:pt x="113" y="359"/>
                    <a:pt x="113" y="359"/>
                  </a:cubicBezTo>
                  <a:cubicBezTo>
                    <a:pt x="380" y="206"/>
                    <a:pt x="380" y="206"/>
                    <a:pt x="380" y="206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2" y="2"/>
                    <a:pt x="22" y="4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0" y="88"/>
                    <a:pt x="14" y="174"/>
                    <a:pt x="63" y="268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" name="Google Shape;554;p41"/>
            <p:cNvSpPr/>
            <p:nvPr/>
          </p:nvSpPr>
          <p:spPr>
            <a:xfrm>
              <a:off x="10063053" y="1080830"/>
              <a:ext cx="205806" cy="250604"/>
            </a:xfrm>
            <a:custGeom>
              <a:avLst/>
              <a:gdLst/>
              <a:ahLst/>
              <a:cxnLst/>
              <a:rect l="l" t="t" r="r" b="b"/>
              <a:pathLst>
                <a:path w="360" h="438" extrusionOk="0">
                  <a:moveTo>
                    <a:pt x="0" y="230"/>
                  </a:moveTo>
                  <a:cubicBezTo>
                    <a:pt x="360" y="438"/>
                    <a:pt x="360" y="438"/>
                    <a:pt x="360" y="438"/>
                  </a:cubicBezTo>
                  <a:cubicBezTo>
                    <a:pt x="360" y="0"/>
                    <a:pt x="360" y="0"/>
                    <a:pt x="360" y="0"/>
                  </a:cubicBezTo>
                  <a:cubicBezTo>
                    <a:pt x="174" y="3"/>
                    <a:pt x="40" y="117"/>
                    <a:pt x="0" y="23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" name="Google Shape;555;p41"/>
            <p:cNvSpPr/>
            <p:nvPr/>
          </p:nvSpPr>
          <p:spPr>
            <a:xfrm>
              <a:off x="10276400" y="1080830"/>
              <a:ext cx="208024" cy="250604"/>
            </a:xfrm>
            <a:custGeom>
              <a:avLst/>
              <a:gdLst/>
              <a:ahLst/>
              <a:cxnLst/>
              <a:rect l="l" t="t" r="r" b="b"/>
              <a:pathLst>
                <a:path w="364" h="438" extrusionOk="0">
                  <a:moveTo>
                    <a:pt x="0" y="0"/>
                  </a:moveTo>
                  <a:cubicBezTo>
                    <a:pt x="0" y="438"/>
                    <a:pt x="0" y="438"/>
                    <a:pt x="0" y="438"/>
                  </a:cubicBezTo>
                  <a:cubicBezTo>
                    <a:pt x="364" y="228"/>
                    <a:pt x="364" y="228"/>
                    <a:pt x="364" y="228"/>
                  </a:cubicBezTo>
                  <a:cubicBezTo>
                    <a:pt x="323" y="115"/>
                    <a:pt x="186" y="1"/>
                    <a:pt x="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" name="Google Shape;556;p41"/>
            <p:cNvSpPr/>
            <p:nvPr/>
          </p:nvSpPr>
          <p:spPr>
            <a:xfrm>
              <a:off x="10280392" y="1218773"/>
              <a:ext cx="219334" cy="208689"/>
            </a:xfrm>
            <a:custGeom>
              <a:avLst/>
              <a:gdLst/>
              <a:ahLst/>
              <a:cxnLst/>
              <a:rect l="l" t="t" r="r" b="b"/>
              <a:pathLst>
                <a:path w="384" h="365" extrusionOk="0">
                  <a:moveTo>
                    <a:pt x="322" y="271"/>
                  </a:moveTo>
                  <a:cubicBezTo>
                    <a:pt x="371" y="177"/>
                    <a:pt x="384" y="91"/>
                    <a:pt x="364" y="9"/>
                  </a:cubicBezTo>
                  <a:cubicBezTo>
                    <a:pt x="364" y="9"/>
                    <a:pt x="364" y="9"/>
                    <a:pt x="364" y="9"/>
                  </a:cubicBezTo>
                  <a:cubicBezTo>
                    <a:pt x="363" y="6"/>
                    <a:pt x="362" y="3"/>
                    <a:pt x="361" y="0"/>
                  </a:cubicBezTo>
                  <a:cubicBezTo>
                    <a:pt x="0" y="209"/>
                    <a:pt x="0" y="209"/>
                    <a:pt x="0" y="209"/>
                  </a:cubicBezTo>
                  <a:cubicBezTo>
                    <a:pt x="270" y="365"/>
                    <a:pt x="270" y="365"/>
                    <a:pt x="270" y="365"/>
                  </a:cubicBezTo>
                  <a:cubicBezTo>
                    <a:pt x="277" y="353"/>
                    <a:pt x="277" y="353"/>
                    <a:pt x="277" y="353"/>
                  </a:cubicBezTo>
                  <a:cubicBezTo>
                    <a:pt x="291" y="327"/>
                    <a:pt x="307" y="300"/>
                    <a:pt x="322" y="27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" name="Google Shape;557;p41"/>
            <p:cNvSpPr/>
            <p:nvPr/>
          </p:nvSpPr>
          <p:spPr>
            <a:xfrm>
              <a:off x="10116279" y="1345184"/>
              <a:ext cx="152580" cy="267681"/>
            </a:xfrm>
            <a:custGeom>
              <a:avLst/>
              <a:gdLst/>
              <a:ahLst/>
              <a:cxnLst/>
              <a:rect l="l" t="t" r="r" b="b"/>
              <a:pathLst>
                <a:path w="267" h="468" extrusionOk="0">
                  <a:moveTo>
                    <a:pt x="267" y="468"/>
                  </a:moveTo>
                  <a:cubicBezTo>
                    <a:pt x="267" y="0"/>
                    <a:pt x="267" y="0"/>
                    <a:pt x="267" y="0"/>
                  </a:cubicBezTo>
                  <a:cubicBezTo>
                    <a:pt x="0" y="153"/>
                    <a:pt x="0" y="153"/>
                    <a:pt x="0" y="153"/>
                  </a:cubicBezTo>
                  <a:cubicBezTo>
                    <a:pt x="21" y="190"/>
                    <a:pt x="42" y="229"/>
                    <a:pt x="61" y="272"/>
                  </a:cubicBezTo>
                  <a:cubicBezTo>
                    <a:pt x="75" y="304"/>
                    <a:pt x="83" y="346"/>
                    <a:pt x="90" y="383"/>
                  </a:cubicBezTo>
                  <a:cubicBezTo>
                    <a:pt x="92" y="398"/>
                    <a:pt x="95" y="411"/>
                    <a:pt x="98" y="424"/>
                  </a:cubicBezTo>
                  <a:cubicBezTo>
                    <a:pt x="105" y="457"/>
                    <a:pt x="116" y="466"/>
                    <a:pt x="151" y="467"/>
                  </a:cubicBezTo>
                  <a:cubicBezTo>
                    <a:pt x="157" y="468"/>
                    <a:pt x="157" y="468"/>
                    <a:pt x="157" y="468"/>
                  </a:cubicBezTo>
                  <a:cubicBezTo>
                    <a:pt x="185" y="468"/>
                    <a:pt x="185" y="468"/>
                    <a:pt x="185" y="468"/>
                  </a:cubicBezTo>
                  <a:cubicBezTo>
                    <a:pt x="237" y="468"/>
                    <a:pt x="237" y="468"/>
                    <a:pt x="237" y="468"/>
                  </a:cubicBezTo>
                  <a:cubicBezTo>
                    <a:pt x="247" y="468"/>
                    <a:pt x="257" y="468"/>
                    <a:pt x="267" y="468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" name="Google Shape;558;p41"/>
            <p:cNvSpPr/>
            <p:nvPr/>
          </p:nvSpPr>
          <p:spPr>
            <a:xfrm>
              <a:off x="10276400" y="1345184"/>
              <a:ext cx="154798" cy="267681"/>
            </a:xfrm>
            <a:custGeom>
              <a:avLst/>
              <a:gdLst/>
              <a:ahLst/>
              <a:cxnLst/>
              <a:rect l="l" t="t" r="r" b="b"/>
              <a:pathLst>
                <a:path w="271" h="468" extrusionOk="0">
                  <a:moveTo>
                    <a:pt x="174" y="424"/>
                  </a:moveTo>
                  <a:cubicBezTo>
                    <a:pt x="177" y="411"/>
                    <a:pt x="180" y="398"/>
                    <a:pt x="182" y="383"/>
                  </a:cubicBezTo>
                  <a:cubicBezTo>
                    <a:pt x="189" y="346"/>
                    <a:pt x="197" y="304"/>
                    <a:pt x="211" y="272"/>
                  </a:cubicBezTo>
                  <a:cubicBezTo>
                    <a:pt x="230" y="229"/>
                    <a:pt x="251" y="191"/>
                    <a:pt x="271" y="15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67"/>
                    <a:pt x="0" y="467"/>
                    <a:pt x="0" y="467"/>
                  </a:cubicBezTo>
                  <a:cubicBezTo>
                    <a:pt x="5" y="467"/>
                    <a:pt x="5" y="467"/>
                    <a:pt x="5" y="467"/>
                  </a:cubicBezTo>
                  <a:cubicBezTo>
                    <a:pt x="5" y="468"/>
                    <a:pt x="5" y="468"/>
                    <a:pt x="5" y="468"/>
                  </a:cubicBezTo>
                  <a:cubicBezTo>
                    <a:pt x="5" y="468"/>
                    <a:pt x="5" y="468"/>
                    <a:pt x="5" y="468"/>
                  </a:cubicBezTo>
                  <a:cubicBezTo>
                    <a:pt x="15" y="468"/>
                    <a:pt x="25" y="468"/>
                    <a:pt x="36" y="468"/>
                  </a:cubicBezTo>
                  <a:cubicBezTo>
                    <a:pt x="42" y="467"/>
                    <a:pt x="42" y="467"/>
                    <a:pt x="42" y="467"/>
                  </a:cubicBezTo>
                  <a:cubicBezTo>
                    <a:pt x="94" y="468"/>
                    <a:pt x="94" y="468"/>
                    <a:pt x="94" y="468"/>
                  </a:cubicBezTo>
                  <a:cubicBezTo>
                    <a:pt x="101" y="468"/>
                    <a:pt x="108" y="468"/>
                    <a:pt x="115" y="467"/>
                  </a:cubicBezTo>
                  <a:cubicBezTo>
                    <a:pt x="157" y="467"/>
                    <a:pt x="167" y="456"/>
                    <a:pt x="174" y="424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9" name="Стрелка: шеврон 14">
            <a:extLst>
              <a:ext uri="{FF2B5EF4-FFF2-40B4-BE49-F238E27FC236}">
                <a16:creationId xmlns:a16="http://schemas.microsoft.com/office/drawing/2014/main" xmlns="" id="{EEE07FF5-FDDC-47FD-AD56-4550D5A61AB2}"/>
              </a:ext>
            </a:extLst>
          </p:cNvPr>
          <p:cNvSpPr/>
          <p:nvPr/>
        </p:nvSpPr>
        <p:spPr>
          <a:xfrm>
            <a:off x="36429" y="6158512"/>
            <a:ext cx="5858042" cy="540456"/>
          </a:xfrm>
          <a:prstGeom prst="chevron">
            <a:avLst>
              <a:gd name="adj" fmla="val 41371"/>
            </a:avLst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chemeClr val="tx1"/>
                </a:solidFill>
              </a:rPr>
              <a:t>Филиал МБДОУ «Детский сад№43»-»детский сад №33»</a:t>
            </a: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30" name="Google Shape;384;p40"/>
          <p:cNvSpPr/>
          <p:nvPr/>
        </p:nvSpPr>
        <p:spPr>
          <a:xfrm>
            <a:off x="10627360" y="227208"/>
            <a:ext cx="690879" cy="575431"/>
          </a:xfrm>
          <a:custGeom>
            <a:avLst/>
            <a:gdLst/>
            <a:ahLst/>
            <a:cxnLst/>
            <a:rect l="l" t="t" r="r" b="b"/>
            <a:pathLst>
              <a:path w="18251" h="15452" extrusionOk="0">
                <a:moveTo>
                  <a:pt x="10634" y="2409"/>
                </a:moveTo>
                <a:lnTo>
                  <a:pt x="9953" y="2433"/>
                </a:lnTo>
                <a:lnTo>
                  <a:pt x="9296" y="2458"/>
                </a:lnTo>
                <a:lnTo>
                  <a:pt x="7592" y="2531"/>
                </a:lnTo>
                <a:lnTo>
                  <a:pt x="7228" y="2531"/>
                </a:lnTo>
                <a:lnTo>
                  <a:pt x="6814" y="2555"/>
                </a:lnTo>
                <a:lnTo>
                  <a:pt x="6619" y="2555"/>
                </a:lnTo>
                <a:lnTo>
                  <a:pt x="6425" y="2579"/>
                </a:lnTo>
                <a:lnTo>
                  <a:pt x="6230" y="2652"/>
                </a:lnTo>
                <a:lnTo>
                  <a:pt x="6060" y="2725"/>
                </a:lnTo>
                <a:lnTo>
                  <a:pt x="6035" y="2750"/>
                </a:lnTo>
                <a:lnTo>
                  <a:pt x="6011" y="2798"/>
                </a:lnTo>
                <a:lnTo>
                  <a:pt x="6035" y="2847"/>
                </a:lnTo>
                <a:lnTo>
                  <a:pt x="6060" y="2896"/>
                </a:lnTo>
                <a:lnTo>
                  <a:pt x="6230" y="2969"/>
                </a:lnTo>
                <a:lnTo>
                  <a:pt x="6376" y="3017"/>
                </a:lnTo>
                <a:lnTo>
                  <a:pt x="6546" y="3042"/>
                </a:lnTo>
                <a:lnTo>
                  <a:pt x="7422" y="3042"/>
                </a:lnTo>
                <a:lnTo>
                  <a:pt x="8298" y="3017"/>
                </a:lnTo>
                <a:lnTo>
                  <a:pt x="9150" y="2993"/>
                </a:lnTo>
                <a:lnTo>
                  <a:pt x="9831" y="2969"/>
                </a:lnTo>
                <a:lnTo>
                  <a:pt x="10488" y="2944"/>
                </a:lnTo>
                <a:lnTo>
                  <a:pt x="10829" y="2969"/>
                </a:lnTo>
                <a:lnTo>
                  <a:pt x="11169" y="2993"/>
                </a:lnTo>
                <a:lnTo>
                  <a:pt x="11486" y="3042"/>
                </a:lnTo>
                <a:lnTo>
                  <a:pt x="11826" y="3090"/>
                </a:lnTo>
                <a:lnTo>
                  <a:pt x="11948" y="3115"/>
                </a:lnTo>
                <a:lnTo>
                  <a:pt x="12045" y="3066"/>
                </a:lnTo>
                <a:lnTo>
                  <a:pt x="12094" y="2993"/>
                </a:lnTo>
                <a:lnTo>
                  <a:pt x="12143" y="2896"/>
                </a:lnTo>
                <a:lnTo>
                  <a:pt x="12167" y="2798"/>
                </a:lnTo>
                <a:lnTo>
                  <a:pt x="12143" y="2701"/>
                </a:lnTo>
                <a:lnTo>
                  <a:pt x="12070" y="2628"/>
                </a:lnTo>
                <a:lnTo>
                  <a:pt x="11972" y="2579"/>
                </a:lnTo>
                <a:lnTo>
                  <a:pt x="11632" y="2506"/>
                </a:lnTo>
                <a:lnTo>
                  <a:pt x="11315" y="2458"/>
                </a:lnTo>
                <a:lnTo>
                  <a:pt x="10975" y="2433"/>
                </a:lnTo>
                <a:lnTo>
                  <a:pt x="10634" y="2409"/>
                </a:lnTo>
                <a:close/>
                <a:moveTo>
                  <a:pt x="15573" y="4940"/>
                </a:moveTo>
                <a:lnTo>
                  <a:pt x="15890" y="4964"/>
                </a:lnTo>
                <a:lnTo>
                  <a:pt x="16157" y="5037"/>
                </a:lnTo>
                <a:lnTo>
                  <a:pt x="16182" y="5280"/>
                </a:lnTo>
                <a:lnTo>
                  <a:pt x="16206" y="5524"/>
                </a:lnTo>
                <a:lnTo>
                  <a:pt x="16206" y="5889"/>
                </a:lnTo>
                <a:lnTo>
                  <a:pt x="16206" y="6254"/>
                </a:lnTo>
                <a:lnTo>
                  <a:pt x="15671" y="6278"/>
                </a:lnTo>
                <a:lnTo>
                  <a:pt x="15136" y="6302"/>
                </a:lnTo>
                <a:lnTo>
                  <a:pt x="14625" y="6327"/>
                </a:lnTo>
                <a:lnTo>
                  <a:pt x="14333" y="6375"/>
                </a:lnTo>
                <a:lnTo>
                  <a:pt x="14308" y="6302"/>
                </a:lnTo>
                <a:lnTo>
                  <a:pt x="14284" y="6132"/>
                </a:lnTo>
                <a:lnTo>
                  <a:pt x="14284" y="5962"/>
                </a:lnTo>
                <a:lnTo>
                  <a:pt x="14284" y="5645"/>
                </a:lnTo>
                <a:lnTo>
                  <a:pt x="14284" y="5329"/>
                </a:lnTo>
                <a:lnTo>
                  <a:pt x="14284" y="5159"/>
                </a:lnTo>
                <a:lnTo>
                  <a:pt x="14235" y="5013"/>
                </a:lnTo>
                <a:lnTo>
                  <a:pt x="14430" y="5013"/>
                </a:lnTo>
                <a:lnTo>
                  <a:pt x="14625" y="4988"/>
                </a:lnTo>
                <a:lnTo>
                  <a:pt x="14990" y="4940"/>
                </a:lnTo>
                <a:close/>
                <a:moveTo>
                  <a:pt x="15330" y="4404"/>
                </a:moveTo>
                <a:lnTo>
                  <a:pt x="14990" y="4429"/>
                </a:lnTo>
                <a:lnTo>
                  <a:pt x="14771" y="4453"/>
                </a:lnTo>
                <a:lnTo>
                  <a:pt x="14503" y="4502"/>
                </a:lnTo>
                <a:lnTo>
                  <a:pt x="14357" y="4526"/>
                </a:lnTo>
                <a:lnTo>
                  <a:pt x="14260" y="4575"/>
                </a:lnTo>
                <a:lnTo>
                  <a:pt x="14138" y="4648"/>
                </a:lnTo>
                <a:lnTo>
                  <a:pt x="14065" y="4721"/>
                </a:lnTo>
                <a:lnTo>
                  <a:pt x="14016" y="4721"/>
                </a:lnTo>
                <a:lnTo>
                  <a:pt x="13968" y="4745"/>
                </a:lnTo>
                <a:lnTo>
                  <a:pt x="13943" y="4745"/>
                </a:lnTo>
                <a:lnTo>
                  <a:pt x="13919" y="4769"/>
                </a:lnTo>
                <a:lnTo>
                  <a:pt x="13895" y="4794"/>
                </a:lnTo>
                <a:lnTo>
                  <a:pt x="13870" y="4891"/>
                </a:lnTo>
                <a:lnTo>
                  <a:pt x="13773" y="5670"/>
                </a:lnTo>
                <a:lnTo>
                  <a:pt x="13773" y="6059"/>
                </a:lnTo>
                <a:lnTo>
                  <a:pt x="13773" y="6254"/>
                </a:lnTo>
                <a:lnTo>
                  <a:pt x="13822" y="6424"/>
                </a:lnTo>
                <a:lnTo>
                  <a:pt x="13846" y="6497"/>
                </a:lnTo>
                <a:lnTo>
                  <a:pt x="13870" y="6570"/>
                </a:lnTo>
                <a:lnTo>
                  <a:pt x="13870" y="6594"/>
                </a:lnTo>
                <a:lnTo>
                  <a:pt x="13895" y="6667"/>
                </a:lnTo>
                <a:lnTo>
                  <a:pt x="13919" y="6740"/>
                </a:lnTo>
                <a:lnTo>
                  <a:pt x="13968" y="6789"/>
                </a:lnTo>
                <a:lnTo>
                  <a:pt x="14041" y="6813"/>
                </a:lnTo>
                <a:lnTo>
                  <a:pt x="14308" y="6886"/>
                </a:lnTo>
                <a:lnTo>
                  <a:pt x="14600" y="6911"/>
                </a:lnTo>
                <a:lnTo>
                  <a:pt x="14892" y="6935"/>
                </a:lnTo>
                <a:lnTo>
                  <a:pt x="15184" y="6911"/>
                </a:lnTo>
                <a:lnTo>
                  <a:pt x="15768" y="6886"/>
                </a:lnTo>
                <a:lnTo>
                  <a:pt x="16328" y="6813"/>
                </a:lnTo>
                <a:lnTo>
                  <a:pt x="16449" y="6789"/>
                </a:lnTo>
                <a:lnTo>
                  <a:pt x="16522" y="6740"/>
                </a:lnTo>
                <a:lnTo>
                  <a:pt x="16595" y="6643"/>
                </a:lnTo>
                <a:lnTo>
                  <a:pt x="16620" y="6546"/>
                </a:lnTo>
                <a:lnTo>
                  <a:pt x="16668" y="6448"/>
                </a:lnTo>
                <a:lnTo>
                  <a:pt x="16717" y="6327"/>
                </a:lnTo>
                <a:lnTo>
                  <a:pt x="16741" y="6108"/>
                </a:lnTo>
                <a:lnTo>
                  <a:pt x="16741" y="5864"/>
                </a:lnTo>
                <a:lnTo>
                  <a:pt x="16717" y="5645"/>
                </a:lnTo>
                <a:lnTo>
                  <a:pt x="16644" y="5159"/>
                </a:lnTo>
                <a:lnTo>
                  <a:pt x="16620" y="4940"/>
                </a:lnTo>
                <a:lnTo>
                  <a:pt x="16547" y="4721"/>
                </a:lnTo>
                <a:lnTo>
                  <a:pt x="16498" y="4648"/>
                </a:lnTo>
                <a:lnTo>
                  <a:pt x="16449" y="4599"/>
                </a:lnTo>
                <a:lnTo>
                  <a:pt x="16401" y="4575"/>
                </a:lnTo>
                <a:lnTo>
                  <a:pt x="16328" y="4526"/>
                </a:lnTo>
                <a:lnTo>
                  <a:pt x="16011" y="4453"/>
                </a:lnTo>
                <a:lnTo>
                  <a:pt x="15671" y="4404"/>
                </a:lnTo>
                <a:close/>
                <a:moveTo>
                  <a:pt x="8176" y="7105"/>
                </a:moveTo>
                <a:lnTo>
                  <a:pt x="7884" y="7373"/>
                </a:lnTo>
                <a:lnTo>
                  <a:pt x="7641" y="7689"/>
                </a:lnTo>
                <a:lnTo>
                  <a:pt x="7422" y="8006"/>
                </a:lnTo>
                <a:lnTo>
                  <a:pt x="7252" y="8346"/>
                </a:lnTo>
                <a:lnTo>
                  <a:pt x="7082" y="8687"/>
                </a:lnTo>
                <a:lnTo>
                  <a:pt x="6936" y="9052"/>
                </a:lnTo>
                <a:lnTo>
                  <a:pt x="6790" y="9417"/>
                </a:lnTo>
                <a:lnTo>
                  <a:pt x="6692" y="9782"/>
                </a:lnTo>
                <a:lnTo>
                  <a:pt x="6619" y="9441"/>
                </a:lnTo>
                <a:lnTo>
                  <a:pt x="6619" y="9198"/>
                </a:lnTo>
                <a:lnTo>
                  <a:pt x="6619" y="8955"/>
                </a:lnTo>
                <a:lnTo>
                  <a:pt x="6644" y="8711"/>
                </a:lnTo>
                <a:lnTo>
                  <a:pt x="6717" y="8492"/>
                </a:lnTo>
                <a:lnTo>
                  <a:pt x="6790" y="8273"/>
                </a:lnTo>
                <a:lnTo>
                  <a:pt x="6911" y="8079"/>
                </a:lnTo>
                <a:lnTo>
                  <a:pt x="7033" y="7884"/>
                </a:lnTo>
                <a:lnTo>
                  <a:pt x="7203" y="7689"/>
                </a:lnTo>
                <a:lnTo>
                  <a:pt x="7398" y="7519"/>
                </a:lnTo>
                <a:lnTo>
                  <a:pt x="7617" y="7373"/>
                </a:lnTo>
                <a:lnTo>
                  <a:pt x="7836" y="7251"/>
                </a:lnTo>
                <a:lnTo>
                  <a:pt x="8079" y="7154"/>
                </a:lnTo>
                <a:lnTo>
                  <a:pt x="8176" y="7105"/>
                </a:lnTo>
                <a:close/>
                <a:moveTo>
                  <a:pt x="11413" y="8444"/>
                </a:moveTo>
                <a:lnTo>
                  <a:pt x="11486" y="8711"/>
                </a:lnTo>
                <a:lnTo>
                  <a:pt x="11534" y="8979"/>
                </a:lnTo>
                <a:lnTo>
                  <a:pt x="11559" y="9246"/>
                </a:lnTo>
                <a:lnTo>
                  <a:pt x="11534" y="9514"/>
                </a:lnTo>
                <a:lnTo>
                  <a:pt x="11461" y="9782"/>
                </a:lnTo>
                <a:lnTo>
                  <a:pt x="11388" y="10049"/>
                </a:lnTo>
                <a:lnTo>
                  <a:pt x="11267" y="10293"/>
                </a:lnTo>
                <a:lnTo>
                  <a:pt x="11145" y="10512"/>
                </a:lnTo>
                <a:lnTo>
                  <a:pt x="10975" y="10731"/>
                </a:lnTo>
                <a:lnTo>
                  <a:pt x="11048" y="10536"/>
                </a:lnTo>
                <a:lnTo>
                  <a:pt x="11121" y="10317"/>
                </a:lnTo>
                <a:lnTo>
                  <a:pt x="11194" y="9928"/>
                </a:lnTo>
                <a:lnTo>
                  <a:pt x="11267" y="9563"/>
                </a:lnTo>
                <a:lnTo>
                  <a:pt x="11315" y="9198"/>
                </a:lnTo>
                <a:lnTo>
                  <a:pt x="11413" y="8444"/>
                </a:lnTo>
                <a:close/>
                <a:moveTo>
                  <a:pt x="9028" y="6911"/>
                </a:moveTo>
                <a:lnTo>
                  <a:pt x="8858" y="7057"/>
                </a:lnTo>
                <a:lnTo>
                  <a:pt x="8736" y="7251"/>
                </a:lnTo>
                <a:lnTo>
                  <a:pt x="8614" y="7446"/>
                </a:lnTo>
                <a:lnTo>
                  <a:pt x="8517" y="7641"/>
                </a:lnTo>
                <a:lnTo>
                  <a:pt x="8322" y="8079"/>
                </a:lnTo>
                <a:lnTo>
                  <a:pt x="8176" y="8492"/>
                </a:lnTo>
                <a:lnTo>
                  <a:pt x="8030" y="8833"/>
                </a:lnTo>
                <a:lnTo>
                  <a:pt x="7884" y="9173"/>
                </a:lnTo>
                <a:lnTo>
                  <a:pt x="7568" y="9830"/>
                </a:lnTo>
                <a:lnTo>
                  <a:pt x="7325" y="10317"/>
                </a:lnTo>
                <a:lnTo>
                  <a:pt x="7228" y="10560"/>
                </a:lnTo>
                <a:lnTo>
                  <a:pt x="7130" y="10804"/>
                </a:lnTo>
                <a:lnTo>
                  <a:pt x="6936" y="10463"/>
                </a:lnTo>
                <a:lnTo>
                  <a:pt x="6790" y="10122"/>
                </a:lnTo>
                <a:lnTo>
                  <a:pt x="6838" y="10122"/>
                </a:lnTo>
                <a:lnTo>
                  <a:pt x="6911" y="10098"/>
                </a:lnTo>
                <a:lnTo>
                  <a:pt x="6960" y="10074"/>
                </a:lnTo>
                <a:lnTo>
                  <a:pt x="7009" y="10001"/>
                </a:lnTo>
                <a:lnTo>
                  <a:pt x="7276" y="9222"/>
                </a:lnTo>
                <a:lnTo>
                  <a:pt x="7592" y="8468"/>
                </a:lnTo>
                <a:lnTo>
                  <a:pt x="7787" y="8103"/>
                </a:lnTo>
                <a:lnTo>
                  <a:pt x="7982" y="7738"/>
                </a:lnTo>
                <a:lnTo>
                  <a:pt x="8176" y="7373"/>
                </a:lnTo>
                <a:lnTo>
                  <a:pt x="8395" y="7032"/>
                </a:lnTo>
                <a:lnTo>
                  <a:pt x="8493" y="7032"/>
                </a:lnTo>
                <a:lnTo>
                  <a:pt x="8760" y="6959"/>
                </a:lnTo>
                <a:lnTo>
                  <a:pt x="9028" y="6911"/>
                </a:lnTo>
                <a:close/>
                <a:moveTo>
                  <a:pt x="9344" y="6911"/>
                </a:moveTo>
                <a:lnTo>
                  <a:pt x="9588" y="6935"/>
                </a:lnTo>
                <a:lnTo>
                  <a:pt x="9831" y="7008"/>
                </a:lnTo>
                <a:lnTo>
                  <a:pt x="9734" y="7105"/>
                </a:lnTo>
                <a:lnTo>
                  <a:pt x="9636" y="7203"/>
                </a:lnTo>
                <a:lnTo>
                  <a:pt x="9490" y="7446"/>
                </a:lnTo>
                <a:lnTo>
                  <a:pt x="9393" y="7714"/>
                </a:lnTo>
                <a:lnTo>
                  <a:pt x="9271" y="7957"/>
                </a:lnTo>
                <a:lnTo>
                  <a:pt x="9150" y="8298"/>
                </a:lnTo>
                <a:lnTo>
                  <a:pt x="9004" y="8663"/>
                </a:lnTo>
                <a:lnTo>
                  <a:pt x="8760" y="9368"/>
                </a:lnTo>
                <a:lnTo>
                  <a:pt x="8468" y="10122"/>
                </a:lnTo>
                <a:lnTo>
                  <a:pt x="8128" y="10852"/>
                </a:lnTo>
                <a:lnTo>
                  <a:pt x="7957" y="11290"/>
                </a:lnTo>
                <a:lnTo>
                  <a:pt x="7909" y="11388"/>
                </a:lnTo>
                <a:lnTo>
                  <a:pt x="7884" y="11485"/>
                </a:lnTo>
                <a:lnTo>
                  <a:pt x="7884" y="11558"/>
                </a:lnTo>
                <a:lnTo>
                  <a:pt x="7665" y="11388"/>
                </a:lnTo>
                <a:lnTo>
                  <a:pt x="7446" y="11193"/>
                </a:lnTo>
                <a:lnTo>
                  <a:pt x="7568" y="10901"/>
                </a:lnTo>
                <a:lnTo>
                  <a:pt x="7690" y="10609"/>
                </a:lnTo>
                <a:lnTo>
                  <a:pt x="7811" y="10317"/>
                </a:lnTo>
                <a:lnTo>
                  <a:pt x="7933" y="10049"/>
                </a:lnTo>
                <a:lnTo>
                  <a:pt x="8201" y="9514"/>
                </a:lnTo>
                <a:lnTo>
                  <a:pt x="8444" y="8979"/>
                </a:lnTo>
                <a:lnTo>
                  <a:pt x="8882" y="7933"/>
                </a:lnTo>
                <a:lnTo>
                  <a:pt x="9101" y="7422"/>
                </a:lnTo>
                <a:lnTo>
                  <a:pt x="9344" y="6911"/>
                </a:lnTo>
                <a:close/>
                <a:moveTo>
                  <a:pt x="10610" y="7397"/>
                </a:moveTo>
                <a:lnTo>
                  <a:pt x="10829" y="7592"/>
                </a:lnTo>
                <a:lnTo>
                  <a:pt x="11023" y="7811"/>
                </a:lnTo>
                <a:lnTo>
                  <a:pt x="11194" y="8054"/>
                </a:lnTo>
                <a:lnTo>
                  <a:pt x="11340" y="8322"/>
                </a:lnTo>
                <a:lnTo>
                  <a:pt x="11340" y="8346"/>
                </a:lnTo>
                <a:lnTo>
                  <a:pt x="11169" y="8663"/>
                </a:lnTo>
                <a:lnTo>
                  <a:pt x="11023" y="8979"/>
                </a:lnTo>
                <a:lnTo>
                  <a:pt x="10926" y="9295"/>
                </a:lnTo>
                <a:lnTo>
                  <a:pt x="10829" y="9660"/>
                </a:lnTo>
                <a:lnTo>
                  <a:pt x="10731" y="10025"/>
                </a:lnTo>
                <a:lnTo>
                  <a:pt x="10610" y="10414"/>
                </a:lnTo>
                <a:lnTo>
                  <a:pt x="10512" y="10706"/>
                </a:lnTo>
                <a:lnTo>
                  <a:pt x="10464" y="10852"/>
                </a:lnTo>
                <a:lnTo>
                  <a:pt x="10439" y="11023"/>
                </a:lnTo>
                <a:lnTo>
                  <a:pt x="10464" y="11071"/>
                </a:lnTo>
                <a:lnTo>
                  <a:pt x="10488" y="11120"/>
                </a:lnTo>
                <a:lnTo>
                  <a:pt x="10537" y="11144"/>
                </a:lnTo>
                <a:lnTo>
                  <a:pt x="10585" y="11169"/>
                </a:lnTo>
                <a:lnTo>
                  <a:pt x="10318" y="11388"/>
                </a:lnTo>
                <a:lnTo>
                  <a:pt x="10001" y="11558"/>
                </a:lnTo>
                <a:lnTo>
                  <a:pt x="10001" y="11558"/>
                </a:lnTo>
                <a:lnTo>
                  <a:pt x="10099" y="11412"/>
                </a:lnTo>
                <a:lnTo>
                  <a:pt x="10147" y="11242"/>
                </a:lnTo>
                <a:lnTo>
                  <a:pt x="10269" y="10877"/>
                </a:lnTo>
                <a:lnTo>
                  <a:pt x="10439" y="10244"/>
                </a:lnTo>
                <a:lnTo>
                  <a:pt x="10585" y="9684"/>
                </a:lnTo>
                <a:lnTo>
                  <a:pt x="10780" y="9100"/>
                </a:lnTo>
                <a:lnTo>
                  <a:pt x="10950" y="8517"/>
                </a:lnTo>
                <a:lnTo>
                  <a:pt x="11072" y="7957"/>
                </a:lnTo>
                <a:lnTo>
                  <a:pt x="11072" y="7908"/>
                </a:lnTo>
                <a:lnTo>
                  <a:pt x="11048" y="7884"/>
                </a:lnTo>
                <a:lnTo>
                  <a:pt x="10975" y="7884"/>
                </a:lnTo>
                <a:lnTo>
                  <a:pt x="10804" y="8079"/>
                </a:lnTo>
                <a:lnTo>
                  <a:pt x="10683" y="8273"/>
                </a:lnTo>
                <a:lnTo>
                  <a:pt x="10561" y="8517"/>
                </a:lnTo>
                <a:lnTo>
                  <a:pt x="10464" y="8760"/>
                </a:lnTo>
                <a:lnTo>
                  <a:pt x="10318" y="9246"/>
                </a:lnTo>
                <a:lnTo>
                  <a:pt x="10196" y="9733"/>
                </a:lnTo>
                <a:lnTo>
                  <a:pt x="10050" y="10293"/>
                </a:lnTo>
                <a:lnTo>
                  <a:pt x="9880" y="10828"/>
                </a:lnTo>
                <a:lnTo>
                  <a:pt x="9782" y="11071"/>
                </a:lnTo>
                <a:lnTo>
                  <a:pt x="9685" y="11290"/>
                </a:lnTo>
                <a:lnTo>
                  <a:pt x="9563" y="11534"/>
                </a:lnTo>
                <a:lnTo>
                  <a:pt x="9539" y="11655"/>
                </a:lnTo>
                <a:lnTo>
                  <a:pt x="9515" y="11777"/>
                </a:lnTo>
                <a:lnTo>
                  <a:pt x="9320" y="11826"/>
                </a:lnTo>
                <a:lnTo>
                  <a:pt x="9247" y="11850"/>
                </a:lnTo>
                <a:lnTo>
                  <a:pt x="9247" y="11850"/>
                </a:lnTo>
                <a:lnTo>
                  <a:pt x="9369" y="11607"/>
                </a:lnTo>
                <a:lnTo>
                  <a:pt x="9442" y="11339"/>
                </a:lnTo>
                <a:lnTo>
                  <a:pt x="9612" y="10828"/>
                </a:lnTo>
                <a:lnTo>
                  <a:pt x="9758" y="10317"/>
                </a:lnTo>
                <a:lnTo>
                  <a:pt x="9928" y="9806"/>
                </a:lnTo>
                <a:lnTo>
                  <a:pt x="10147" y="9222"/>
                </a:lnTo>
                <a:lnTo>
                  <a:pt x="10342" y="8614"/>
                </a:lnTo>
                <a:lnTo>
                  <a:pt x="10488" y="8006"/>
                </a:lnTo>
                <a:lnTo>
                  <a:pt x="10561" y="7714"/>
                </a:lnTo>
                <a:lnTo>
                  <a:pt x="10610" y="7397"/>
                </a:lnTo>
                <a:close/>
                <a:moveTo>
                  <a:pt x="10026" y="7081"/>
                </a:moveTo>
                <a:lnTo>
                  <a:pt x="10220" y="7154"/>
                </a:lnTo>
                <a:lnTo>
                  <a:pt x="10391" y="7251"/>
                </a:lnTo>
                <a:lnTo>
                  <a:pt x="10172" y="7811"/>
                </a:lnTo>
                <a:lnTo>
                  <a:pt x="10001" y="8395"/>
                </a:lnTo>
                <a:lnTo>
                  <a:pt x="9831" y="8955"/>
                </a:lnTo>
                <a:lnTo>
                  <a:pt x="9636" y="9538"/>
                </a:lnTo>
                <a:lnTo>
                  <a:pt x="9442" y="10098"/>
                </a:lnTo>
                <a:lnTo>
                  <a:pt x="9271" y="10706"/>
                </a:lnTo>
                <a:lnTo>
                  <a:pt x="9101" y="11266"/>
                </a:lnTo>
                <a:lnTo>
                  <a:pt x="8979" y="11558"/>
                </a:lnTo>
                <a:lnTo>
                  <a:pt x="8833" y="11826"/>
                </a:lnTo>
                <a:lnTo>
                  <a:pt x="8833" y="11874"/>
                </a:lnTo>
                <a:lnTo>
                  <a:pt x="8639" y="11850"/>
                </a:lnTo>
                <a:lnTo>
                  <a:pt x="8468" y="11826"/>
                </a:lnTo>
                <a:lnTo>
                  <a:pt x="8298" y="11753"/>
                </a:lnTo>
                <a:lnTo>
                  <a:pt x="8128" y="11680"/>
                </a:lnTo>
                <a:lnTo>
                  <a:pt x="8176" y="11655"/>
                </a:lnTo>
                <a:lnTo>
                  <a:pt x="8201" y="11631"/>
                </a:lnTo>
                <a:lnTo>
                  <a:pt x="8274" y="11534"/>
                </a:lnTo>
                <a:lnTo>
                  <a:pt x="8371" y="11315"/>
                </a:lnTo>
                <a:lnTo>
                  <a:pt x="8639" y="10633"/>
                </a:lnTo>
                <a:lnTo>
                  <a:pt x="8931" y="9976"/>
                </a:lnTo>
                <a:lnTo>
                  <a:pt x="9077" y="9636"/>
                </a:lnTo>
                <a:lnTo>
                  <a:pt x="9223" y="9271"/>
                </a:lnTo>
                <a:lnTo>
                  <a:pt x="9466" y="8565"/>
                </a:lnTo>
                <a:lnTo>
                  <a:pt x="9612" y="8200"/>
                </a:lnTo>
                <a:lnTo>
                  <a:pt x="9758" y="7835"/>
                </a:lnTo>
                <a:lnTo>
                  <a:pt x="9928" y="7446"/>
                </a:lnTo>
                <a:lnTo>
                  <a:pt x="9977" y="7276"/>
                </a:lnTo>
                <a:lnTo>
                  <a:pt x="10026" y="7081"/>
                </a:lnTo>
                <a:close/>
                <a:moveTo>
                  <a:pt x="9247" y="6424"/>
                </a:moveTo>
                <a:lnTo>
                  <a:pt x="8931" y="6448"/>
                </a:lnTo>
                <a:lnTo>
                  <a:pt x="8639" y="6497"/>
                </a:lnTo>
                <a:lnTo>
                  <a:pt x="8347" y="6570"/>
                </a:lnTo>
                <a:lnTo>
                  <a:pt x="8274" y="6619"/>
                </a:lnTo>
                <a:lnTo>
                  <a:pt x="8225" y="6667"/>
                </a:lnTo>
                <a:lnTo>
                  <a:pt x="7836" y="6789"/>
                </a:lnTo>
                <a:lnTo>
                  <a:pt x="7568" y="6911"/>
                </a:lnTo>
                <a:lnTo>
                  <a:pt x="7325" y="7032"/>
                </a:lnTo>
                <a:lnTo>
                  <a:pt x="7106" y="7203"/>
                </a:lnTo>
                <a:lnTo>
                  <a:pt x="6887" y="7373"/>
                </a:lnTo>
                <a:lnTo>
                  <a:pt x="6668" y="7592"/>
                </a:lnTo>
                <a:lnTo>
                  <a:pt x="6498" y="7835"/>
                </a:lnTo>
                <a:lnTo>
                  <a:pt x="6352" y="8103"/>
                </a:lnTo>
                <a:lnTo>
                  <a:pt x="6254" y="8371"/>
                </a:lnTo>
                <a:lnTo>
                  <a:pt x="6206" y="8663"/>
                </a:lnTo>
                <a:lnTo>
                  <a:pt x="6157" y="8979"/>
                </a:lnTo>
                <a:lnTo>
                  <a:pt x="6157" y="9271"/>
                </a:lnTo>
                <a:lnTo>
                  <a:pt x="6181" y="9563"/>
                </a:lnTo>
                <a:lnTo>
                  <a:pt x="6206" y="9855"/>
                </a:lnTo>
                <a:lnTo>
                  <a:pt x="6279" y="10122"/>
                </a:lnTo>
                <a:lnTo>
                  <a:pt x="6376" y="10390"/>
                </a:lnTo>
                <a:lnTo>
                  <a:pt x="6498" y="10658"/>
                </a:lnTo>
                <a:lnTo>
                  <a:pt x="6644" y="10925"/>
                </a:lnTo>
                <a:lnTo>
                  <a:pt x="6814" y="11169"/>
                </a:lnTo>
                <a:lnTo>
                  <a:pt x="6984" y="11388"/>
                </a:lnTo>
                <a:lnTo>
                  <a:pt x="7203" y="11607"/>
                </a:lnTo>
                <a:lnTo>
                  <a:pt x="7422" y="11801"/>
                </a:lnTo>
                <a:lnTo>
                  <a:pt x="7665" y="11947"/>
                </a:lnTo>
                <a:lnTo>
                  <a:pt x="7909" y="12093"/>
                </a:lnTo>
                <a:lnTo>
                  <a:pt x="8176" y="12191"/>
                </a:lnTo>
                <a:lnTo>
                  <a:pt x="8444" y="12288"/>
                </a:lnTo>
                <a:lnTo>
                  <a:pt x="8736" y="12312"/>
                </a:lnTo>
                <a:lnTo>
                  <a:pt x="9028" y="12312"/>
                </a:lnTo>
                <a:lnTo>
                  <a:pt x="9320" y="12288"/>
                </a:lnTo>
                <a:lnTo>
                  <a:pt x="9588" y="12215"/>
                </a:lnTo>
                <a:lnTo>
                  <a:pt x="9880" y="12118"/>
                </a:lnTo>
                <a:lnTo>
                  <a:pt x="10147" y="11996"/>
                </a:lnTo>
                <a:lnTo>
                  <a:pt x="10415" y="11826"/>
                </a:lnTo>
                <a:lnTo>
                  <a:pt x="10658" y="11655"/>
                </a:lnTo>
                <a:lnTo>
                  <a:pt x="10877" y="11461"/>
                </a:lnTo>
                <a:lnTo>
                  <a:pt x="11096" y="11242"/>
                </a:lnTo>
                <a:lnTo>
                  <a:pt x="11291" y="10998"/>
                </a:lnTo>
                <a:lnTo>
                  <a:pt x="11461" y="10731"/>
                </a:lnTo>
                <a:lnTo>
                  <a:pt x="11632" y="10463"/>
                </a:lnTo>
                <a:lnTo>
                  <a:pt x="11753" y="10195"/>
                </a:lnTo>
                <a:lnTo>
                  <a:pt x="11851" y="9903"/>
                </a:lnTo>
                <a:lnTo>
                  <a:pt x="11924" y="9611"/>
                </a:lnTo>
                <a:lnTo>
                  <a:pt x="11948" y="9319"/>
                </a:lnTo>
                <a:lnTo>
                  <a:pt x="11972" y="9027"/>
                </a:lnTo>
                <a:lnTo>
                  <a:pt x="11924" y="8736"/>
                </a:lnTo>
                <a:lnTo>
                  <a:pt x="11851" y="8444"/>
                </a:lnTo>
                <a:lnTo>
                  <a:pt x="11753" y="8176"/>
                </a:lnTo>
                <a:lnTo>
                  <a:pt x="11632" y="7908"/>
                </a:lnTo>
                <a:lnTo>
                  <a:pt x="11461" y="7665"/>
                </a:lnTo>
                <a:lnTo>
                  <a:pt x="11291" y="7422"/>
                </a:lnTo>
                <a:lnTo>
                  <a:pt x="11096" y="7203"/>
                </a:lnTo>
                <a:lnTo>
                  <a:pt x="10853" y="7032"/>
                </a:lnTo>
                <a:lnTo>
                  <a:pt x="10610" y="6862"/>
                </a:lnTo>
                <a:lnTo>
                  <a:pt x="10366" y="6716"/>
                </a:lnTo>
                <a:lnTo>
                  <a:pt x="10099" y="6594"/>
                </a:lnTo>
                <a:lnTo>
                  <a:pt x="9807" y="6521"/>
                </a:lnTo>
                <a:lnTo>
                  <a:pt x="9515" y="6448"/>
                </a:lnTo>
                <a:lnTo>
                  <a:pt x="9247" y="6424"/>
                </a:lnTo>
                <a:close/>
                <a:moveTo>
                  <a:pt x="9417" y="5694"/>
                </a:moveTo>
                <a:lnTo>
                  <a:pt x="9782" y="5718"/>
                </a:lnTo>
                <a:lnTo>
                  <a:pt x="10172" y="5791"/>
                </a:lnTo>
                <a:lnTo>
                  <a:pt x="10537" y="5889"/>
                </a:lnTo>
                <a:lnTo>
                  <a:pt x="10877" y="6010"/>
                </a:lnTo>
                <a:lnTo>
                  <a:pt x="11218" y="6181"/>
                </a:lnTo>
                <a:lnTo>
                  <a:pt x="11534" y="6351"/>
                </a:lnTo>
                <a:lnTo>
                  <a:pt x="11729" y="6497"/>
                </a:lnTo>
                <a:lnTo>
                  <a:pt x="11899" y="6619"/>
                </a:lnTo>
                <a:lnTo>
                  <a:pt x="12045" y="6789"/>
                </a:lnTo>
                <a:lnTo>
                  <a:pt x="12191" y="6959"/>
                </a:lnTo>
                <a:lnTo>
                  <a:pt x="12313" y="7130"/>
                </a:lnTo>
                <a:lnTo>
                  <a:pt x="12435" y="7324"/>
                </a:lnTo>
                <a:lnTo>
                  <a:pt x="12532" y="7519"/>
                </a:lnTo>
                <a:lnTo>
                  <a:pt x="12629" y="7714"/>
                </a:lnTo>
                <a:lnTo>
                  <a:pt x="12775" y="8152"/>
                </a:lnTo>
                <a:lnTo>
                  <a:pt x="12873" y="8590"/>
                </a:lnTo>
                <a:lnTo>
                  <a:pt x="12921" y="9027"/>
                </a:lnTo>
                <a:lnTo>
                  <a:pt x="12921" y="9465"/>
                </a:lnTo>
                <a:lnTo>
                  <a:pt x="12897" y="9806"/>
                </a:lnTo>
                <a:lnTo>
                  <a:pt x="12848" y="10147"/>
                </a:lnTo>
                <a:lnTo>
                  <a:pt x="12751" y="10463"/>
                </a:lnTo>
                <a:lnTo>
                  <a:pt x="12654" y="10779"/>
                </a:lnTo>
                <a:lnTo>
                  <a:pt x="12508" y="11071"/>
                </a:lnTo>
                <a:lnTo>
                  <a:pt x="12362" y="11363"/>
                </a:lnTo>
                <a:lnTo>
                  <a:pt x="12167" y="11631"/>
                </a:lnTo>
                <a:lnTo>
                  <a:pt x="11972" y="11874"/>
                </a:lnTo>
                <a:lnTo>
                  <a:pt x="11753" y="12093"/>
                </a:lnTo>
                <a:lnTo>
                  <a:pt x="11510" y="12288"/>
                </a:lnTo>
                <a:lnTo>
                  <a:pt x="11242" y="12483"/>
                </a:lnTo>
                <a:lnTo>
                  <a:pt x="10975" y="12653"/>
                </a:lnTo>
                <a:lnTo>
                  <a:pt x="10683" y="12799"/>
                </a:lnTo>
                <a:lnTo>
                  <a:pt x="10366" y="12921"/>
                </a:lnTo>
                <a:lnTo>
                  <a:pt x="10050" y="13018"/>
                </a:lnTo>
                <a:lnTo>
                  <a:pt x="9709" y="13091"/>
                </a:lnTo>
                <a:lnTo>
                  <a:pt x="9369" y="13140"/>
                </a:lnTo>
                <a:lnTo>
                  <a:pt x="8736" y="13140"/>
                </a:lnTo>
                <a:lnTo>
                  <a:pt x="8420" y="13115"/>
                </a:lnTo>
                <a:lnTo>
                  <a:pt x="8128" y="13042"/>
                </a:lnTo>
                <a:lnTo>
                  <a:pt x="7836" y="12969"/>
                </a:lnTo>
                <a:lnTo>
                  <a:pt x="7568" y="12848"/>
                </a:lnTo>
                <a:lnTo>
                  <a:pt x="7276" y="12726"/>
                </a:lnTo>
                <a:lnTo>
                  <a:pt x="7033" y="12556"/>
                </a:lnTo>
                <a:lnTo>
                  <a:pt x="6790" y="12385"/>
                </a:lnTo>
                <a:lnTo>
                  <a:pt x="6546" y="12191"/>
                </a:lnTo>
                <a:lnTo>
                  <a:pt x="6352" y="11972"/>
                </a:lnTo>
                <a:lnTo>
                  <a:pt x="6157" y="11728"/>
                </a:lnTo>
                <a:lnTo>
                  <a:pt x="5962" y="11461"/>
                </a:lnTo>
                <a:lnTo>
                  <a:pt x="5816" y="11193"/>
                </a:lnTo>
                <a:lnTo>
                  <a:pt x="5670" y="10877"/>
                </a:lnTo>
                <a:lnTo>
                  <a:pt x="5597" y="10658"/>
                </a:lnTo>
                <a:lnTo>
                  <a:pt x="5524" y="10414"/>
                </a:lnTo>
                <a:lnTo>
                  <a:pt x="5476" y="10171"/>
                </a:lnTo>
                <a:lnTo>
                  <a:pt x="5427" y="9928"/>
                </a:lnTo>
                <a:lnTo>
                  <a:pt x="5403" y="9684"/>
                </a:lnTo>
                <a:lnTo>
                  <a:pt x="5403" y="9465"/>
                </a:lnTo>
                <a:lnTo>
                  <a:pt x="5403" y="9222"/>
                </a:lnTo>
                <a:lnTo>
                  <a:pt x="5427" y="8979"/>
                </a:lnTo>
                <a:lnTo>
                  <a:pt x="5451" y="8736"/>
                </a:lnTo>
                <a:lnTo>
                  <a:pt x="5500" y="8517"/>
                </a:lnTo>
                <a:lnTo>
                  <a:pt x="5573" y="8273"/>
                </a:lnTo>
                <a:lnTo>
                  <a:pt x="5646" y="8054"/>
                </a:lnTo>
                <a:lnTo>
                  <a:pt x="5743" y="7811"/>
                </a:lnTo>
                <a:lnTo>
                  <a:pt x="5865" y="7592"/>
                </a:lnTo>
                <a:lnTo>
                  <a:pt x="5987" y="7397"/>
                </a:lnTo>
                <a:lnTo>
                  <a:pt x="6133" y="7178"/>
                </a:lnTo>
                <a:lnTo>
                  <a:pt x="6376" y="6886"/>
                </a:lnTo>
                <a:lnTo>
                  <a:pt x="6644" y="6619"/>
                </a:lnTo>
                <a:lnTo>
                  <a:pt x="6911" y="6400"/>
                </a:lnTo>
                <a:lnTo>
                  <a:pt x="7228" y="6229"/>
                </a:lnTo>
                <a:lnTo>
                  <a:pt x="7544" y="6059"/>
                </a:lnTo>
                <a:lnTo>
                  <a:pt x="7884" y="5937"/>
                </a:lnTo>
                <a:lnTo>
                  <a:pt x="8225" y="5840"/>
                </a:lnTo>
                <a:lnTo>
                  <a:pt x="8590" y="5743"/>
                </a:lnTo>
                <a:lnTo>
                  <a:pt x="8687" y="5743"/>
                </a:lnTo>
                <a:lnTo>
                  <a:pt x="9052" y="5694"/>
                </a:lnTo>
                <a:close/>
                <a:moveTo>
                  <a:pt x="9150" y="5207"/>
                </a:moveTo>
                <a:lnTo>
                  <a:pt x="8760" y="5232"/>
                </a:lnTo>
                <a:lnTo>
                  <a:pt x="8420" y="5256"/>
                </a:lnTo>
                <a:lnTo>
                  <a:pt x="8055" y="5305"/>
                </a:lnTo>
                <a:lnTo>
                  <a:pt x="7714" y="5402"/>
                </a:lnTo>
                <a:lnTo>
                  <a:pt x="7373" y="5548"/>
                </a:lnTo>
                <a:lnTo>
                  <a:pt x="7057" y="5718"/>
                </a:lnTo>
                <a:lnTo>
                  <a:pt x="6741" y="5889"/>
                </a:lnTo>
                <a:lnTo>
                  <a:pt x="6473" y="6108"/>
                </a:lnTo>
                <a:lnTo>
                  <a:pt x="6181" y="6327"/>
                </a:lnTo>
                <a:lnTo>
                  <a:pt x="6035" y="6497"/>
                </a:lnTo>
                <a:lnTo>
                  <a:pt x="5865" y="6667"/>
                </a:lnTo>
                <a:lnTo>
                  <a:pt x="5597" y="7032"/>
                </a:lnTo>
                <a:lnTo>
                  <a:pt x="5354" y="7446"/>
                </a:lnTo>
                <a:lnTo>
                  <a:pt x="5159" y="7860"/>
                </a:lnTo>
                <a:lnTo>
                  <a:pt x="5013" y="8298"/>
                </a:lnTo>
                <a:lnTo>
                  <a:pt x="4916" y="8760"/>
                </a:lnTo>
                <a:lnTo>
                  <a:pt x="4867" y="9222"/>
                </a:lnTo>
                <a:lnTo>
                  <a:pt x="4867" y="9684"/>
                </a:lnTo>
                <a:lnTo>
                  <a:pt x="4916" y="10049"/>
                </a:lnTo>
                <a:lnTo>
                  <a:pt x="4965" y="10414"/>
                </a:lnTo>
                <a:lnTo>
                  <a:pt x="5062" y="10755"/>
                </a:lnTo>
                <a:lnTo>
                  <a:pt x="5184" y="11096"/>
                </a:lnTo>
                <a:lnTo>
                  <a:pt x="5330" y="11412"/>
                </a:lnTo>
                <a:lnTo>
                  <a:pt x="5500" y="11728"/>
                </a:lnTo>
                <a:lnTo>
                  <a:pt x="5695" y="12020"/>
                </a:lnTo>
                <a:lnTo>
                  <a:pt x="5914" y="12288"/>
                </a:lnTo>
                <a:lnTo>
                  <a:pt x="6157" y="12531"/>
                </a:lnTo>
                <a:lnTo>
                  <a:pt x="6425" y="12775"/>
                </a:lnTo>
                <a:lnTo>
                  <a:pt x="6717" y="12969"/>
                </a:lnTo>
                <a:lnTo>
                  <a:pt x="7009" y="13164"/>
                </a:lnTo>
                <a:lnTo>
                  <a:pt x="7325" y="13310"/>
                </a:lnTo>
                <a:lnTo>
                  <a:pt x="7665" y="13432"/>
                </a:lnTo>
                <a:lnTo>
                  <a:pt x="8006" y="13529"/>
                </a:lnTo>
                <a:lnTo>
                  <a:pt x="8371" y="13602"/>
                </a:lnTo>
                <a:lnTo>
                  <a:pt x="8687" y="13651"/>
                </a:lnTo>
                <a:lnTo>
                  <a:pt x="9296" y="13651"/>
                </a:lnTo>
                <a:lnTo>
                  <a:pt x="9612" y="13626"/>
                </a:lnTo>
                <a:lnTo>
                  <a:pt x="9928" y="13578"/>
                </a:lnTo>
                <a:lnTo>
                  <a:pt x="10220" y="13505"/>
                </a:lnTo>
                <a:lnTo>
                  <a:pt x="10512" y="13407"/>
                </a:lnTo>
                <a:lnTo>
                  <a:pt x="10804" y="13310"/>
                </a:lnTo>
                <a:lnTo>
                  <a:pt x="11072" y="13188"/>
                </a:lnTo>
                <a:lnTo>
                  <a:pt x="11340" y="13042"/>
                </a:lnTo>
                <a:lnTo>
                  <a:pt x="11607" y="12872"/>
                </a:lnTo>
                <a:lnTo>
                  <a:pt x="11851" y="12702"/>
                </a:lnTo>
                <a:lnTo>
                  <a:pt x="12094" y="12507"/>
                </a:lnTo>
                <a:lnTo>
                  <a:pt x="12313" y="12288"/>
                </a:lnTo>
                <a:lnTo>
                  <a:pt x="12508" y="12045"/>
                </a:lnTo>
                <a:lnTo>
                  <a:pt x="12702" y="11801"/>
                </a:lnTo>
                <a:lnTo>
                  <a:pt x="12897" y="11461"/>
                </a:lnTo>
                <a:lnTo>
                  <a:pt x="13092" y="11096"/>
                </a:lnTo>
                <a:lnTo>
                  <a:pt x="13213" y="10706"/>
                </a:lnTo>
                <a:lnTo>
                  <a:pt x="13335" y="10317"/>
                </a:lnTo>
                <a:lnTo>
                  <a:pt x="13384" y="9903"/>
                </a:lnTo>
                <a:lnTo>
                  <a:pt x="13432" y="9490"/>
                </a:lnTo>
                <a:lnTo>
                  <a:pt x="13432" y="9076"/>
                </a:lnTo>
                <a:lnTo>
                  <a:pt x="13384" y="8663"/>
                </a:lnTo>
                <a:lnTo>
                  <a:pt x="13311" y="8273"/>
                </a:lnTo>
                <a:lnTo>
                  <a:pt x="13189" y="7860"/>
                </a:lnTo>
                <a:lnTo>
                  <a:pt x="13043" y="7495"/>
                </a:lnTo>
                <a:lnTo>
                  <a:pt x="12873" y="7130"/>
                </a:lnTo>
                <a:lnTo>
                  <a:pt x="12654" y="6789"/>
                </a:lnTo>
                <a:lnTo>
                  <a:pt x="12386" y="6473"/>
                </a:lnTo>
                <a:lnTo>
                  <a:pt x="12094" y="6181"/>
                </a:lnTo>
                <a:lnTo>
                  <a:pt x="11778" y="5937"/>
                </a:lnTo>
                <a:lnTo>
                  <a:pt x="11461" y="5743"/>
                </a:lnTo>
                <a:lnTo>
                  <a:pt x="11096" y="5572"/>
                </a:lnTo>
                <a:lnTo>
                  <a:pt x="10731" y="5426"/>
                </a:lnTo>
                <a:lnTo>
                  <a:pt x="10342" y="5329"/>
                </a:lnTo>
                <a:lnTo>
                  <a:pt x="9953" y="5256"/>
                </a:lnTo>
                <a:lnTo>
                  <a:pt x="9539" y="5207"/>
                </a:lnTo>
                <a:close/>
                <a:moveTo>
                  <a:pt x="7714" y="511"/>
                </a:moveTo>
                <a:lnTo>
                  <a:pt x="8687" y="536"/>
                </a:lnTo>
                <a:lnTo>
                  <a:pt x="9685" y="560"/>
                </a:lnTo>
                <a:lnTo>
                  <a:pt x="10658" y="633"/>
                </a:lnTo>
                <a:lnTo>
                  <a:pt x="11340" y="633"/>
                </a:lnTo>
                <a:lnTo>
                  <a:pt x="11680" y="609"/>
                </a:lnTo>
                <a:lnTo>
                  <a:pt x="12021" y="609"/>
                </a:lnTo>
                <a:lnTo>
                  <a:pt x="12264" y="633"/>
                </a:lnTo>
                <a:lnTo>
                  <a:pt x="12483" y="706"/>
                </a:lnTo>
                <a:lnTo>
                  <a:pt x="12654" y="779"/>
                </a:lnTo>
                <a:lnTo>
                  <a:pt x="12800" y="876"/>
                </a:lnTo>
                <a:lnTo>
                  <a:pt x="12921" y="1022"/>
                </a:lnTo>
                <a:lnTo>
                  <a:pt x="13019" y="1168"/>
                </a:lnTo>
                <a:lnTo>
                  <a:pt x="13092" y="1314"/>
                </a:lnTo>
                <a:lnTo>
                  <a:pt x="13140" y="1484"/>
                </a:lnTo>
                <a:lnTo>
                  <a:pt x="13262" y="1874"/>
                </a:lnTo>
                <a:lnTo>
                  <a:pt x="13335" y="2263"/>
                </a:lnTo>
                <a:lnTo>
                  <a:pt x="13432" y="2652"/>
                </a:lnTo>
                <a:lnTo>
                  <a:pt x="13481" y="2847"/>
                </a:lnTo>
                <a:lnTo>
                  <a:pt x="13554" y="3017"/>
                </a:lnTo>
                <a:lnTo>
                  <a:pt x="13627" y="3115"/>
                </a:lnTo>
                <a:lnTo>
                  <a:pt x="13724" y="3139"/>
                </a:lnTo>
                <a:lnTo>
                  <a:pt x="13822" y="3139"/>
                </a:lnTo>
                <a:lnTo>
                  <a:pt x="13919" y="3090"/>
                </a:lnTo>
                <a:lnTo>
                  <a:pt x="14138" y="3066"/>
                </a:lnTo>
                <a:lnTo>
                  <a:pt x="14357" y="3066"/>
                </a:lnTo>
                <a:lnTo>
                  <a:pt x="14795" y="3090"/>
                </a:lnTo>
                <a:lnTo>
                  <a:pt x="15233" y="3139"/>
                </a:lnTo>
                <a:lnTo>
                  <a:pt x="15671" y="3163"/>
                </a:lnTo>
                <a:lnTo>
                  <a:pt x="16084" y="3188"/>
                </a:lnTo>
                <a:lnTo>
                  <a:pt x="16571" y="3212"/>
                </a:lnTo>
                <a:lnTo>
                  <a:pt x="16839" y="3212"/>
                </a:lnTo>
                <a:lnTo>
                  <a:pt x="17082" y="3188"/>
                </a:lnTo>
                <a:lnTo>
                  <a:pt x="17325" y="3163"/>
                </a:lnTo>
                <a:lnTo>
                  <a:pt x="17520" y="3066"/>
                </a:lnTo>
                <a:lnTo>
                  <a:pt x="17496" y="3261"/>
                </a:lnTo>
                <a:lnTo>
                  <a:pt x="17496" y="3480"/>
                </a:lnTo>
                <a:lnTo>
                  <a:pt x="17544" y="5086"/>
                </a:lnTo>
                <a:lnTo>
                  <a:pt x="17593" y="6789"/>
                </a:lnTo>
                <a:lnTo>
                  <a:pt x="17617" y="8517"/>
                </a:lnTo>
                <a:lnTo>
                  <a:pt x="17666" y="11753"/>
                </a:lnTo>
                <a:lnTo>
                  <a:pt x="17666" y="12483"/>
                </a:lnTo>
                <a:lnTo>
                  <a:pt x="17642" y="13213"/>
                </a:lnTo>
                <a:lnTo>
                  <a:pt x="17617" y="13943"/>
                </a:lnTo>
                <a:lnTo>
                  <a:pt x="17617" y="14673"/>
                </a:lnTo>
                <a:lnTo>
                  <a:pt x="17544" y="14673"/>
                </a:lnTo>
                <a:lnTo>
                  <a:pt x="16449" y="14746"/>
                </a:lnTo>
                <a:lnTo>
                  <a:pt x="15379" y="14794"/>
                </a:lnTo>
                <a:lnTo>
                  <a:pt x="14308" y="14794"/>
                </a:lnTo>
                <a:lnTo>
                  <a:pt x="13238" y="14770"/>
                </a:lnTo>
                <a:lnTo>
                  <a:pt x="11072" y="14721"/>
                </a:lnTo>
                <a:lnTo>
                  <a:pt x="10001" y="14697"/>
                </a:lnTo>
                <a:lnTo>
                  <a:pt x="8931" y="14673"/>
                </a:lnTo>
                <a:lnTo>
                  <a:pt x="7811" y="14673"/>
                </a:lnTo>
                <a:lnTo>
                  <a:pt x="6692" y="14721"/>
                </a:lnTo>
                <a:lnTo>
                  <a:pt x="4454" y="14819"/>
                </a:lnTo>
                <a:lnTo>
                  <a:pt x="2215" y="14892"/>
                </a:lnTo>
                <a:lnTo>
                  <a:pt x="1826" y="14892"/>
                </a:lnTo>
                <a:lnTo>
                  <a:pt x="1436" y="14867"/>
                </a:lnTo>
                <a:lnTo>
                  <a:pt x="828" y="14867"/>
                </a:lnTo>
                <a:lnTo>
                  <a:pt x="633" y="14916"/>
                </a:lnTo>
                <a:lnTo>
                  <a:pt x="658" y="14624"/>
                </a:lnTo>
                <a:lnTo>
                  <a:pt x="658" y="14308"/>
                </a:lnTo>
                <a:lnTo>
                  <a:pt x="658" y="13724"/>
                </a:lnTo>
                <a:lnTo>
                  <a:pt x="633" y="13115"/>
                </a:lnTo>
                <a:lnTo>
                  <a:pt x="633" y="12531"/>
                </a:lnTo>
                <a:lnTo>
                  <a:pt x="682" y="10804"/>
                </a:lnTo>
                <a:lnTo>
                  <a:pt x="706" y="9928"/>
                </a:lnTo>
                <a:lnTo>
                  <a:pt x="682" y="9076"/>
                </a:lnTo>
                <a:lnTo>
                  <a:pt x="585" y="7349"/>
                </a:lnTo>
                <a:lnTo>
                  <a:pt x="512" y="5597"/>
                </a:lnTo>
                <a:lnTo>
                  <a:pt x="463" y="4794"/>
                </a:lnTo>
                <a:lnTo>
                  <a:pt x="439" y="4380"/>
                </a:lnTo>
                <a:lnTo>
                  <a:pt x="439" y="3991"/>
                </a:lnTo>
                <a:lnTo>
                  <a:pt x="439" y="3601"/>
                </a:lnTo>
                <a:lnTo>
                  <a:pt x="390" y="3236"/>
                </a:lnTo>
                <a:lnTo>
                  <a:pt x="706" y="3285"/>
                </a:lnTo>
                <a:lnTo>
                  <a:pt x="1217" y="3285"/>
                </a:lnTo>
                <a:lnTo>
                  <a:pt x="1436" y="3261"/>
                </a:lnTo>
                <a:lnTo>
                  <a:pt x="1655" y="3212"/>
                </a:lnTo>
                <a:lnTo>
                  <a:pt x="1753" y="3163"/>
                </a:lnTo>
                <a:lnTo>
                  <a:pt x="1826" y="3115"/>
                </a:lnTo>
                <a:lnTo>
                  <a:pt x="1874" y="3042"/>
                </a:lnTo>
                <a:lnTo>
                  <a:pt x="1899" y="2969"/>
                </a:lnTo>
                <a:lnTo>
                  <a:pt x="1899" y="2896"/>
                </a:lnTo>
                <a:lnTo>
                  <a:pt x="1874" y="2823"/>
                </a:lnTo>
                <a:lnTo>
                  <a:pt x="1947" y="2725"/>
                </a:lnTo>
                <a:lnTo>
                  <a:pt x="2069" y="2652"/>
                </a:lnTo>
                <a:lnTo>
                  <a:pt x="2191" y="2579"/>
                </a:lnTo>
                <a:lnTo>
                  <a:pt x="2312" y="2555"/>
                </a:lnTo>
                <a:lnTo>
                  <a:pt x="2458" y="2531"/>
                </a:lnTo>
                <a:lnTo>
                  <a:pt x="2580" y="2531"/>
                </a:lnTo>
                <a:lnTo>
                  <a:pt x="2702" y="2555"/>
                </a:lnTo>
                <a:lnTo>
                  <a:pt x="2823" y="2579"/>
                </a:lnTo>
                <a:lnTo>
                  <a:pt x="2945" y="2628"/>
                </a:lnTo>
                <a:lnTo>
                  <a:pt x="3067" y="2677"/>
                </a:lnTo>
                <a:lnTo>
                  <a:pt x="3164" y="2774"/>
                </a:lnTo>
                <a:lnTo>
                  <a:pt x="3237" y="2847"/>
                </a:lnTo>
                <a:lnTo>
                  <a:pt x="3310" y="2944"/>
                </a:lnTo>
                <a:lnTo>
                  <a:pt x="3334" y="2993"/>
                </a:lnTo>
                <a:lnTo>
                  <a:pt x="3334" y="3017"/>
                </a:lnTo>
                <a:lnTo>
                  <a:pt x="3383" y="3115"/>
                </a:lnTo>
                <a:lnTo>
                  <a:pt x="3456" y="3163"/>
                </a:lnTo>
                <a:lnTo>
                  <a:pt x="3529" y="3188"/>
                </a:lnTo>
                <a:lnTo>
                  <a:pt x="3602" y="3163"/>
                </a:lnTo>
                <a:lnTo>
                  <a:pt x="3821" y="3188"/>
                </a:lnTo>
                <a:lnTo>
                  <a:pt x="4162" y="3212"/>
                </a:lnTo>
                <a:lnTo>
                  <a:pt x="4332" y="3188"/>
                </a:lnTo>
                <a:lnTo>
                  <a:pt x="4502" y="3139"/>
                </a:lnTo>
                <a:lnTo>
                  <a:pt x="4551" y="3090"/>
                </a:lnTo>
                <a:lnTo>
                  <a:pt x="4575" y="3042"/>
                </a:lnTo>
                <a:lnTo>
                  <a:pt x="4600" y="2993"/>
                </a:lnTo>
                <a:lnTo>
                  <a:pt x="4600" y="2920"/>
                </a:lnTo>
                <a:lnTo>
                  <a:pt x="4721" y="2725"/>
                </a:lnTo>
                <a:lnTo>
                  <a:pt x="4794" y="2506"/>
                </a:lnTo>
                <a:lnTo>
                  <a:pt x="4867" y="2263"/>
                </a:lnTo>
                <a:lnTo>
                  <a:pt x="4940" y="2020"/>
                </a:lnTo>
                <a:lnTo>
                  <a:pt x="5062" y="1533"/>
                </a:lnTo>
                <a:lnTo>
                  <a:pt x="5135" y="1290"/>
                </a:lnTo>
                <a:lnTo>
                  <a:pt x="5232" y="1095"/>
                </a:lnTo>
                <a:lnTo>
                  <a:pt x="5281" y="998"/>
                </a:lnTo>
                <a:lnTo>
                  <a:pt x="5354" y="925"/>
                </a:lnTo>
                <a:lnTo>
                  <a:pt x="5500" y="803"/>
                </a:lnTo>
                <a:lnTo>
                  <a:pt x="5695" y="706"/>
                </a:lnTo>
                <a:lnTo>
                  <a:pt x="5889" y="657"/>
                </a:lnTo>
                <a:lnTo>
                  <a:pt x="6108" y="609"/>
                </a:lnTo>
                <a:lnTo>
                  <a:pt x="6327" y="584"/>
                </a:lnTo>
                <a:lnTo>
                  <a:pt x="6717" y="560"/>
                </a:lnTo>
                <a:lnTo>
                  <a:pt x="7203" y="536"/>
                </a:lnTo>
                <a:lnTo>
                  <a:pt x="7714" y="511"/>
                </a:lnTo>
                <a:close/>
                <a:moveTo>
                  <a:pt x="7714" y="0"/>
                </a:moveTo>
                <a:lnTo>
                  <a:pt x="7130" y="25"/>
                </a:lnTo>
                <a:lnTo>
                  <a:pt x="6546" y="49"/>
                </a:lnTo>
                <a:lnTo>
                  <a:pt x="6157" y="98"/>
                </a:lnTo>
                <a:lnTo>
                  <a:pt x="5768" y="146"/>
                </a:lnTo>
                <a:lnTo>
                  <a:pt x="5573" y="195"/>
                </a:lnTo>
                <a:lnTo>
                  <a:pt x="5378" y="268"/>
                </a:lnTo>
                <a:lnTo>
                  <a:pt x="5208" y="365"/>
                </a:lnTo>
                <a:lnTo>
                  <a:pt x="5062" y="487"/>
                </a:lnTo>
                <a:lnTo>
                  <a:pt x="4940" y="584"/>
                </a:lnTo>
                <a:lnTo>
                  <a:pt x="4843" y="706"/>
                </a:lnTo>
                <a:lnTo>
                  <a:pt x="4697" y="949"/>
                </a:lnTo>
                <a:lnTo>
                  <a:pt x="4575" y="1241"/>
                </a:lnTo>
                <a:lnTo>
                  <a:pt x="4502" y="1533"/>
                </a:lnTo>
                <a:lnTo>
                  <a:pt x="4332" y="2141"/>
                </a:lnTo>
                <a:lnTo>
                  <a:pt x="4113" y="2750"/>
                </a:lnTo>
                <a:lnTo>
                  <a:pt x="3894" y="2774"/>
                </a:lnTo>
                <a:lnTo>
                  <a:pt x="3699" y="2774"/>
                </a:lnTo>
                <a:lnTo>
                  <a:pt x="3602" y="2628"/>
                </a:lnTo>
                <a:lnTo>
                  <a:pt x="3505" y="2482"/>
                </a:lnTo>
                <a:lnTo>
                  <a:pt x="3359" y="2385"/>
                </a:lnTo>
                <a:lnTo>
                  <a:pt x="3213" y="2287"/>
                </a:lnTo>
                <a:lnTo>
                  <a:pt x="3067" y="2214"/>
                </a:lnTo>
                <a:lnTo>
                  <a:pt x="2896" y="2166"/>
                </a:lnTo>
                <a:lnTo>
                  <a:pt x="2702" y="2117"/>
                </a:lnTo>
                <a:lnTo>
                  <a:pt x="2531" y="2093"/>
                </a:lnTo>
                <a:lnTo>
                  <a:pt x="2410" y="2117"/>
                </a:lnTo>
                <a:lnTo>
                  <a:pt x="2264" y="2141"/>
                </a:lnTo>
                <a:lnTo>
                  <a:pt x="2118" y="2166"/>
                </a:lnTo>
                <a:lnTo>
                  <a:pt x="1947" y="2239"/>
                </a:lnTo>
                <a:lnTo>
                  <a:pt x="1801" y="2312"/>
                </a:lnTo>
                <a:lnTo>
                  <a:pt x="1680" y="2409"/>
                </a:lnTo>
                <a:lnTo>
                  <a:pt x="1558" y="2506"/>
                </a:lnTo>
                <a:lnTo>
                  <a:pt x="1485" y="2628"/>
                </a:lnTo>
                <a:lnTo>
                  <a:pt x="1242" y="2652"/>
                </a:lnTo>
                <a:lnTo>
                  <a:pt x="1023" y="2677"/>
                </a:lnTo>
                <a:lnTo>
                  <a:pt x="220" y="2677"/>
                </a:lnTo>
                <a:lnTo>
                  <a:pt x="171" y="2701"/>
                </a:lnTo>
                <a:lnTo>
                  <a:pt x="122" y="2725"/>
                </a:lnTo>
                <a:lnTo>
                  <a:pt x="74" y="2774"/>
                </a:lnTo>
                <a:lnTo>
                  <a:pt x="25" y="2823"/>
                </a:lnTo>
                <a:lnTo>
                  <a:pt x="1" y="2896"/>
                </a:lnTo>
                <a:lnTo>
                  <a:pt x="25" y="4258"/>
                </a:lnTo>
                <a:lnTo>
                  <a:pt x="49" y="5597"/>
                </a:lnTo>
                <a:lnTo>
                  <a:pt x="98" y="7349"/>
                </a:lnTo>
                <a:lnTo>
                  <a:pt x="195" y="9076"/>
                </a:lnTo>
                <a:lnTo>
                  <a:pt x="195" y="9879"/>
                </a:lnTo>
                <a:lnTo>
                  <a:pt x="195" y="10706"/>
                </a:lnTo>
                <a:lnTo>
                  <a:pt x="171" y="11534"/>
                </a:lnTo>
                <a:lnTo>
                  <a:pt x="122" y="12337"/>
                </a:lnTo>
                <a:lnTo>
                  <a:pt x="98" y="12994"/>
                </a:lnTo>
                <a:lnTo>
                  <a:pt x="98" y="13626"/>
                </a:lnTo>
                <a:lnTo>
                  <a:pt x="122" y="14916"/>
                </a:lnTo>
                <a:lnTo>
                  <a:pt x="122" y="14965"/>
                </a:lnTo>
                <a:lnTo>
                  <a:pt x="147" y="15038"/>
                </a:lnTo>
                <a:lnTo>
                  <a:pt x="195" y="15086"/>
                </a:lnTo>
                <a:lnTo>
                  <a:pt x="244" y="15111"/>
                </a:lnTo>
                <a:lnTo>
                  <a:pt x="268" y="15184"/>
                </a:lnTo>
                <a:lnTo>
                  <a:pt x="317" y="15257"/>
                </a:lnTo>
                <a:lnTo>
                  <a:pt x="487" y="15354"/>
                </a:lnTo>
                <a:lnTo>
                  <a:pt x="706" y="15403"/>
                </a:lnTo>
                <a:lnTo>
                  <a:pt x="925" y="15427"/>
                </a:lnTo>
                <a:lnTo>
                  <a:pt x="1144" y="15451"/>
                </a:lnTo>
                <a:lnTo>
                  <a:pt x="1607" y="15451"/>
                </a:lnTo>
                <a:lnTo>
                  <a:pt x="2020" y="15427"/>
                </a:lnTo>
                <a:lnTo>
                  <a:pt x="3140" y="15403"/>
                </a:lnTo>
                <a:lnTo>
                  <a:pt x="4259" y="15378"/>
                </a:lnTo>
                <a:lnTo>
                  <a:pt x="5378" y="15330"/>
                </a:lnTo>
                <a:lnTo>
                  <a:pt x="6498" y="15281"/>
                </a:lnTo>
                <a:lnTo>
                  <a:pt x="7617" y="15232"/>
                </a:lnTo>
                <a:lnTo>
                  <a:pt x="8736" y="15208"/>
                </a:lnTo>
                <a:lnTo>
                  <a:pt x="9855" y="15232"/>
                </a:lnTo>
                <a:lnTo>
                  <a:pt x="10950" y="15257"/>
                </a:lnTo>
                <a:lnTo>
                  <a:pt x="13140" y="15305"/>
                </a:lnTo>
                <a:lnTo>
                  <a:pt x="14235" y="15330"/>
                </a:lnTo>
                <a:lnTo>
                  <a:pt x="15330" y="15330"/>
                </a:lnTo>
                <a:lnTo>
                  <a:pt x="16449" y="15305"/>
                </a:lnTo>
                <a:lnTo>
                  <a:pt x="17544" y="15208"/>
                </a:lnTo>
                <a:lnTo>
                  <a:pt x="17642" y="15184"/>
                </a:lnTo>
                <a:lnTo>
                  <a:pt x="17715" y="15135"/>
                </a:lnTo>
                <a:lnTo>
                  <a:pt x="17788" y="15184"/>
                </a:lnTo>
                <a:lnTo>
                  <a:pt x="17861" y="15208"/>
                </a:lnTo>
                <a:lnTo>
                  <a:pt x="17958" y="15232"/>
                </a:lnTo>
                <a:lnTo>
                  <a:pt x="18031" y="15208"/>
                </a:lnTo>
                <a:lnTo>
                  <a:pt x="18104" y="15184"/>
                </a:lnTo>
                <a:lnTo>
                  <a:pt x="18177" y="15111"/>
                </a:lnTo>
                <a:lnTo>
                  <a:pt x="18201" y="15038"/>
                </a:lnTo>
                <a:lnTo>
                  <a:pt x="18226" y="14940"/>
                </a:lnTo>
                <a:lnTo>
                  <a:pt x="18201" y="14186"/>
                </a:lnTo>
                <a:lnTo>
                  <a:pt x="18226" y="13432"/>
                </a:lnTo>
                <a:lnTo>
                  <a:pt x="18250" y="12677"/>
                </a:lnTo>
                <a:lnTo>
                  <a:pt x="18250" y="11923"/>
                </a:lnTo>
                <a:lnTo>
                  <a:pt x="18201" y="8711"/>
                </a:lnTo>
                <a:lnTo>
                  <a:pt x="18177" y="7081"/>
                </a:lnTo>
                <a:lnTo>
                  <a:pt x="18104" y="5475"/>
                </a:lnTo>
                <a:lnTo>
                  <a:pt x="18080" y="4794"/>
                </a:lnTo>
                <a:lnTo>
                  <a:pt x="18031" y="4137"/>
                </a:lnTo>
                <a:lnTo>
                  <a:pt x="17982" y="3480"/>
                </a:lnTo>
                <a:lnTo>
                  <a:pt x="17982" y="2798"/>
                </a:lnTo>
                <a:lnTo>
                  <a:pt x="17982" y="2750"/>
                </a:lnTo>
                <a:lnTo>
                  <a:pt x="17958" y="2701"/>
                </a:lnTo>
                <a:lnTo>
                  <a:pt x="17885" y="2652"/>
                </a:lnTo>
                <a:lnTo>
                  <a:pt x="17788" y="2628"/>
                </a:lnTo>
                <a:lnTo>
                  <a:pt x="17715" y="2628"/>
                </a:lnTo>
                <a:lnTo>
                  <a:pt x="17617" y="2579"/>
                </a:lnTo>
                <a:lnTo>
                  <a:pt x="17496" y="2555"/>
                </a:lnTo>
                <a:lnTo>
                  <a:pt x="17106" y="2555"/>
                </a:lnTo>
                <a:lnTo>
                  <a:pt x="16839" y="2604"/>
                </a:lnTo>
                <a:lnTo>
                  <a:pt x="16595" y="2628"/>
                </a:lnTo>
                <a:lnTo>
                  <a:pt x="15963" y="2652"/>
                </a:lnTo>
                <a:lnTo>
                  <a:pt x="15330" y="2628"/>
                </a:lnTo>
                <a:lnTo>
                  <a:pt x="14990" y="2604"/>
                </a:lnTo>
                <a:lnTo>
                  <a:pt x="14625" y="2555"/>
                </a:lnTo>
                <a:lnTo>
                  <a:pt x="14260" y="2555"/>
                </a:lnTo>
                <a:lnTo>
                  <a:pt x="14089" y="2579"/>
                </a:lnTo>
                <a:lnTo>
                  <a:pt x="13943" y="2628"/>
                </a:lnTo>
                <a:lnTo>
                  <a:pt x="13846" y="2263"/>
                </a:lnTo>
                <a:lnTo>
                  <a:pt x="13773" y="1874"/>
                </a:lnTo>
                <a:lnTo>
                  <a:pt x="13700" y="1509"/>
                </a:lnTo>
                <a:lnTo>
                  <a:pt x="13578" y="1168"/>
                </a:lnTo>
                <a:lnTo>
                  <a:pt x="13505" y="1022"/>
                </a:lnTo>
                <a:lnTo>
                  <a:pt x="13432" y="852"/>
                </a:lnTo>
                <a:lnTo>
                  <a:pt x="13335" y="706"/>
                </a:lnTo>
                <a:lnTo>
                  <a:pt x="13238" y="584"/>
                </a:lnTo>
                <a:lnTo>
                  <a:pt x="13092" y="463"/>
                </a:lnTo>
                <a:lnTo>
                  <a:pt x="12946" y="341"/>
                </a:lnTo>
                <a:lnTo>
                  <a:pt x="12775" y="268"/>
                </a:lnTo>
                <a:lnTo>
                  <a:pt x="12581" y="171"/>
                </a:lnTo>
                <a:lnTo>
                  <a:pt x="12386" y="146"/>
                </a:lnTo>
                <a:lnTo>
                  <a:pt x="12191" y="98"/>
                </a:lnTo>
                <a:lnTo>
                  <a:pt x="11802" y="98"/>
                </a:lnTo>
                <a:lnTo>
                  <a:pt x="11023" y="122"/>
                </a:lnTo>
                <a:lnTo>
                  <a:pt x="10488" y="122"/>
                </a:lnTo>
                <a:lnTo>
                  <a:pt x="9953" y="98"/>
                </a:lnTo>
                <a:lnTo>
                  <a:pt x="8882" y="25"/>
                </a:lnTo>
                <a:lnTo>
                  <a:pt x="8298" y="0"/>
                </a:lnTo>
                <a:close/>
              </a:path>
            </a:pathLst>
          </a:custGeom>
          <a:solidFill>
            <a:schemeClr val="dk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32769" name="Picture 1" descr="C:\Users\7272~1\AppData\Local\Temp\Rar$DRa6828.33251\MyCollages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704340" y="3349272"/>
            <a:ext cx="2809240" cy="280924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32770" name="Picture 2" descr="C:\Users\7272~1\AppData\Local\Temp\Rar$DRa6828.34160\MyCollages (2)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154114" y="1305560"/>
            <a:ext cx="2291080" cy="229108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32771" name="Picture 3" descr="C:\Users\7272~1\AppData\Local\Temp\Rar$DRa6828.36019\MyCollages (1)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61164" y="1366378"/>
            <a:ext cx="2275840" cy="227584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31" name="Прямоугольник 30"/>
          <p:cNvSpPr/>
          <p:nvPr/>
        </p:nvSpPr>
        <p:spPr>
          <a:xfrm>
            <a:off x="2661920" y="1330960"/>
            <a:ext cx="2773680" cy="416560"/>
          </a:xfrm>
          <a:prstGeom prst="rect">
            <a:avLst/>
          </a:prstGeom>
          <a:solidFill>
            <a:srgbClr val="9AD4D6"/>
          </a:solidFill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b="1" dirty="0" smtClean="0"/>
              <a:t>Досуг-День Матери                                 </a:t>
            </a:r>
            <a:r>
              <a:rPr lang="ru-RU" sz="1200" dirty="0" smtClean="0"/>
              <a:t>«С мамочкой я всё преодолею»</a:t>
            </a:r>
            <a:endParaRPr lang="ru-RU" sz="1200" dirty="0"/>
          </a:p>
        </p:txBody>
      </p:sp>
      <p:sp>
        <p:nvSpPr>
          <p:cNvPr id="32" name="Прямоугольник 31"/>
          <p:cNvSpPr/>
          <p:nvPr/>
        </p:nvSpPr>
        <p:spPr>
          <a:xfrm>
            <a:off x="5100319" y="1704375"/>
            <a:ext cx="2753360" cy="426720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b="1" dirty="0" smtClean="0"/>
              <a:t>Консультационные практики</a:t>
            </a:r>
            <a:r>
              <a:rPr lang="ru-RU" sz="1200" dirty="0" smtClean="0"/>
              <a:t>, «Разговоры о важном»</a:t>
            </a:r>
            <a:endParaRPr lang="ru-RU" sz="1200" dirty="0"/>
          </a:p>
        </p:txBody>
      </p:sp>
      <p:sp>
        <p:nvSpPr>
          <p:cNvPr id="34" name="Прямоугольник 33"/>
          <p:cNvSpPr/>
          <p:nvPr/>
        </p:nvSpPr>
        <p:spPr>
          <a:xfrm>
            <a:off x="5082395" y="3108960"/>
            <a:ext cx="2885440" cy="396240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b="1" dirty="0" smtClean="0"/>
              <a:t>Проектный интенсив </a:t>
            </a:r>
            <a:r>
              <a:rPr lang="ru-RU" sz="1200" dirty="0" smtClean="0"/>
              <a:t> для родителей «Играю, двигаюсь, учусь»</a:t>
            </a:r>
            <a:endParaRPr lang="ru-RU" sz="1200" dirty="0"/>
          </a:p>
        </p:txBody>
      </p:sp>
      <p:pic>
        <p:nvPicPr>
          <p:cNvPr id="32772" name="Picture 4" descr="C:\Users\7272~1\AppData\Local\Temp\Rar$DRa7620.22641\Рисунок2.jp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4794213" y="3473947"/>
            <a:ext cx="2906776" cy="2903217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32773" name="Picture 5" descr="C:\Users\7272~1\AppData\Local\Temp\Rar$DRa7620.23006\Рисунок1.jp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107400" y="3653073"/>
            <a:ext cx="2936240" cy="272493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52" name="Прямоугольник 51"/>
          <p:cNvSpPr/>
          <p:nvPr/>
        </p:nvSpPr>
        <p:spPr>
          <a:xfrm>
            <a:off x="2487305" y="2145453"/>
            <a:ext cx="2905760" cy="425422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b="1" dirty="0" smtClean="0"/>
              <a:t>Технологии тимбилдинга </a:t>
            </a:r>
            <a:r>
              <a:rPr lang="ru-RU" sz="1200" dirty="0" smtClean="0"/>
              <a:t>«Мы вместе»</a:t>
            </a:r>
            <a:endParaRPr lang="ru-RU" sz="1200" dirty="0"/>
          </a:p>
        </p:txBody>
      </p:sp>
      <p:sp>
        <p:nvSpPr>
          <p:cNvPr id="53" name="Прямоугольник 52"/>
          <p:cNvSpPr/>
          <p:nvPr/>
        </p:nvSpPr>
        <p:spPr>
          <a:xfrm>
            <a:off x="3698240" y="2641600"/>
            <a:ext cx="3200400" cy="406400"/>
          </a:xfrm>
          <a:prstGeom prst="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b="1" dirty="0" smtClean="0"/>
              <a:t>Вопрос-ответ</a:t>
            </a:r>
            <a:r>
              <a:rPr lang="ru-RU" sz="1200" dirty="0" smtClean="0"/>
              <a:t> «Детские вопросы: как на них реагировать и отвечать?»</a:t>
            </a:r>
            <a:endParaRPr lang="ru-RU" sz="1200" dirty="0"/>
          </a:p>
        </p:txBody>
      </p:sp>
      <p:cxnSp>
        <p:nvCxnSpPr>
          <p:cNvPr id="55" name="Прямая со стрелкой 54"/>
          <p:cNvCxnSpPr/>
          <p:nvPr/>
        </p:nvCxnSpPr>
        <p:spPr>
          <a:xfrm flipH="1">
            <a:off x="2397760" y="1778000"/>
            <a:ext cx="711200" cy="2032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Прямая со стрелкой 56"/>
          <p:cNvCxnSpPr/>
          <p:nvPr/>
        </p:nvCxnSpPr>
        <p:spPr>
          <a:xfrm flipH="1">
            <a:off x="2853188" y="2759322"/>
            <a:ext cx="351023" cy="61711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Прямая со стрелкой 58"/>
          <p:cNvCxnSpPr/>
          <p:nvPr/>
        </p:nvCxnSpPr>
        <p:spPr>
          <a:xfrm>
            <a:off x="4389120" y="3108960"/>
            <a:ext cx="463961" cy="6604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Прямая со стрелкой 60"/>
          <p:cNvCxnSpPr/>
          <p:nvPr/>
        </p:nvCxnSpPr>
        <p:spPr>
          <a:xfrm>
            <a:off x="7072050" y="2164080"/>
            <a:ext cx="1127760" cy="42672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Прямая со стрелкой 62"/>
          <p:cNvCxnSpPr/>
          <p:nvPr/>
        </p:nvCxnSpPr>
        <p:spPr>
          <a:xfrm>
            <a:off x="7808674" y="3564396"/>
            <a:ext cx="345440" cy="31496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19340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4">
            <a:extLst>
              <a:ext uri="{FF2B5EF4-FFF2-40B4-BE49-F238E27FC236}">
                <a16:creationId xmlns:a16="http://schemas.microsoft.com/office/drawing/2014/main" xmlns="" id="{B210F6F7-62F4-4E9E-9E2E-B49C62584D97}"/>
              </a:ext>
            </a:extLst>
          </p:cNvPr>
          <p:cNvSpPr/>
          <p:nvPr/>
        </p:nvSpPr>
        <p:spPr>
          <a:xfrm>
            <a:off x="0" y="1"/>
            <a:ext cx="8726371" cy="1981954"/>
          </a:xfrm>
          <a:custGeom>
            <a:avLst/>
            <a:gdLst>
              <a:gd name="connsiteX0" fmla="*/ 0 w 5880100"/>
              <a:gd name="connsiteY0" fmla="*/ 0 h 5880100"/>
              <a:gd name="connsiteX1" fmla="*/ 5880100 w 5880100"/>
              <a:gd name="connsiteY1" fmla="*/ 0 h 5880100"/>
              <a:gd name="connsiteX2" fmla="*/ 5880100 w 5880100"/>
              <a:gd name="connsiteY2" fmla="*/ 5880100 h 5880100"/>
              <a:gd name="connsiteX3" fmla="*/ 0 w 5880100"/>
              <a:gd name="connsiteY3" fmla="*/ 5880100 h 5880100"/>
              <a:gd name="connsiteX4" fmla="*/ 0 w 5880100"/>
              <a:gd name="connsiteY4" fmla="*/ 0 h 5880100"/>
              <a:gd name="connsiteX0" fmla="*/ 0 w 6615112"/>
              <a:gd name="connsiteY0" fmla="*/ 0 h 6615112"/>
              <a:gd name="connsiteX1" fmla="*/ 5880100 w 6615112"/>
              <a:gd name="connsiteY1" fmla="*/ 0 h 6615112"/>
              <a:gd name="connsiteX2" fmla="*/ 5880100 w 6615112"/>
              <a:gd name="connsiteY2" fmla="*/ 5880100 h 6615112"/>
              <a:gd name="connsiteX3" fmla="*/ 0 w 6615112"/>
              <a:gd name="connsiteY3" fmla="*/ 5880100 h 6615112"/>
              <a:gd name="connsiteX4" fmla="*/ 0 w 6615112"/>
              <a:gd name="connsiteY4" fmla="*/ 0 h 6615112"/>
              <a:gd name="connsiteX0" fmla="*/ 0 w 6145189"/>
              <a:gd name="connsiteY0" fmla="*/ 0 h 6082525"/>
              <a:gd name="connsiteX1" fmla="*/ 5880100 w 6145189"/>
              <a:gd name="connsiteY1" fmla="*/ 0 h 6082525"/>
              <a:gd name="connsiteX2" fmla="*/ 3898900 w 6145189"/>
              <a:gd name="connsiteY2" fmla="*/ 3035300 h 6082525"/>
              <a:gd name="connsiteX3" fmla="*/ 0 w 6145189"/>
              <a:gd name="connsiteY3" fmla="*/ 5880100 h 6082525"/>
              <a:gd name="connsiteX4" fmla="*/ 0 w 6145189"/>
              <a:gd name="connsiteY4" fmla="*/ 0 h 6082525"/>
              <a:gd name="connsiteX0" fmla="*/ 0 w 6085854"/>
              <a:gd name="connsiteY0" fmla="*/ 0 h 6135502"/>
              <a:gd name="connsiteX1" fmla="*/ 5880100 w 6085854"/>
              <a:gd name="connsiteY1" fmla="*/ 0 h 6135502"/>
              <a:gd name="connsiteX2" fmla="*/ 3898900 w 6085854"/>
              <a:gd name="connsiteY2" fmla="*/ 3035300 h 6135502"/>
              <a:gd name="connsiteX3" fmla="*/ 0 w 6085854"/>
              <a:gd name="connsiteY3" fmla="*/ 5880100 h 6135502"/>
              <a:gd name="connsiteX4" fmla="*/ 0 w 6085854"/>
              <a:gd name="connsiteY4" fmla="*/ 0 h 6135502"/>
              <a:gd name="connsiteX0" fmla="*/ 0 w 6113652"/>
              <a:gd name="connsiteY0" fmla="*/ 0 h 6259192"/>
              <a:gd name="connsiteX1" fmla="*/ 5880100 w 6113652"/>
              <a:gd name="connsiteY1" fmla="*/ 0 h 6259192"/>
              <a:gd name="connsiteX2" fmla="*/ 4318000 w 6113652"/>
              <a:gd name="connsiteY2" fmla="*/ 4038600 h 6259192"/>
              <a:gd name="connsiteX3" fmla="*/ 0 w 6113652"/>
              <a:gd name="connsiteY3" fmla="*/ 5880100 h 6259192"/>
              <a:gd name="connsiteX4" fmla="*/ 0 w 6113652"/>
              <a:gd name="connsiteY4" fmla="*/ 0 h 6259192"/>
              <a:gd name="connsiteX0" fmla="*/ 0 w 6124861"/>
              <a:gd name="connsiteY0" fmla="*/ 0 h 6340446"/>
              <a:gd name="connsiteX1" fmla="*/ 5880100 w 6124861"/>
              <a:gd name="connsiteY1" fmla="*/ 0 h 6340446"/>
              <a:gd name="connsiteX2" fmla="*/ 4318000 w 6124861"/>
              <a:gd name="connsiteY2" fmla="*/ 4038600 h 6340446"/>
              <a:gd name="connsiteX3" fmla="*/ 0 w 6124861"/>
              <a:gd name="connsiteY3" fmla="*/ 5880100 h 6340446"/>
              <a:gd name="connsiteX4" fmla="*/ 0 w 6124861"/>
              <a:gd name="connsiteY4" fmla="*/ 0 h 6340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24861" h="6340446">
                <a:moveTo>
                  <a:pt x="0" y="0"/>
                </a:moveTo>
                <a:lnTo>
                  <a:pt x="5880100" y="0"/>
                </a:lnTo>
                <a:cubicBezTo>
                  <a:pt x="6860117" y="980017"/>
                  <a:pt x="4599517" y="1788583"/>
                  <a:pt x="4318000" y="4038600"/>
                </a:cubicBezTo>
                <a:cubicBezTo>
                  <a:pt x="4036483" y="6288617"/>
                  <a:pt x="980017" y="6860117"/>
                  <a:pt x="0" y="5880100"/>
                </a:cubicBezTo>
                <a:lnTo>
                  <a:pt x="0" y="0"/>
                </a:lnTo>
                <a:close/>
              </a:path>
            </a:pathLst>
          </a:cu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b="1" dirty="0" smtClean="0"/>
          </a:p>
        </p:txBody>
      </p:sp>
      <p:sp>
        <p:nvSpPr>
          <p:cNvPr id="12" name="Прямоугольник 11"/>
          <p:cNvSpPr/>
          <p:nvPr/>
        </p:nvSpPr>
        <p:spPr>
          <a:xfrm>
            <a:off x="2204184" y="5303519"/>
            <a:ext cx="247369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/>
              <a:t> </a:t>
            </a:r>
            <a:endParaRPr lang="ru-RU" dirty="0"/>
          </a:p>
        </p:txBody>
      </p:sp>
      <p:grpSp>
        <p:nvGrpSpPr>
          <p:cNvPr id="2" name="Group 9">
            <a:extLst>
              <a:ext uri="{FF2B5EF4-FFF2-40B4-BE49-F238E27FC236}">
                <a16:creationId xmlns:a16="http://schemas.microsoft.com/office/drawing/2014/main" xmlns="" id="{2EB978E7-A19C-4366-B94D-EEC57A5AE8DC}"/>
              </a:ext>
            </a:extLst>
          </p:cNvPr>
          <p:cNvGrpSpPr/>
          <p:nvPr/>
        </p:nvGrpSpPr>
        <p:grpSpPr>
          <a:xfrm>
            <a:off x="9903973" y="570423"/>
            <a:ext cx="1950720" cy="1867281"/>
            <a:chOff x="6705600" y="1238250"/>
            <a:chExt cx="866776" cy="866776"/>
          </a:xfrm>
        </p:grpSpPr>
        <p:sp>
          <p:nvSpPr>
            <p:cNvPr id="20" name="Oval 8">
              <a:extLst>
                <a:ext uri="{FF2B5EF4-FFF2-40B4-BE49-F238E27FC236}">
                  <a16:creationId xmlns:a16="http://schemas.microsoft.com/office/drawing/2014/main" xmlns="" id="{4A46D147-0CC5-4735-AE1F-65BCC6509DC0}"/>
                </a:ext>
              </a:extLst>
            </p:cNvPr>
            <p:cNvSpPr/>
            <p:nvPr/>
          </p:nvSpPr>
          <p:spPr>
            <a:xfrm>
              <a:off x="6705600" y="1238250"/>
              <a:ext cx="866776" cy="866776"/>
            </a:xfrm>
            <a:prstGeom prst="ellipse">
              <a:avLst/>
            </a:prstGeom>
            <a:ln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1" name="Oval 7">
              <a:extLst>
                <a:ext uri="{FF2B5EF4-FFF2-40B4-BE49-F238E27FC236}">
                  <a16:creationId xmlns:a16="http://schemas.microsoft.com/office/drawing/2014/main" xmlns="" id="{97103F70-3F4B-4955-9BCE-2928397D6D93}"/>
                </a:ext>
              </a:extLst>
            </p:cNvPr>
            <p:cNvSpPr/>
            <p:nvPr/>
          </p:nvSpPr>
          <p:spPr>
            <a:xfrm>
              <a:off x="6800851" y="1333501"/>
              <a:ext cx="676275" cy="676275"/>
            </a:xfrm>
            <a:prstGeom prst="ellipse">
              <a:avLst/>
            </a:prstGeom>
            <a:ln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ru-RU" sz="6000" dirty="0" smtClean="0"/>
                <a:t>3</a:t>
              </a:r>
              <a:endParaRPr lang="en-US" sz="6000" dirty="0"/>
            </a:p>
          </p:txBody>
        </p:sp>
      </p:grpSp>
      <p:pic>
        <p:nvPicPr>
          <p:cNvPr id="33" name="Рисунок 32">
            <a:extLst>
              <a:ext uri="{FF2B5EF4-FFF2-40B4-BE49-F238E27FC236}">
                <a16:creationId xmlns:a16="http://schemas.microsoft.com/office/drawing/2014/main" xmlns="" id="{F5A915BA-698F-4574-83F2-CC987DC1D5F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08280" y="204764"/>
            <a:ext cx="1658400" cy="447505"/>
          </a:xfrm>
          <a:prstGeom prst="rect">
            <a:avLst/>
          </a:prstGeom>
        </p:spPr>
      </p:pic>
      <p:grpSp>
        <p:nvGrpSpPr>
          <p:cNvPr id="3" name="Google Shape;541;p41"/>
          <p:cNvGrpSpPr/>
          <p:nvPr/>
        </p:nvGrpSpPr>
        <p:grpSpPr>
          <a:xfrm>
            <a:off x="10353916" y="1682305"/>
            <a:ext cx="1026159" cy="1244742"/>
            <a:chOff x="9901824" y="937343"/>
            <a:chExt cx="744273" cy="793950"/>
          </a:xfrm>
        </p:grpSpPr>
        <p:grpSp>
          <p:nvGrpSpPr>
            <p:cNvPr id="4" name="Google Shape;542;p41"/>
            <p:cNvGrpSpPr/>
            <p:nvPr/>
          </p:nvGrpSpPr>
          <p:grpSpPr>
            <a:xfrm>
              <a:off x="9901824" y="937343"/>
              <a:ext cx="744273" cy="793950"/>
              <a:chOff x="9901824" y="937343"/>
              <a:chExt cx="744273" cy="793950"/>
            </a:xfrm>
          </p:grpSpPr>
          <p:sp>
            <p:nvSpPr>
              <p:cNvPr id="42" name="Google Shape;543;p41"/>
              <p:cNvSpPr/>
              <p:nvPr/>
            </p:nvSpPr>
            <p:spPr>
              <a:xfrm>
                <a:off x="10463799" y="1043794"/>
                <a:ext cx="76068" cy="75403"/>
              </a:xfrm>
              <a:custGeom>
                <a:avLst/>
                <a:gdLst/>
                <a:ahLst/>
                <a:cxnLst/>
                <a:rect l="l" t="t" r="r" b="b"/>
                <a:pathLst>
                  <a:path w="133" h="132" extrusionOk="0">
                    <a:moveTo>
                      <a:pt x="12" y="132"/>
                    </a:moveTo>
                    <a:cubicBezTo>
                      <a:pt x="9" y="132"/>
                      <a:pt x="6" y="131"/>
                      <a:pt x="4" y="128"/>
                    </a:cubicBezTo>
                    <a:cubicBezTo>
                      <a:pt x="0" y="124"/>
                      <a:pt x="0" y="118"/>
                      <a:pt x="4" y="114"/>
                    </a:cubicBezTo>
                    <a:cubicBezTo>
                      <a:pt x="113" y="4"/>
                      <a:pt x="113" y="4"/>
                      <a:pt x="113" y="4"/>
                    </a:cubicBezTo>
                    <a:cubicBezTo>
                      <a:pt x="118" y="0"/>
                      <a:pt x="124" y="0"/>
                      <a:pt x="128" y="4"/>
                    </a:cubicBezTo>
                    <a:cubicBezTo>
                      <a:pt x="133" y="8"/>
                      <a:pt x="133" y="15"/>
                      <a:pt x="128" y="19"/>
                    </a:cubicBezTo>
                    <a:cubicBezTo>
                      <a:pt x="19" y="128"/>
                      <a:pt x="19" y="128"/>
                      <a:pt x="19" y="128"/>
                    </a:cubicBezTo>
                    <a:cubicBezTo>
                      <a:pt x="17" y="131"/>
                      <a:pt x="14" y="132"/>
                      <a:pt x="12" y="132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4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" name="Google Shape;544;p41"/>
              <p:cNvSpPr/>
              <p:nvPr/>
            </p:nvSpPr>
            <p:spPr>
              <a:xfrm>
                <a:off x="10546077" y="1303491"/>
                <a:ext cx="100020" cy="11976"/>
              </a:xfrm>
              <a:custGeom>
                <a:avLst/>
                <a:gdLst/>
                <a:ahLst/>
                <a:cxnLst/>
                <a:rect l="l" t="t" r="r" b="b"/>
                <a:pathLst>
                  <a:path w="175" h="21" extrusionOk="0">
                    <a:moveTo>
                      <a:pt x="165" y="21"/>
                    </a:moveTo>
                    <a:cubicBezTo>
                      <a:pt x="10" y="21"/>
                      <a:pt x="10" y="21"/>
                      <a:pt x="10" y="21"/>
                    </a:cubicBezTo>
                    <a:cubicBezTo>
                      <a:pt x="4" y="21"/>
                      <a:pt x="0" y="17"/>
                      <a:pt x="0" y="11"/>
                    </a:cubicBezTo>
                    <a:cubicBezTo>
                      <a:pt x="0" y="5"/>
                      <a:pt x="4" y="0"/>
                      <a:pt x="10" y="0"/>
                    </a:cubicBezTo>
                    <a:cubicBezTo>
                      <a:pt x="165" y="0"/>
                      <a:pt x="165" y="0"/>
                      <a:pt x="165" y="0"/>
                    </a:cubicBezTo>
                    <a:cubicBezTo>
                      <a:pt x="171" y="0"/>
                      <a:pt x="175" y="5"/>
                      <a:pt x="175" y="11"/>
                    </a:cubicBezTo>
                    <a:cubicBezTo>
                      <a:pt x="175" y="17"/>
                      <a:pt x="171" y="21"/>
                      <a:pt x="165" y="2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4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" name="Google Shape;545;p41"/>
              <p:cNvSpPr/>
              <p:nvPr/>
            </p:nvSpPr>
            <p:spPr>
              <a:xfrm>
                <a:off x="10463799" y="1499539"/>
                <a:ext cx="76068" cy="75625"/>
              </a:xfrm>
              <a:custGeom>
                <a:avLst/>
                <a:gdLst/>
                <a:ahLst/>
                <a:cxnLst/>
                <a:rect l="l" t="t" r="r" b="b"/>
                <a:pathLst>
                  <a:path w="133" h="132" extrusionOk="0">
                    <a:moveTo>
                      <a:pt x="121" y="132"/>
                    </a:moveTo>
                    <a:cubicBezTo>
                      <a:pt x="119" y="132"/>
                      <a:pt x="116" y="131"/>
                      <a:pt x="114" y="129"/>
                    </a:cubicBezTo>
                    <a:cubicBezTo>
                      <a:pt x="5" y="19"/>
                      <a:pt x="5" y="19"/>
                      <a:pt x="5" y="19"/>
                    </a:cubicBezTo>
                    <a:cubicBezTo>
                      <a:pt x="0" y="15"/>
                      <a:pt x="0" y="8"/>
                      <a:pt x="5" y="4"/>
                    </a:cubicBezTo>
                    <a:cubicBezTo>
                      <a:pt x="9" y="0"/>
                      <a:pt x="15" y="0"/>
                      <a:pt x="20" y="4"/>
                    </a:cubicBezTo>
                    <a:cubicBezTo>
                      <a:pt x="129" y="114"/>
                      <a:pt x="129" y="114"/>
                      <a:pt x="129" y="114"/>
                    </a:cubicBezTo>
                    <a:cubicBezTo>
                      <a:pt x="133" y="118"/>
                      <a:pt x="133" y="124"/>
                      <a:pt x="129" y="129"/>
                    </a:cubicBezTo>
                    <a:cubicBezTo>
                      <a:pt x="127" y="131"/>
                      <a:pt x="124" y="132"/>
                      <a:pt x="121" y="132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4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" name="Google Shape;546;p41"/>
              <p:cNvSpPr/>
              <p:nvPr/>
            </p:nvSpPr>
            <p:spPr>
              <a:xfrm>
                <a:off x="10008275" y="1500204"/>
                <a:ext cx="76068" cy="74960"/>
              </a:xfrm>
              <a:custGeom>
                <a:avLst/>
                <a:gdLst/>
                <a:ahLst/>
                <a:cxnLst/>
                <a:rect l="l" t="t" r="r" b="b"/>
                <a:pathLst>
                  <a:path w="133" h="131" extrusionOk="0">
                    <a:moveTo>
                      <a:pt x="12" y="131"/>
                    </a:moveTo>
                    <a:cubicBezTo>
                      <a:pt x="9" y="131"/>
                      <a:pt x="7" y="130"/>
                      <a:pt x="5" y="128"/>
                    </a:cubicBezTo>
                    <a:cubicBezTo>
                      <a:pt x="0" y="124"/>
                      <a:pt x="0" y="117"/>
                      <a:pt x="5" y="113"/>
                    </a:cubicBezTo>
                    <a:cubicBezTo>
                      <a:pt x="114" y="4"/>
                      <a:pt x="114" y="4"/>
                      <a:pt x="114" y="4"/>
                    </a:cubicBezTo>
                    <a:cubicBezTo>
                      <a:pt x="118" y="0"/>
                      <a:pt x="125" y="0"/>
                      <a:pt x="129" y="4"/>
                    </a:cubicBezTo>
                    <a:cubicBezTo>
                      <a:pt x="133" y="8"/>
                      <a:pt x="133" y="14"/>
                      <a:pt x="129" y="19"/>
                    </a:cubicBezTo>
                    <a:cubicBezTo>
                      <a:pt x="19" y="128"/>
                      <a:pt x="19" y="128"/>
                      <a:pt x="19" y="128"/>
                    </a:cubicBezTo>
                    <a:cubicBezTo>
                      <a:pt x="17" y="130"/>
                      <a:pt x="15" y="131"/>
                      <a:pt x="12" y="13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4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" name="Google Shape;547;p41"/>
              <p:cNvSpPr/>
              <p:nvPr/>
            </p:nvSpPr>
            <p:spPr>
              <a:xfrm>
                <a:off x="9901824" y="1303934"/>
                <a:ext cx="100020" cy="11976"/>
              </a:xfrm>
              <a:custGeom>
                <a:avLst/>
                <a:gdLst/>
                <a:ahLst/>
                <a:cxnLst/>
                <a:rect l="l" t="t" r="r" b="b"/>
                <a:pathLst>
                  <a:path w="175" h="21" extrusionOk="0">
                    <a:moveTo>
                      <a:pt x="165" y="21"/>
                    </a:moveTo>
                    <a:cubicBezTo>
                      <a:pt x="10" y="21"/>
                      <a:pt x="10" y="21"/>
                      <a:pt x="10" y="21"/>
                    </a:cubicBezTo>
                    <a:cubicBezTo>
                      <a:pt x="4" y="21"/>
                      <a:pt x="0" y="16"/>
                      <a:pt x="0" y="10"/>
                    </a:cubicBezTo>
                    <a:cubicBezTo>
                      <a:pt x="0" y="5"/>
                      <a:pt x="4" y="0"/>
                      <a:pt x="10" y="0"/>
                    </a:cubicBezTo>
                    <a:cubicBezTo>
                      <a:pt x="165" y="0"/>
                      <a:pt x="165" y="0"/>
                      <a:pt x="165" y="0"/>
                    </a:cubicBezTo>
                    <a:cubicBezTo>
                      <a:pt x="171" y="0"/>
                      <a:pt x="175" y="5"/>
                      <a:pt x="175" y="10"/>
                    </a:cubicBezTo>
                    <a:cubicBezTo>
                      <a:pt x="175" y="16"/>
                      <a:pt x="171" y="21"/>
                      <a:pt x="165" y="2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4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" name="Google Shape;548;p41"/>
              <p:cNvSpPr/>
              <p:nvPr/>
            </p:nvSpPr>
            <p:spPr>
              <a:xfrm>
                <a:off x="10008275" y="1044237"/>
                <a:ext cx="75403" cy="74960"/>
              </a:xfrm>
              <a:custGeom>
                <a:avLst/>
                <a:gdLst/>
                <a:ahLst/>
                <a:cxnLst/>
                <a:rect l="l" t="t" r="r" b="b"/>
                <a:pathLst>
                  <a:path w="132" h="131" extrusionOk="0">
                    <a:moveTo>
                      <a:pt x="121" y="131"/>
                    </a:moveTo>
                    <a:cubicBezTo>
                      <a:pt x="118" y="131"/>
                      <a:pt x="115" y="130"/>
                      <a:pt x="113" y="128"/>
                    </a:cubicBezTo>
                    <a:cubicBezTo>
                      <a:pt x="4" y="19"/>
                      <a:pt x="4" y="19"/>
                      <a:pt x="4" y="19"/>
                    </a:cubicBezTo>
                    <a:cubicBezTo>
                      <a:pt x="0" y="14"/>
                      <a:pt x="0" y="8"/>
                      <a:pt x="4" y="4"/>
                    </a:cubicBezTo>
                    <a:cubicBezTo>
                      <a:pt x="8" y="0"/>
                      <a:pt x="15" y="0"/>
                      <a:pt x="19" y="4"/>
                    </a:cubicBezTo>
                    <a:cubicBezTo>
                      <a:pt x="128" y="113"/>
                      <a:pt x="128" y="113"/>
                      <a:pt x="128" y="113"/>
                    </a:cubicBezTo>
                    <a:cubicBezTo>
                      <a:pt x="132" y="117"/>
                      <a:pt x="132" y="124"/>
                      <a:pt x="128" y="128"/>
                    </a:cubicBezTo>
                    <a:cubicBezTo>
                      <a:pt x="126" y="130"/>
                      <a:pt x="124" y="131"/>
                      <a:pt x="121" y="13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4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8" name="Google Shape;549;p41"/>
              <p:cNvSpPr/>
              <p:nvPr/>
            </p:nvSpPr>
            <p:spPr>
              <a:xfrm>
                <a:off x="10267751" y="937343"/>
                <a:ext cx="11976" cy="100020"/>
              </a:xfrm>
              <a:custGeom>
                <a:avLst/>
                <a:gdLst/>
                <a:ahLst/>
                <a:cxnLst/>
                <a:rect l="l" t="t" r="r" b="b"/>
                <a:pathLst>
                  <a:path w="21" h="175" extrusionOk="0">
                    <a:moveTo>
                      <a:pt x="11" y="175"/>
                    </a:moveTo>
                    <a:cubicBezTo>
                      <a:pt x="5" y="175"/>
                      <a:pt x="0" y="171"/>
                      <a:pt x="0" y="165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4"/>
                      <a:pt x="5" y="0"/>
                      <a:pt x="11" y="0"/>
                    </a:cubicBezTo>
                    <a:cubicBezTo>
                      <a:pt x="17" y="0"/>
                      <a:pt x="21" y="4"/>
                      <a:pt x="21" y="10"/>
                    </a:cubicBezTo>
                    <a:cubicBezTo>
                      <a:pt x="21" y="165"/>
                      <a:pt x="21" y="165"/>
                      <a:pt x="21" y="165"/>
                    </a:cubicBezTo>
                    <a:cubicBezTo>
                      <a:pt x="21" y="171"/>
                      <a:pt x="17" y="175"/>
                      <a:pt x="11" y="175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4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9" name="Google Shape;550;p41"/>
              <p:cNvSpPr/>
              <p:nvPr/>
            </p:nvSpPr>
            <p:spPr>
              <a:xfrm>
                <a:off x="10183698" y="1629498"/>
                <a:ext cx="180080" cy="25726"/>
              </a:xfrm>
              <a:custGeom>
                <a:avLst/>
                <a:gdLst/>
                <a:ahLst/>
                <a:cxnLst/>
                <a:rect l="l" t="t" r="r" b="b"/>
                <a:pathLst>
                  <a:path w="315" h="45" extrusionOk="0">
                    <a:moveTo>
                      <a:pt x="0" y="23"/>
                    </a:moveTo>
                    <a:cubicBezTo>
                      <a:pt x="0" y="35"/>
                      <a:pt x="10" y="45"/>
                      <a:pt x="22" y="45"/>
                    </a:cubicBezTo>
                    <a:cubicBezTo>
                      <a:pt x="293" y="45"/>
                      <a:pt x="293" y="45"/>
                      <a:pt x="293" y="45"/>
                    </a:cubicBezTo>
                    <a:cubicBezTo>
                      <a:pt x="305" y="45"/>
                      <a:pt x="315" y="35"/>
                      <a:pt x="315" y="23"/>
                    </a:cubicBezTo>
                    <a:cubicBezTo>
                      <a:pt x="315" y="23"/>
                      <a:pt x="315" y="23"/>
                      <a:pt x="315" y="23"/>
                    </a:cubicBezTo>
                    <a:cubicBezTo>
                      <a:pt x="315" y="11"/>
                      <a:pt x="305" y="0"/>
                      <a:pt x="293" y="0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10" y="0"/>
                      <a:pt x="0" y="11"/>
                      <a:pt x="0" y="23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4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" name="Google Shape;551;p41"/>
              <p:cNvSpPr/>
              <p:nvPr/>
            </p:nvSpPr>
            <p:spPr>
              <a:xfrm>
                <a:off x="10188356" y="1667865"/>
                <a:ext cx="170766" cy="25726"/>
              </a:xfrm>
              <a:custGeom>
                <a:avLst/>
                <a:gdLst/>
                <a:ahLst/>
                <a:cxnLst/>
                <a:rect l="l" t="t" r="r" b="b"/>
                <a:pathLst>
                  <a:path w="299" h="45" extrusionOk="0">
                    <a:moveTo>
                      <a:pt x="0" y="22"/>
                    </a:moveTo>
                    <a:cubicBezTo>
                      <a:pt x="0" y="35"/>
                      <a:pt x="10" y="45"/>
                      <a:pt x="23" y="45"/>
                    </a:cubicBezTo>
                    <a:cubicBezTo>
                      <a:pt x="277" y="45"/>
                      <a:pt x="277" y="45"/>
                      <a:pt x="277" y="45"/>
                    </a:cubicBezTo>
                    <a:cubicBezTo>
                      <a:pt x="289" y="45"/>
                      <a:pt x="299" y="35"/>
                      <a:pt x="299" y="22"/>
                    </a:cubicBezTo>
                    <a:cubicBezTo>
                      <a:pt x="299" y="22"/>
                      <a:pt x="299" y="22"/>
                      <a:pt x="299" y="22"/>
                    </a:cubicBezTo>
                    <a:cubicBezTo>
                      <a:pt x="299" y="10"/>
                      <a:pt x="289" y="0"/>
                      <a:pt x="277" y="0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10" y="0"/>
                      <a:pt x="0" y="10"/>
                      <a:pt x="0" y="22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4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" name="Google Shape;552;p41"/>
              <p:cNvSpPr/>
              <p:nvPr/>
            </p:nvSpPr>
            <p:spPr>
              <a:xfrm>
                <a:off x="10212751" y="1705567"/>
                <a:ext cx="122419" cy="25726"/>
              </a:xfrm>
              <a:custGeom>
                <a:avLst/>
                <a:gdLst/>
                <a:ahLst/>
                <a:cxnLst/>
                <a:rect l="l" t="t" r="r" b="b"/>
                <a:pathLst>
                  <a:path w="214" h="45" extrusionOk="0">
                    <a:moveTo>
                      <a:pt x="0" y="23"/>
                    </a:moveTo>
                    <a:cubicBezTo>
                      <a:pt x="0" y="35"/>
                      <a:pt x="10" y="45"/>
                      <a:pt x="22" y="45"/>
                    </a:cubicBezTo>
                    <a:cubicBezTo>
                      <a:pt x="192" y="45"/>
                      <a:pt x="192" y="45"/>
                      <a:pt x="192" y="45"/>
                    </a:cubicBezTo>
                    <a:cubicBezTo>
                      <a:pt x="204" y="45"/>
                      <a:pt x="214" y="35"/>
                      <a:pt x="214" y="23"/>
                    </a:cubicBezTo>
                    <a:cubicBezTo>
                      <a:pt x="214" y="23"/>
                      <a:pt x="214" y="23"/>
                      <a:pt x="214" y="23"/>
                    </a:cubicBezTo>
                    <a:cubicBezTo>
                      <a:pt x="214" y="10"/>
                      <a:pt x="204" y="0"/>
                      <a:pt x="192" y="0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10" y="0"/>
                      <a:pt x="0" y="10"/>
                      <a:pt x="0" y="23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68575" tIns="34275" rIns="68575" bIns="34275" anchor="t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Calibri"/>
                  <a:buNone/>
                </a:pPr>
                <a:endParaRPr sz="14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36" name="Google Shape;553;p41"/>
            <p:cNvSpPr/>
            <p:nvPr/>
          </p:nvSpPr>
          <p:spPr>
            <a:xfrm>
              <a:off x="10047751" y="1220548"/>
              <a:ext cx="217117" cy="205362"/>
            </a:xfrm>
            <a:custGeom>
              <a:avLst/>
              <a:gdLst/>
              <a:ahLst/>
              <a:cxnLst/>
              <a:rect l="l" t="t" r="r" b="b"/>
              <a:pathLst>
                <a:path w="380" h="359" extrusionOk="0">
                  <a:moveTo>
                    <a:pt x="63" y="268"/>
                  </a:moveTo>
                  <a:cubicBezTo>
                    <a:pt x="78" y="297"/>
                    <a:pt x="94" y="324"/>
                    <a:pt x="108" y="350"/>
                  </a:cubicBezTo>
                  <a:cubicBezTo>
                    <a:pt x="113" y="359"/>
                    <a:pt x="113" y="359"/>
                    <a:pt x="113" y="359"/>
                  </a:cubicBezTo>
                  <a:cubicBezTo>
                    <a:pt x="380" y="206"/>
                    <a:pt x="380" y="206"/>
                    <a:pt x="380" y="206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2" y="2"/>
                    <a:pt x="22" y="4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0" y="88"/>
                    <a:pt x="14" y="174"/>
                    <a:pt x="63" y="268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" name="Google Shape;554;p41"/>
            <p:cNvSpPr/>
            <p:nvPr/>
          </p:nvSpPr>
          <p:spPr>
            <a:xfrm>
              <a:off x="10063053" y="1080830"/>
              <a:ext cx="205806" cy="250604"/>
            </a:xfrm>
            <a:custGeom>
              <a:avLst/>
              <a:gdLst/>
              <a:ahLst/>
              <a:cxnLst/>
              <a:rect l="l" t="t" r="r" b="b"/>
              <a:pathLst>
                <a:path w="360" h="438" extrusionOk="0">
                  <a:moveTo>
                    <a:pt x="0" y="230"/>
                  </a:moveTo>
                  <a:cubicBezTo>
                    <a:pt x="360" y="438"/>
                    <a:pt x="360" y="438"/>
                    <a:pt x="360" y="438"/>
                  </a:cubicBezTo>
                  <a:cubicBezTo>
                    <a:pt x="360" y="0"/>
                    <a:pt x="360" y="0"/>
                    <a:pt x="360" y="0"/>
                  </a:cubicBezTo>
                  <a:cubicBezTo>
                    <a:pt x="174" y="3"/>
                    <a:pt x="40" y="117"/>
                    <a:pt x="0" y="23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" name="Google Shape;555;p41"/>
            <p:cNvSpPr/>
            <p:nvPr/>
          </p:nvSpPr>
          <p:spPr>
            <a:xfrm>
              <a:off x="10276400" y="1080830"/>
              <a:ext cx="208024" cy="250604"/>
            </a:xfrm>
            <a:custGeom>
              <a:avLst/>
              <a:gdLst/>
              <a:ahLst/>
              <a:cxnLst/>
              <a:rect l="l" t="t" r="r" b="b"/>
              <a:pathLst>
                <a:path w="364" h="438" extrusionOk="0">
                  <a:moveTo>
                    <a:pt x="0" y="0"/>
                  </a:moveTo>
                  <a:cubicBezTo>
                    <a:pt x="0" y="438"/>
                    <a:pt x="0" y="438"/>
                    <a:pt x="0" y="438"/>
                  </a:cubicBezTo>
                  <a:cubicBezTo>
                    <a:pt x="364" y="228"/>
                    <a:pt x="364" y="228"/>
                    <a:pt x="364" y="228"/>
                  </a:cubicBezTo>
                  <a:cubicBezTo>
                    <a:pt x="323" y="115"/>
                    <a:pt x="186" y="1"/>
                    <a:pt x="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" name="Google Shape;556;p41"/>
            <p:cNvSpPr/>
            <p:nvPr/>
          </p:nvSpPr>
          <p:spPr>
            <a:xfrm>
              <a:off x="10280392" y="1218773"/>
              <a:ext cx="219334" cy="208689"/>
            </a:xfrm>
            <a:custGeom>
              <a:avLst/>
              <a:gdLst/>
              <a:ahLst/>
              <a:cxnLst/>
              <a:rect l="l" t="t" r="r" b="b"/>
              <a:pathLst>
                <a:path w="384" h="365" extrusionOk="0">
                  <a:moveTo>
                    <a:pt x="322" y="271"/>
                  </a:moveTo>
                  <a:cubicBezTo>
                    <a:pt x="371" y="177"/>
                    <a:pt x="384" y="91"/>
                    <a:pt x="364" y="9"/>
                  </a:cubicBezTo>
                  <a:cubicBezTo>
                    <a:pt x="364" y="9"/>
                    <a:pt x="364" y="9"/>
                    <a:pt x="364" y="9"/>
                  </a:cubicBezTo>
                  <a:cubicBezTo>
                    <a:pt x="363" y="6"/>
                    <a:pt x="362" y="3"/>
                    <a:pt x="361" y="0"/>
                  </a:cubicBezTo>
                  <a:cubicBezTo>
                    <a:pt x="0" y="209"/>
                    <a:pt x="0" y="209"/>
                    <a:pt x="0" y="209"/>
                  </a:cubicBezTo>
                  <a:cubicBezTo>
                    <a:pt x="270" y="365"/>
                    <a:pt x="270" y="365"/>
                    <a:pt x="270" y="365"/>
                  </a:cubicBezTo>
                  <a:cubicBezTo>
                    <a:pt x="277" y="353"/>
                    <a:pt x="277" y="353"/>
                    <a:pt x="277" y="353"/>
                  </a:cubicBezTo>
                  <a:cubicBezTo>
                    <a:pt x="291" y="327"/>
                    <a:pt x="307" y="300"/>
                    <a:pt x="322" y="27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" name="Google Shape;557;p41"/>
            <p:cNvSpPr/>
            <p:nvPr/>
          </p:nvSpPr>
          <p:spPr>
            <a:xfrm>
              <a:off x="10116279" y="1345184"/>
              <a:ext cx="152580" cy="267681"/>
            </a:xfrm>
            <a:custGeom>
              <a:avLst/>
              <a:gdLst/>
              <a:ahLst/>
              <a:cxnLst/>
              <a:rect l="l" t="t" r="r" b="b"/>
              <a:pathLst>
                <a:path w="267" h="468" extrusionOk="0">
                  <a:moveTo>
                    <a:pt x="267" y="468"/>
                  </a:moveTo>
                  <a:cubicBezTo>
                    <a:pt x="267" y="0"/>
                    <a:pt x="267" y="0"/>
                    <a:pt x="267" y="0"/>
                  </a:cubicBezTo>
                  <a:cubicBezTo>
                    <a:pt x="0" y="153"/>
                    <a:pt x="0" y="153"/>
                    <a:pt x="0" y="153"/>
                  </a:cubicBezTo>
                  <a:cubicBezTo>
                    <a:pt x="21" y="190"/>
                    <a:pt x="42" y="229"/>
                    <a:pt x="61" y="272"/>
                  </a:cubicBezTo>
                  <a:cubicBezTo>
                    <a:pt x="75" y="304"/>
                    <a:pt x="83" y="346"/>
                    <a:pt x="90" y="383"/>
                  </a:cubicBezTo>
                  <a:cubicBezTo>
                    <a:pt x="92" y="398"/>
                    <a:pt x="95" y="411"/>
                    <a:pt x="98" y="424"/>
                  </a:cubicBezTo>
                  <a:cubicBezTo>
                    <a:pt x="105" y="457"/>
                    <a:pt x="116" y="466"/>
                    <a:pt x="151" y="467"/>
                  </a:cubicBezTo>
                  <a:cubicBezTo>
                    <a:pt x="157" y="468"/>
                    <a:pt x="157" y="468"/>
                    <a:pt x="157" y="468"/>
                  </a:cubicBezTo>
                  <a:cubicBezTo>
                    <a:pt x="185" y="468"/>
                    <a:pt x="185" y="468"/>
                    <a:pt x="185" y="468"/>
                  </a:cubicBezTo>
                  <a:cubicBezTo>
                    <a:pt x="237" y="468"/>
                    <a:pt x="237" y="468"/>
                    <a:pt x="237" y="468"/>
                  </a:cubicBezTo>
                  <a:cubicBezTo>
                    <a:pt x="247" y="468"/>
                    <a:pt x="257" y="468"/>
                    <a:pt x="267" y="468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" name="Google Shape;558;p41"/>
            <p:cNvSpPr/>
            <p:nvPr/>
          </p:nvSpPr>
          <p:spPr>
            <a:xfrm>
              <a:off x="10276400" y="1345184"/>
              <a:ext cx="154798" cy="267681"/>
            </a:xfrm>
            <a:custGeom>
              <a:avLst/>
              <a:gdLst/>
              <a:ahLst/>
              <a:cxnLst/>
              <a:rect l="l" t="t" r="r" b="b"/>
              <a:pathLst>
                <a:path w="271" h="468" extrusionOk="0">
                  <a:moveTo>
                    <a:pt x="174" y="424"/>
                  </a:moveTo>
                  <a:cubicBezTo>
                    <a:pt x="177" y="411"/>
                    <a:pt x="180" y="398"/>
                    <a:pt x="182" y="383"/>
                  </a:cubicBezTo>
                  <a:cubicBezTo>
                    <a:pt x="189" y="346"/>
                    <a:pt x="197" y="304"/>
                    <a:pt x="211" y="272"/>
                  </a:cubicBezTo>
                  <a:cubicBezTo>
                    <a:pt x="230" y="229"/>
                    <a:pt x="251" y="191"/>
                    <a:pt x="271" y="15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67"/>
                    <a:pt x="0" y="467"/>
                    <a:pt x="0" y="467"/>
                  </a:cubicBezTo>
                  <a:cubicBezTo>
                    <a:pt x="5" y="467"/>
                    <a:pt x="5" y="467"/>
                    <a:pt x="5" y="467"/>
                  </a:cubicBezTo>
                  <a:cubicBezTo>
                    <a:pt x="5" y="468"/>
                    <a:pt x="5" y="468"/>
                    <a:pt x="5" y="468"/>
                  </a:cubicBezTo>
                  <a:cubicBezTo>
                    <a:pt x="5" y="468"/>
                    <a:pt x="5" y="468"/>
                    <a:pt x="5" y="468"/>
                  </a:cubicBezTo>
                  <a:cubicBezTo>
                    <a:pt x="15" y="468"/>
                    <a:pt x="25" y="468"/>
                    <a:pt x="36" y="468"/>
                  </a:cubicBezTo>
                  <a:cubicBezTo>
                    <a:pt x="42" y="467"/>
                    <a:pt x="42" y="467"/>
                    <a:pt x="42" y="467"/>
                  </a:cubicBezTo>
                  <a:cubicBezTo>
                    <a:pt x="94" y="468"/>
                    <a:pt x="94" y="468"/>
                    <a:pt x="94" y="468"/>
                  </a:cubicBezTo>
                  <a:cubicBezTo>
                    <a:pt x="101" y="468"/>
                    <a:pt x="108" y="468"/>
                    <a:pt x="115" y="467"/>
                  </a:cubicBezTo>
                  <a:cubicBezTo>
                    <a:pt x="157" y="467"/>
                    <a:pt x="167" y="456"/>
                    <a:pt x="174" y="424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2" name="Стрелка: шеврон 14">
            <a:extLst>
              <a:ext uri="{FF2B5EF4-FFF2-40B4-BE49-F238E27FC236}">
                <a16:creationId xmlns:a16="http://schemas.microsoft.com/office/drawing/2014/main" xmlns="" id="{EEE07FF5-FDDC-47FD-AD56-4550D5A61AB2}"/>
              </a:ext>
            </a:extLst>
          </p:cNvPr>
          <p:cNvSpPr/>
          <p:nvPr/>
        </p:nvSpPr>
        <p:spPr>
          <a:xfrm>
            <a:off x="187158" y="6228080"/>
            <a:ext cx="5634522" cy="470888"/>
          </a:xfrm>
          <a:prstGeom prst="chevron">
            <a:avLst>
              <a:gd name="adj" fmla="val 41371"/>
            </a:avLst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chemeClr val="tx1"/>
                </a:solidFill>
              </a:rPr>
              <a:t>Филиал МБДОУ «Детский сад№43»-»детский сад «Колосок»</a:t>
            </a: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1939974" y="74460"/>
            <a:ext cx="8708872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/>
              <a:t>Родительский  </a:t>
            </a:r>
            <a:r>
              <a:rPr lang="ru-RU" b="1" dirty="0" smtClean="0"/>
              <a:t>клуб по патриотическому воспитанию «Росток памяти»</a:t>
            </a:r>
          </a:p>
          <a:p>
            <a:r>
              <a:rPr lang="ru-RU" b="1" i="1" dirty="0" smtClean="0"/>
              <a:t>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Цель: повышение родительской компетентности и проектирование эффективного взаимодействия по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гражданско-патриотическому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воспитанию детей в едином образовательном пространстве семьи и ДОО. 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8" name="Google Shape;384;p40"/>
          <p:cNvSpPr/>
          <p:nvPr/>
        </p:nvSpPr>
        <p:spPr>
          <a:xfrm>
            <a:off x="10521557" y="692280"/>
            <a:ext cx="690879" cy="575431"/>
          </a:xfrm>
          <a:custGeom>
            <a:avLst/>
            <a:gdLst/>
            <a:ahLst/>
            <a:cxnLst/>
            <a:rect l="l" t="t" r="r" b="b"/>
            <a:pathLst>
              <a:path w="18251" h="15452" extrusionOk="0">
                <a:moveTo>
                  <a:pt x="10634" y="2409"/>
                </a:moveTo>
                <a:lnTo>
                  <a:pt x="9953" y="2433"/>
                </a:lnTo>
                <a:lnTo>
                  <a:pt x="9296" y="2458"/>
                </a:lnTo>
                <a:lnTo>
                  <a:pt x="7592" y="2531"/>
                </a:lnTo>
                <a:lnTo>
                  <a:pt x="7228" y="2531"/>
                </a:lnTo>
                <a:lnTo>
                  <a:pt x="6814" y="2555"/>
                </a:lnTo>
                <a:lnTo>
                  <a:pt x="6619" y="2555"/>
                </a:lnTo>
                <a:lnTo>
                  <a:pt x="6425" y="2579"/>
                </a:lnTo>
                <a:lnTo>
                  <a:pt x="6230" y="2652"/>
                </a:lnTo>
                <a:lnTo>
                  <a:pt x="6060" y="2725"/>
                </a:lnTo>
                <a:lnTo>
                  <a:pt x="6035" y="2750"/>
                </a:lnTo>
                <a:lnTo>
                  <a:pt x="6011" y="2798"/>
                </a:lnTo>
                <a:lnTo>
                  <a:pt x="6035" y="2847"/>
                </a:lnTo>
                <a:lnTo>
                  <a:pt x="6060" y="2896"/>
                </a:lnTo>
                <a:lnTo>
                  <a:pt x="6230" y="2969"/>
                </a:lnTo>
                <a:lnTo>
                  <a:pt x="6376" y="3017"/>
                </a:lnTo>
                <a:lnTo>
                  <a:pt x="6546" y="3042"/>
                </a:lnTo>
                <a:lnTo>
                  <a:pt x="7422" y="3042"/>
                </a:lnTo>
                <a:lnTo>
                  <a:pt x="8298" y="3017"/>
                </a:lnTo>
                <a:lnTo>
                  <a:pt x="9150" y="2993"/>
                </a:lnTo>
                <a:lnTo>
                  <a:pt x="9831" y="2969"/>
                </a:lnTo>
                <a:lnTo>
                  <a:pt x="10488" y="2944"/>
                </a:lnTo>
                <a:lnTo>
                  <a:pt x="10829" y="2969"/>
                </a:lnTo>
                <a:lnTo>
                  <a:pt x="11169" y="2993"/>
                </a:lnTo>
                <a:lnTo>
                  <a:pt x="11486" y="3042"/>
                </a:lnTo>
                <a:lnTo>
                  <a:pt x="11826" y="3090"/>
                </a:lnTo>
                <a:lnTo>
                  <a:pt x="11948" y="3115"/>
                </a:lnTo>
                <a:lnTo>
                  <a:pt x="12045" y="3066"/>
                </a:lnTo>
                <a:lnTo>
                  <a:pt x="12094" y="2993"/>
                </a:lnTo>
                <a:lnTo>
                  <a:pt x="12143" y="2896"/>
                </a:lnTo>
                <a:lnTo>
                  <a:pt x="12167" y="2798"/>
                </a:lnTo>
                <a:lnTo>
                  <a:pt x="12143" y="2701"/>
                </a:lnTo>
                <a:lnTo>
                  <a:pt x="12070" y="2628"/>
                </a:lnTo>
                <a:lnTo>
                  <a:pt x="11972" y="2579"/>
                </a:lnTo>
                <a:lnTo>
                  <a:pt x="11632" y="2506"/>
                </a:lnTo>
                <a:lnTo>
                  <a:pt x="11315" y="2458"/>
                </a:lnTo>
                <a:lnTo>
                  <a:pt x="10975" y="2433"/>
                </a:lnTo>
                <a:lnTo>
                  <a:pt x="10634" y="2409"/>
                </a:lnTo>
                <a:close/>
                <a:moveTo>
                  <a:pt x="15573" y="4940"/>
                </a:moveTo>
                <a:lnTo>
                  <a:pt x="15890" y="4964"/>
                </a:lnTo>
                <a:lnTo>
                  <a:pt x="16157" y="5037"/>
                </a:lnTo>
                <a:lnTo>
                  <a:pt x="16182" y="5280"/>
                </a:lnTo>
                <a:lnTo>
                  <a:pt x="16206" y="5524"/>
                </a:lnTo>
                <a:lnTo>
                  <a:pt x="16206" y="5889"/>
                </a:lnTo>
                <a:lnTo>
                  <a:pt x="16206" y="6254"/>
                </a:lnTo>
                <a:lnTo>
                  <a:pt x="15671" y="6278"/>
                </a:lnTo>
                <a:lnTo>
                  <a:pt x="15136" y="6302"/>
                </a:lnTo>
                <a:lnTo>
                  <a:pt x="14625" y="6327"/>
                </a:lnTo>
                <a:lnTo>
                  <a:pt x="14333" y="6375"/>
                </a:lnTo>
                <a:lnTo>
                  <a:pt x="14308" y="6302"/>
                </a:lnTo>
                <a:lnTo>
                  <a:pt x="14284" y="6132"/>
                </a:lnTo>
                <a:lnTo>
                  <a:pt x="14284" y="5962"/>
                </a:lnTo>
                <a:lnTo>
                  <a:pt x="14284" y="5645"/>
                </a:lnTo>
                <a:lnTo>
                  <a:pt x="14284" y="5329"/>
                </a:lnTo>
                <a:lnTo>
                  <a:pt x="14284" y="5159"/>
                </a:lnTo>
                <a:lnTo>
                  <a:pt x="14235" y="5013"/>
                </a:lnTo>
                <a:lnTo>
                  <a:pt x="14430" y="5013"/>
                </a:lnTo>
                <a:lnTo>
                  <a:pt x="14625" y="4988"/>
                </a:lnTo>
                <a:lnTo>
                  <a:pt x="14990" y="4940"/>
                </a:lnTo>
                <a:close/>
                <a:moveTo>
                  <a:pt x="15330" y="4404"/>
                </a:moveTo>
                <a:lnTo>
                  <a:pt x="14990" y="4429"/>
                </a:lnTo>
                <a:lnTo>
                  <a:pt x="14771" y="4453"/>
                </a:lnTo>
                <a:lnTo>
                  <a:pt x="14503" y="4502"/>
                </a:lnTo>
                <a:lnTo>
                  <a:pt x="14357" y="4526"/>
                </a:lnTo>
                <a:lnTo>
                  <a:pt x="14260" y="4575"/>
                </a:lnTo>
                <a:lnTo>
                  <a:pt x="14138" y="4648"/>
                </a:lnTo>
                <a:lnTo>
                  <a:pt x="14065" y="4721"/>
                </a:lnTo>
                <a:lnTo>
                  <a:pt x="14016" y="4721"/>
                </a:lnTo>
                <a:lnTo>
                  <a:pt x="13968" y="4745"/>
                </a:lnTo>
                <a:lnTo>
                  <a:pt x="13943" y="4745"/>
                </a:lnTo>
                <a:lnTo>
                  <a:pt x="13919" y="4769"/>
                </a:lnTo>
                <a:lnTo>
                  <a:pt x="13895" y="4794"/>
                </a:lnTo>
                <a:lnTo>
                  <a:pt x="13870" y="4891"/>
                </a:lnTo>
                <a:lnTo>
                  <a:pt x="13773" y="5670"/>
                </a:lnTo>
                <a:lnTo>
                  <a:pt x="13773" y="6059"/>
                </a:lnTo>
                <a:lnTo>
                  <a:pt x="13773" y="6254"/>
                </a:lnTo>
                <a:lnTo>
                  <a:pt x="13822" y="6424"/>
                </a:lnTo>
                <a:lnTo>
                  <a:pt x="13846" y="6497"/>
                </a:lnTo>
                <a:lnTo>
                  <a:pt x="13870" y="6570"/>
                </a:lnTo>
                <a:lnTo>
                  <a:pt x="13870" y="6594"/>
                </a:lnTo>
                <a:lnTo>
                  <a:pt x="13895" y="6667"/>
                </a:lnTo>
                <a:lnTo>
                  <a:pt x="13919" y="6740"/>
                </a:lnTo>
                <a:lnTo>
                  <a:pt x="13968" y="6789"/>
                </a:lnTo>
                <a:lnTo>
                  <a:pt x="14041" y="6813"/>
                </a:lnTo>
                <a:lnTo>
                  <a:pt x="14308" y="6886"/>
                </a:lnTo>
                <a:lnTo>
                  <a:pt x="14600" y="6911"/>
                </a:lnTo>
                <a:lnTo>
                  <a:pt x="14892" y="6935"/>
                </a:lnTo>
                <a:lnTo>
                  <a:pt x="15184" y="6911"/>
                </a:lnTo>
                <a:lnTo>
                  <a:pt x="15768" y="6886"/>
                </a:lnTo>
                <a:lnTo>
                  <a:pt x="16328" y="6813"/>
                </a:lnTo>
                <a:lnTo>
                  <a:pt x="16449" y="6789"/>
                </a:lnTo>
                <a:lnTo>
                  <a:pt x="16522" y="6740"/>
                </a:lnTo>
                <a:lnTo>
                  <a:pt x="16595" y="6643"/>
                </a:lnTo>
                <a:lnTo>
                  <a:pt x="16620" y="6546"/>
                </a:lnTo>
                <a:lnTo>
                  <a:pt x="16668" y="6448"/>
                </a:lnTo>
                <a:lnTo>
                  <a:pt x="16717" y="6327"/>
                </a:lnTo>
                <a:lnTo>
                  <a:pt x="16741" y="6108"/>
                </a:lnTo>
                <a:lnTo>
                  <a:pt x="16741" y="5864"/>
                </a:lnTo>
                <a:lnTo>
                  <a:pt x="16717" y="5645"/>
                </a:lnTo>
                <a:lnTo>
                  <a:pt x="16644" y="5159"/>
                </a:lnTo>
                <a:lnTo>
                  <a:pt x="16620" y="4940"/>
                </a:lnTo>
                <a:lnTo>
                  <a:pt x="16547" y="4721"/>
                </a:lnTo>
                <a:lnTo>
                  <a:pt x="16498" y="4648"/>
                </a:lnTo>
                <a:lnTo>
                  <a:pt x="16449" y="4599"/>
                </a:lnTo>
                <a:lnTo>
                  <a:pt x="16401" y="4575"/>
                </a:lnTo>
                <a:lnTo>
                  <a:pt x="16328" y="4526"/>
                </a:lnTo>
                <a:lnTo>
                  <a:pt x="16011" y="4453"/>
                </a:lnTo>
                <a:lnTo>
                  <a:pt x="15671" y="4404"/>
                </a:lnTo>
                <a:close/>
                <a:moveTo>
                  <a:pt x="8176" y="7105"/>
                </a:moveTo>
                <a:lnTo>
                  <a:pt x="7884" y="7373"/>
                </a:lnTo>
                <a:lnTo>
                  <a:pt x="7641" y="7689"/>
                </a:lnTo>
                <a:lnTo>
                  <a:pt x="7422" y="8006"/>
                </a:lnTo>
                <a:lnTo>
                  <a:pt x="7252" y="8346"/>
                </a:lnTo>
                <a:lnTo>
                  <a:pt x="7082" y="8687"/>
                </a:lnTo>
                <a:lnTo>
                  <a:pt x="6936" y="9052"/>
                </a:lnTo>
                <a:lnTo>
                  <a:pt x="6790" y="9417"/>
                </a:lnTo>
                <a:lnTo>
                  <a:pt x="6692" y="9782"/>
                </a:lnTo>
                <a:lnTo>
                  <a:pt x="6619" y="9441"/>
                </a:lnTo>
                <a:lnTo>
                  <a:pt x="6619" y="9198"/>
                </a:lnTo>
                <a:lnTo>
                  <a:pt x="6619" y="8955"/>
                </a:lnTo>
                <a:lnTo>
                  <a:pt x="6644" y="8711"/>
                </a:lnTo>
                <a:lnTo>
                  <a:pt x="6717" y="8492"/>
                </a:lnTo>
                <a:lnTo>
                  <a:pt x="6790" y="8273"/>
                </a:lnTo>
                <a:lnTo>
                  <a:pt x="6911" y="8079"/>
                </a:lnTo>
                <a:lnTo>
                  <a:pt x="7033" y="7884"/>
                </a:lnTo>
                <a:lnTo>
                  <a:pt x="7203" y="7689"/>
                </a:lnTo>
                <a:lnTo>
                  <a:pt x="7398" y="7519"/>
                </a:lnTo>
                <a:lnTo>
                  <a:pt x="7617" y="7373"/>
                </a:lnTo>
                <a:lnTo>
                  <a:pt x="7836" y="7251"/>
                </a:lnTo>
                <a:lnTo>
                  <a:pt x="8079" y="7154"/>
                </a:lnTo>
                <a:lnTo>
                  <a:pt x="8176" y="7105"/>
                </a:lnTo>
                <a:close/>
                <a:moveTo>
                  <a:pt x="11413" y="8444"/>
                </a:moveTo>
                <a:lnTo>
                  <a:pt x="11486" y="8711"/>
                </a:lnTo>
                <a:lnTo>
                  <a:pt x="11534" y="8979"/>
                </a:lnTo>
                <a:lnTo>
                  <a:pt x="11559" y="9246"/>
                </a:lnTo>
                <a:lnTo>
                  <a:pt x="11534" y="9514"/>
                </a:lnTo>
                <a:lnTo>
                  <a:pt x="11461" y="9782"/>
                </a:lnTo>
                <a:lnTo>
                  <a:pt x="11388" y="10049"/>
                </a:lnTo>
                <a:lnTo>
                  <a:pt x="11267" y="10293"/>
                </a:lnTo>
                <a:lnTo>
                  <a:pt x="11145" y="10512"/>
                </a:lnTo>
                <a:lnTo>
                  <a:pt x="10975" y="10731"/>
                </a:lnTo>
                <a:lnTo>
                  <a:pt x="11048" y="10536"/>
                </a:lnTo>
                <a:lnTo>
                  <a:pt x="11121" y="10317"/>
                </a:lnTo>
                <a:lnTo>
                  <a:pt x="11194" y="9928"/>
                </a:lnTo>
                <a:lnTo>
                  <a:pt x="11267" y="9563"/>
                </a:lnTo>
                <a:lnTo>
                  <a:pt x="11315" y="9198"/>
                </a:lnTo>
                <a:lnTo>
                  <a:pt x="11413" y="8444"/>
                </a:lnTo>
                <a:close/>
                <a:moveTo>
                  <a:pt x="9028" y="6911"/>
                </a:moveTo>
                <a:lnTo>
                  <a:pt x="8858" y="7057"/>
                </a:lnTo>
                <a:lnTo>
                  <a:pt x="8736" y="7251"/>
                </a:lnTo>
                <a:lnTo>
                  <a:pt x="8614" y="7446"/>
                </a:lnTo>
                <a:lnTo>
                  <a:pt x="8517" y="7641"/>
                </a:lnTo>
                <a:lnTo>
                  <a:pt x="8322" y="8079"/>
                </a:lnTo>
                <a:lnTo>
                  <a:pt x="8176" y="8492"/>
                </a:lnTo>
                <a:lnTo>
                  <a:pt x="8030" y="8833"/>
                </a:lnTo>
                <a:lnTo>
                  <a:pt x="7884" y="9173"/>
                </a:lnTo>
                <a:lnTo>
                  <a:pt x="7568" y="9830"/>
                </a:lnTo>
                <a:lnTo>
                  <a:pt x="7325" y="10317"/>
                </a:lnTo>
                <a:lnTo>
                  <a:pt x="7228" y="10560"/>
                </a:lnTo>
                <a:lnTo>
                  <a:pt x="7130" y="10804"/>
                </a:lnTo>
                <a:lnTo>
                  <a:pt x="6936" y="10463"/>
                </a:lnTo>
                <a:lnTo>
                  <a:pt x="6790" y="10122"/>
                </a:lnTo>
                <a:lnTo>
                  <a:pt x="6838" y="10122"/>
                </a:lnTo>
                <a:lnTo>
                  <a:pt x="6911" y="10098"/>
                </a:lnTo>
                <a:lnTo>
                  <a:pt x="6960" y="10074"/>
                </a:lnTo>
                <a:lnTo>
                  <a:pt x="7009" y="10001"/>
                </a:lnTo>
                <a:lnTo>
                  <a:pt x="7276" y="9222"/>
                </a:lnTo>
                <a:lnTo>
                  <a:pt x="7592" y="8468"/>
                </a:lnTo>
                <a:lnTo>
                  <a:pt x="7787" y="8103"/>
                </a:lnTo>
                <a:lnTo>
                  <a:pt x="7982" y="7738"/>
                </a:lnTo>
                <a:lnTo>
                  <a:pt x="8176" y="7373"/>
                </a:lnTo>
                <a:lnTo>
                  <a:pt x="8395" y="7032"/>
                </a:lnTo>
                <a:lnTo>
                  <a:pt x="8493" y="7032"/>
                </a:lnTo>
                <a:lnTo>
                  <a:pt x="8760" y="6959"/>
                </a:lnTo>
                <a:lnTo>
                  <a:pt x="9028" y="6911"/>
                </a:lnTo>
                <a:close/>
                <a:moveTo>
                  <a:pt x="9344" y="6911"/>
                </a:moveTo>
                <a:lnTo>
                  <a:pt x="9588" y="6935"/>
                </a:lnTo>
                <a:lnTo>
                  <a:pt x="9831" y="7008"/>
                </a:lnTo>
                <a:lnTo>
                  <a:pt x="9734" y="7105"/>
                </a:lnTo>
                <a:lnTo>
                  <a:pt x="9636" y="7203"/>
                </a:lnTo>
                <a:lnTo>
                  <a:pt x="9490" y="7446"/>
                </a:lnTo>
                <a:lnTo>
                  <a:pt x="9393" y="7714"/>
                </a:lnTo>
                <a:lnTo>
                  <a:pt x="9271" y="7957"/>
                </a:lnTo>
                <a:lnTo>
                  <a:pt x="9150" y="8298"/>
                </a:lnTo>
                <a:lnTo>
                  <a:pt x="9004" y="8663"/>
                </a:lnTo>
                <a:lnTo>
                  <a:pt x="8760" y="9368"/>
                </a:lnTo>
                <a:lnTo>
                  <a:pt x="8468" y="10122"/>
                </a:lnTo>
                <a:lnTo>
                  <a:pt x="8128" y="10852"/>
                </a:lnTo>
                <a:lnTo>
                  <a:pt x="7957" y="11290"/>
                </a:lnTo>
                <a:lnTo>
                  <a:pt x="7909" y="11388"/>
                </a:lnTo>
                <a:lnTo>
                  <a:pt x="7884" y="11485"/>
                </a:lnTo>
                <a:lnTo>
                  <a:pt x="7884" y="11558"/>
                </a:lnTo>
                <a:lnTo>
                  <a:pt x="7665" y="11388"/>
                </a:lnTo>
                <a:lnTo>
                  <a:pt x="7446" y="11193"/>
                </a:lnTo>
                <a:lnTo>
                  <a:pt x="7568" y="10901"/>
                </a:lnTo>
                <a:lnTo>
                  <a:pt x="7690" y="10609"/>
                </a:lnTo>
                <a:lnTo>
                  <a:pt x="7811" y="10317"/>
                </a:lnTo>
                <a:lnTo>
                  <a:pt x="7933" y="10049"/>
                </a:lnTo>
                <a:lnTo>
                  <a:pt x="8201" y="9514"/>
                </a:lnTo>
                <a:lnTo>
                  <a:pt x="8444" y="8979"/>
                </a:lnTo>
                <a:lnTo>
                  <a:pt x="8882" y="7933"/>
                </a:lnTo>
                <a:lnTo>
                  <a:pt x="9101" y="7422"/>
                </a:lnTo>
                <a:lnTo>
                  <a:pt x="9344" y="6911"/>
                </a:lnTo>
                <a:close/>
                <a:moveTo>
                  <a:pt x="10610" y="7397"/>
                </a:moveTo>
                <a:lnTo>
                  <a:pt x="10829" y="7592"/>
                </a:lnTo>
                <a:lnTo>
                  <a:pt x="11023" y="7811"/>
                </a:lnTo>
                <a:lnTo>
                  <a:pt x="11194" y="8054"/>
                </a:lnTo>
                <a:lnTo>
                  <a:pt x="11340" y="8322"/>
                </a:lnTo>
                <a:lnTo>
                  <a:pt x="11340" y="8346"/>
                </a:lnTo>
                <a:lnTo>
                  <a:pt x="11169" y="8663"/>
                </a:lnTo>
                <a:lnTo>
                  <a:pt x="11023" y="8979"/>
                </a:lnTo>
                <a:lnTo>
                  <a:pt x="10926" y="9295"/>
                </a:lnTo>
                <a:lnTo>
                  <a:pt x="10829" y="9660"/>
                </a:lnTo>
                <a:lnTo>
                  <a:pt x="10731" y="10025"/>
                </a:lnTo>
                <a:lnTo>
                  <a:pt x="10610" y="10414"/>
                </a:lnTo>
                <a:lnTo>
                  <a:pt x="10512" y="10706"/>
                </a:lnTo>
                <a:lnTo>
                  <a:pt x="10464" y="10852"/>
                </a:lnTo>
                <a:lnTo>
                  <a:pt x="10439" y="11023"/>
                </a:lnTo>
                <a:lnTo>
                  <a:pt x="10464" y="11071"/>
                </a:lnTo>
                <a:lnTo>
                  <a:pt x="10488" y="11120"/>
                </a:lnTo>
                <a:lnTo>
                  <a:pt x="10537" y="11144"/>
                </a:lnTo>
                <a:lnTo>
                  <a:pt x="10585" y="11169"/>
                </a:lnTo>
                <a:lnTo>
                  <a:pt x="10318" y="11388"/>
                </a:lnTo>
                <a:lnTo>
                  <a:pt x="10001" y="11558"/>
                </a:lnTo>
                <a:lnTo>
                  <a:pt x="10001" y="11558"/>
                </a:lnTo>
                <a:lnTo>
                  <a:pt x="10099" y="11412"/>
                </a:lnTo>
                <a:lnTo>
                  <a:pt x="10147" y="11242"/>
                </a:lnTo>
                <a:lnTo>
                  <a:pt x="10269" y="10877"/>
                </a:lnTo>
                <a:lnTo>
                  <a:pt x="10439" y="10244"/>
                </a:lnTo>
                <a:lnTo>
                  <a:pt x="10585" y="9684"/>
                </a:lnTo>
                <a:lnTo>
                  <a:pt x="10780" y="9100"/>
                </a:lnTo>
                <a:lnTo>
                  <a:pt x="10950" y="8517"/>
                </a:lnTo>
                <a:lnTo>
                  <a:pt x="11072" y="7957"/>
                </a:lnTo>
                <a:lnTo>
                  <a:pt x="11072" y="7908"/>
                </a:lnTo>
                <a:lnTo>
                  <a:pt x="11048" y="7884"/>
                </a:lnTo>
                <a:lnTo>
                  <a:pt x="10975" y="7884"/>
                </a:lnTo>
                <a:lnTo>
                  <a:pt x="10804" y="8079"/>
                </a:lnTo>
                <a:lnTo>
                  <a:pt x="10683" y="8273"/>
                </a:lnTo>
                <a:lnTo>
                  <a:pt x="10561" y="8517"/>
                </a:lnTo>
                <a:lnTo>
                  <a:pt x="10464" y="8760"/>
                </a:lnTo>
                <a:lnTo>
                  <a:pt x="10318" y="9246"/>
                </a:lnTo>
                <a:lnTo>
                  <a:pt x="10196" y="9733"/>
                </a:lnTo>
                <a:lnTo>
                  <a:pt x="10050" y="10293"/>
                </a:lnTo>
                <a:lnTo>
                  <a:pt x="9880" y="10828"/>
                </a:lnTo>
                <a:lnTo>
                  <a:pt x="9782" y="11071"/>
                </a:lnTo>
                <a:lnTo>
                  <a:pt x="9685" y="11290"/>
                </a:lnTo>
                <a:lnTo>
                  <a:pt x="9563" y="11534"/>
                </a:lnTo>
                <a:lnTo>
                  <a:pt x="9539" y="11655"/>
                </a:lnTo>
                <a:lnTo>
                  <a:pt x="9515" y="11777"/>
                </a:lnTo>
                <a:lnTo>
                  <a:pt x="9320" y="11826"/>
                </a:lnTo>
                <a:lnTo>
                  <a:pt x="9247" y="11850"/>
                </a:lnTo>
                <a:lnTo>
                  <a:pt x="9247" y="11850"/>
                </a:lnTo>
                <a:lnTo>
                  <a:pt x="9369" y="11607"/>
                </a:lnTo>
                <a:lnTo>
                  <a:pt x="9442" y="11339"/>
                </a:lnTo>
                <a:lnTo>
                  <a:pt x="9612" y="10828"/>
                </a:lnTo>
                <a:lnTo>
                  <a:pt x="9758" y="10317"/>
                </a:lnTo>
                <a:lnTo>
                  <a:pt x="9928" y="9806"/>
                </a:lnTo>
                <a:lnTo>
                  <a:pt x="10147" y="9222"/>
                </a:lnTo>
                <a:lnTo>
                  <a:pt x="10342" y="8614"/>
                </a:lnTo>
                <a:lnTo>
                  <a:pt x="10488" y="8006"/>
                </a:lnTo>
                <a:lnTo>
                  <a:pt x="10561" y="7714"/>
                </a:lnTo>
                <a:lnTo>
                  <a:pt x="10610" y="7397"/>
                </a:lnTo>
                <a:close/>
                <a:moveTo>
                  <a:pt x="10026" y="7081"/>
                </a:moveTo>
                <a:lnTo>
                  <a:pt x="10220" y="7154"/>
                </a:lnTo>
                <a:lnTo>
                  <a:pt x="10391" y="7251"/>
                </a:lnTo>
                <a:lnTo>
                  <a:pt x="10172" y="7811"/>
                </a:lnTo>
                <a:lnTo>
                  <a:pt x="10001" y="8395"/>
                </a:lnTo>
                <a:lnTo>
                  <a:pt x="9831" y="8955"/>
                </a:lnTo>
                <a:lnTo>
                  <a:pt x="9636" y="9538"/>
                </a:lnTo>
                <a:lnTo>
                  <a:pt x="9442" y="10098"/>
                </a:lnTo>
                <a:lnTo>
                  <a:pt x="9271" y="10706"/>
                </a:lnTo>
                <a:lnTo>
                  <a:pt x="9101" y="11266"/>
                </a:lnTo>
                <a:lnTo>
                  <a:pt x="8979" y="11558"/>
                </a:lnTo>
                <a:lnTo>
                  <a:pt x="8833" y="11826"/>
                </a:lnTo>
                <a:lnTo>
                  <a:pt x="8833" y="11874"/>
                </a:lnTo>
                <a:lnTo>
                  <a:pt x="8639" y="11850"/>
                </a:lnTo>
                <a:lnTo>
                  <a:pt x="8468" y="11826"/>
                </a:lnTo>
                <a:lnTo>
                  <a:pt x="8298" y="11753"/>
                </a:lnTo>
                <a:lnTo>
                  <a:pt x="8128" y="11680"/>
                </a:lnTo>
                <a:lnTo>
                  <a:pt x="8176" y="11655"/>
                </a:lnTo>
                <a:lnTo>
                  <a:pt x="8201" y="11631"/>
                </a:lnTo>
                <a:lnTo>
                  <a:pt x="8274" y="11534"/>
                </a:lnTo>
                <a:lnTo>
                  <a:pt x="8371" y="11315"/>
                </a:lnTo>
                <a:lnTo>
                  <a:pt x="8639" y="10633"/>
                </a:lnTo>
                <a:lnTo>
                  <a:pt x="8931" y="9976"/>
                </a:lnTo>
                <a:lnTo>
                  <a:pt x="9077" y="9636"/>
                </a:lnTo>
                <a:lnTo>
                  <a:pt x="9223" y="9271"/>
                </a:lnTo>
                <a:lnTo>
                  <a:pt x="9466" y="8565"/>
                </a:lnTo>
                <a:lnTo>
                  <a:pt x="9612" y="8200"/>
                </a:lnTo>
                <a:lnTo>
                  <a:pt x="9758" y="7835"/>
                </a:lnTo>
                <a:lnTo>
                  <a:pt x="9928" y="7446"/>
                </a:lnTo>
                <a:lnTo>
                  <a:pt x="9977" y="7276"/>
                </a:lnTo>
                <a:lnTo>
                  <a:pt x="10026" y="7081"/>
                </a:lnTo>
                <a:close/>
                <a:moveTo>
                  <a:pt x="9247" y="6424"/>
                </a:moveTo>
                <a:lnTo>
                  <a:pt x="8931" y="6448"/>
                </a:lnTo>
                <a:lnTo>
                  <a:pt x="8639" y="6497"/>
                </a:lnTo>
                <a:lnTo>
                  <a:pt x="8347" y="6570"/>
                </a:lnTo>
                <a:lnTo>
                  <a:pt x="8274" y="6619"/>
                </a:lnTo>
                <a:lnTo>
                  <a:pt x="8225" y="6667"/>
                </a:lnTo>
                <a:lnTo>
                  <a:pt x="7836" y="6789"/>
                </a:lnTo>
                <a:lnTo>
                  <a:pt x="7568" y="6911"/>
                </a:lnTo>
                <a:lnTo>
                  <a:pt x="7325" y="7032"/>
                </a:lnTo>
                <a:lnTo>
                  <a:pt x="7106" y="7203"/>
                </a:lnTo>
                <a:lnTo>
                  <a:pt x="6887" y="7373"/>
                </a:lnTo>
                <a:lnTo>
                  <a:pt x="6668" y="7592"/>
                </a:lnTo>
                <a:lnTo>
                  <a:pt x="6498" y="7835"/>
                </a:lnTo>
                <a:lnTo>
                  <a:pt x="6352" y="8103"/>
                </a:lnTo>
                <a:lnTo>
                  <a:pt x="6254" y="8371"/>
                </a:lnTo>
                <a:lnTo>
                  <a:pt x="6206" y="8663"/>
                </a:lnTo>
                <a:lnTo>
                  <a:pt x="6157" y="8979"/>
                </a:lnTo>
                <a:lnTo>
                  <a:pt x="6157" y="9271"/>
                </a:lnTo>
                <a:lnTo>
                  <a:pt x="6181" y="9563"/>
                </a:lnTo>
                <a:lnTo>
                  <a:pt x="6206" y="9855"/>
                </a:lnTo>
                <a:lnTo>
                  <a:pt x="6279" y="10122"/>
                </a:lnTo>
                <a:lnTo>
                  <a:pt x="6376" y="10390"/>
                </a:lnTo>
                <a:lnTo>
                  <a:pt x="6498" y="10658"/>
                </a:lnTo>
                <a:lnTo>
                  <a:pt x="6644" y="10925"/>
                </a:lnTo>
                <a:lnTo>
                  <a:pt x="6814" y="11169"/>
                </a:lnTo>
                <a:lnTo>
                  <a:pt x="6984" y="11388"/>
                </a:lnTo>
                <a:lnTo>
                  <a:pt x="7203" y="11607"/>
                </a:lnTo>
                <a:lnTo>
                  <a:pt x="7422" y="11801"/>
                </a:lnTo>
                <a:lnTo>
                  <a:pt x="7665" y="11947"/>
                </a:lnTo>
                <a:lnTo>
                  <a:pt x="7909" y="12093"/>
                </a:lnTo>
                <a:lnTo>
                  <a:pt x="8176" y="12191"/>
                </a:lnTo>
                <a:lnTo>
                  <a:pt x="8444" y="12288"/>
                </a:lnTo>
                <a:lnTo>
                  <a:pt x="8736" y="12312"/>
                </a:lnTo>
                <a:lnTo>
                  <a:pt x="9028" y="12312"/>
                </a:lnTo>
                <a:lnTo>
                  <a:pt x="9320" y="12288"/>
                </a:lnTo>
                <a:lnTo>
                  <a:pt x="9588" y="12215"/>
                </a:lnTo>
                <a:lnTo>
                  <a:pt x="9880" y="12118"/>
                </a:lnTo>
                <a:lnTo>
                  <a:pt x="10147" y="11996"/>
                </a:lnTo>
                <a:lnTo>
                  <a:pt x="10415" y="11826"/>
                </a:lnTo>
                <a:lnTo>
                  <a:pt x="10658" y="11655"/>
                </a:lnTo>
                <a:lnTo>
                  <a:pt x="10877" y="11461"/>
                </a:lnTo>
                <a:lnTo>
                  <a:pt x="11096" y="11242"/>
                </a:lnTo>
                <a:lnTo>
                  <a:pt x="11291" y="10998"/>
                </a:lnTo>
                <a:lnTo>
                  <a:pt x="11461" y="10731"/>
                </a:lnTo>
                <a:lnTo>
                  <a:pt x="11632" y="10463"/>
                </a:lnTo>
                <a:lnTo>
                  <a:pt x="11753" y="10195"/>
                </a:lnTo>
                <a:lnTo>
                  <a:pt x="11851" y="9903"/>
                </a:lnTo>
                <a:lnTo>
                  <a:pt x="11924" y="9611"/>
                </a:lnTo>
                <a:lnTo>
                  <a:pt x="11948" y="9319"/>
                </a:lnTo>
                <a:lnTo>
                  <a:pt x="11972" y="9027"/>
                </a:lnTo>
                <a:lnTo>
                  <a:pt x="11924" y="8736"/>
                </a:lnTo>
                <a:lnTo>
                  <a:pt x="11851" y="8444"/>
                </a:lnTo>
                <a:lnTo>
                  <a:pt x="11753" y="8176"/>
                </a:lnTo>
                <a:lnTo>
                  <a:pt x="11632" y="7908"/>
                </a:lnTo>
                <a:lnTo>
                  <a:pt x="11461" y="7665"/>
                </a:lnTo>
                <a:lnTo>
                  <a:pt x="11291" y="7422"/>
                </a:lnTo>
                <a:lnTo>
                  <a:pt x="11096" y="7203"/>
                </a:lnTo>
                <a:lnTo>
                  <a:pt x="10853" y="7032"/>
                </a:lnTo>
                <a:lnTo>
                  <a:pt x="10610" y="6862"/>
                </a:lnTo>
                <a:lnTo>
                  <a:pt x="10366" y="6716"/>
                </a:lnTo>
                <a:lnTo>
                  <a:pt x="10099" y="6594"/>
                </a:lnTo>
                <a:lnTo>
                  <a:pt x="9807" y="6521"/>
                </a:lnTo>
                <a:lnTo>
                  <a:pt x="9515" y="6448"/>
                </a:lnTo>
                <a:lnTo>
                  <a:pt x="9247" y="6424"/>
                </a:lnTo>
                <a:close/>
                <a:moveTo>
                  <a:pt x="9417" y="5694"/>
                </a:moveTo>
                <a:lnTo>
                  <a:pt x="9782" y="5718"/>
                </a:lnTo>
                <a:lnTo>
                  <a:pt x="10172" y="5791"/>
                </a:lnTo>
                <a:lnTo>
                  <a:pt x="10537" y="5889"/>
                </a:lnTo>
                <a:lnTo>
                  <a:pt x="10877" y="6010"/>
                </a:lnTo>
                <a:lnTo>
                  <a:pt x="11218" y="6181"/>
                </a:lnTo>
                <a:lnTo>
                  <a:pt x="11534" y="6351"/>
                </a:lnTo>
                <a:lnTo>
                  <a:pt x="11729" y="6497"/>
                </a:lnTo>
                <a:lnTo>
                  <a:pt x="11899" y="6619"/>
                </a:lnTo>
                <a:lnTo>
                  <a:pt x="12045" y="6789"/>
                </a:lnTo>
                <a:lnTo>
                  <a:pt x="12191" y="6959"/>
                </a:lnTo>
                <a:lnTo>
                  <a:pt x="12313" y="7130"/>
                </a:lnTo>
                <a:lnTo>
                  <a:pt x="12435" y="7324"/>
                </a:lnTo>
                <a:lnTo>
                  <a:pt x="12532" y="7519"/>
                </a:lnTo>
                <a:lnTo>
                  <a:pt x="12629" y="7714"/>
                </a:lnTo>
                <a:lnTo>
                  <a:pt x="12775" y="8152"/>
                </a:lnTo>
                <a:lnTo>
                  <a:pt x="12873" y="8590"/>
                </a:lnTo>
                <a:lnTo>
                  <a:pt x="12921" y="9027"/>
                </a:lnTo>
                <a:lnTo>
                  <a:pt x="12921" y="9465"/>
                </a:lnTo>
                <a:lnTo>
                  <a:pt x="12897" y="9806"/>
                </a:lnTo>
                <a:lnTo>
                  <a:pt x="12848" y="10147"/>
                </a:lnTo>
                <a:lnTo>
                  <a:pt x="12751" y="10463"/>
                </a:lnTo>
                <a:lnTo>
                  <a:pt x="12654" y="10779"/>
                </a:lnTo>
                <a:lnTo>
                  <a:pt x="12508" y="11071"/>
                </a:lnTo>
                <a:lnTo>
                  <a:pt x="12362" y="11363"/>
                </a:lnTo>
                <a:lnTo>
                  <a:pt x="12167" y="11631"/>
                </a:lnTo>
                <a:lnTo>
                  <a:pt x="11972" y="11874"/>
                </a:lnTo>
                <a:lnTo>
                  <a:pt x="11753" y="12093"/>
                </a:lnTo>
                <a:lnTo>
                  <a:pt x="11510" y="12288"/>
                </a:lnTo>
                <a:lnTo>
                  <a:pt x="11242" y="12483"/>
                </a:lnTo>
                <a:lnTo>
                  <a:pt x="10975" y="12653"/>
                </a:lnTo>
                <a:lnTo>
                  <a:pt x="10683" y="12799"/>
                </a:lnTo>
                <a:lnTo>
                  <a:pt x="10366" y="12921"/>
                </a:lnTo>
                <a:lnTo>
                  <a:pt x="10050" y="13018"/>
                </a:lnTo>
                <a:lnTo>
                  <a:pt x="9709" y="13091"/>
                </a:lnTo>
                <a:lnTo>
                  <a:pt x="9369" y="13140"/>
                </a:lnTo>
                <a:lnTo>
                  <a:pt x="8736" y="13140"/>
                </a:lnTo>
                <a:lnTo>
                  <a:pt x="8420" y="13115"/>
                </a:lnTo>
                <a:lnTo>
                  <a:pt x="8128" y="13042"/>
                </a:lnTo>
                <a:lnTo>
                  <a:pt x="7836" y="12969"/>
                </a:lnTo>
                <a:lnTo>
                  <a:pt x="7568" y="12848"/>
                </a:lnTo>
                <a:lnTo>
                  <a:pt x="7276" y="12726"/>
                </a:lnTo>
                <a:lnTo>
                  <a:pt x="7033" y="12556"/>
                </a:lnTo>
                <a:lnTo>
                  <a:pt x="6790" y="12385"/>
                </a:lnTo>
                <a:lnTo>
                  <a:pt x="6546" y="12191"/>
                </a:lnTo>
                <a:lnTo>
                  <a:pt x="6352" y="11972"/>
                </a:lnTo>
                <a:lnTo>
                  <a:pt x="6157" y="11728"/>
                </a:lnTo>
                <a:lnTo>
                  <a:pt x="5962" y="11461"/>
                </a:lnTo>
                <a:lnTo>
                  <a:pt x="5816" y="11193"/>
                </a:lnTo>
                <a:lnTo>
                  <a:pt x="5670" y="10877"/>
                </a:lnTo>
                <a:lnTo>
                  <a:pt x="5597" y="10658"/>
                </a:lnTo>
                <a:lnTo>
                  <a:pt x="5524" y="10414"/>
                </a:lnTo>
                <a:lnTo>
                  <a:pt x="5476" y="10171"/>
                </a:lnTo>
                <a:lnTo>
                  <a:pt x="5427" y="9928"/>
                </a:lnTo>
                <a:lnTo>
                  <a:pt x="5403" y="9684"/>
                </a:lnTo>
                <a:lnTo>
                  <a:pt x="5403" y="9465"/>
                </a:lnTo>
                <a:lnTo>
                  <a:pt x="5403" y="9222"/>
                </a:lnTo>
                <a:lnTo>
                  <a:pt x="5427" y="8979"/>
                </a:lnTo>
                <a:lnTo>
                  <a:pt x="5451" y="8736"/>
                </a:lnTo>
                <a:lnTo>
                  <a:pt x="5500" y="8517"/>
                </a:lnTo>
                <a:lnTo>
                  <a:pt x="5573" y="8273"/>
                </a:lnTo>
                <a:lnTo>
                  <a:pt x="5646" y="8054"/>
                </a:lnTo>
                <a:lnTo>
                  <a:pt x="5743" y="7811"/>
                </a:lnTo>
                <a:lnTo>
                  <a:pt x="5865" y="7592"/>
                </a:lnTo>
                <a:lnTo>
                  <a:pt x="5987" y="7397"/>
                </a:lnTo>
                <a:lnTo>
                  <a:pt x="6133" y="7178"/>
                </a:lnTo>
                <a:lnTo>
                  <a:pt x="6376" y="6886"/>
                </a:lnTo>
                <a:lnTo>
                  <a:pt x="6644" y="6619"/>
                </a:lnTo>
                <a:lnTo>
                  <a:pt x="6911" y="6400"/>
                </a:lnTo>
                <a:lnTo>
                  <a:pt x="7228" y="6229"/>
                </a:lnTo>
                <a:lnTo>
                  <a:pt x="7544" y="6059"/>
                </a:lnTo>
                <a:lnTo>
                  <a:pt x="7884" y="5937"/>
                </a:lnTo>
                <a:lnTo>
                  <a:pt x="8225" y="5840"/>
                </a:lnTo>
                <a:lnTo>
                  <a:pt x="8590" y="5743"/>
                </a:lnTo>
                <a:lnTo>
                  <a:pt x="8687" y="5743"/>
                </a:lnTo>
                <a:lnTo>
                  <a:pt x="9052" y="5694"/>
                </a:lnTo>
                <a:close/>
                <a:moveTo>
                  <a:pt x="9150" y="5207"/>
                </a:moveTo>
                <a:lnTo>
                  <a:pt x="8760" y="5232"/>
                </a:lnTo>
                <a:lnTo>
                  <a:pt x="8420" y="5256"/>
                </a:lnTo>
                <a:lnTo>
                  <a:pt x="8055" y="5305"/>
                </a:lnTo>
                <a:lnTo>
                  <a:pt x="7714" y="5402"/>
                </a:lnTo>
                <a:lnTo>
                  <a:pt x="7373" y="5548"/>
                </a:lnTo>
                <a:lnTo>
                  <a:pt x="7057" y="5718"/>
                </a:lnTo>
                <a:lnTo>
                  <a:pt x="6741" y="5889"/>
                </a:lnTo>
                <a:lnTo>
                  <a:pt x="6473" y="6108"/>
                </a:lnTo>
                <a:lnTo>
                  <a:pt x="6181" y="6327"/>
                </a:lnTo>
                <a:lnTo>
                  <a:pt x="6035" y="6497"/>
                </a:lnTo>
                <a:lnTo>
                  <a:pt x="5865" y="6667"/>
                </a:lnTo>
                <a:lnTo>
                  <a:pt x="5597" y="7032"/>
                </a:lnTo>
                <a:lnTo>
                  <a:pt x="5354" y="7446"/>
                </a:lnTo>
                <a:lnTo>
                  <a:pt x="5159" y="7860"/>
                </a:lnTo>
                <a:lnTo>
                  <a:pt x="5013" y="8298"/>
                </a:lnTo>
                <a:lnTo>
                  <a:pt x="4916" y="8760"/>
                </a:lnTo>
                <a:lnTo>
                  <a:pt x="4867" y="9222"/>
                </a:lnTo>
                <a:lnTo>
                  <a:pt x="4867" y="9684"/>
                </a:lnTo>
                <a:lnTo>
                  <a:pt x="4916" y="10049"/>
                </a:lnTo>
                <a:lnTo>
                  <a:pt x="4965" y="10414"/>
                </a:lnTo>
                <a:lnTo>
                  <a:pt x="5062" y="10755"/>
                </a:lnTo>
                <a:lnTo>
                  <a:pt x="5184" y="11096"/>
                </a:lnTo>
                <a:lnTo>
                  <a:pt x="5330" y="11412"/>
                </a:lnTo>
                <a:lnTo>
                  <a:pt x="5500" y="11728"/>
                </a:lnTo>
                <a:lnTo>
                  <a:pt x="5695" y="12020"/>
                </a:lnTo>
                <a:lnTo>
                  <a:pt x="5914" y="12288"/>
                </a:lnTo>
                <a:lnTo>
                  <a:pt x="6157" y="12531"/>
                </a:lnTo>
                <a:lnTo>
                  <a:pt x="6425" y="12775"/>
                </a:lnTo>
                <a:lnTo>
                  <a:pt x="6717" y="12969"/>
                </a:lnTo>
                <a:lnTo>
                  <a:pt x="7009" y="13164"/>
                </a:lnTo>
                <a:lnTo>
                  <a:pt x="7325" y="13310"/>
                </a:lnTo>
                <a:lnTo>
                  <a:pt x="7665" y="13432"/>
                </a:lnTo>
                <a:lnTo>
                  <a:pt x="8006" y="13529"/>
                </a:lnTo>
                <a:lnTo>
                  <a:pt x="8371" y="13602"/>
                </a:lnTo>
                <a:lnTo>
                  <a:pt x="8687" y="13651"/>
                </a:lnTo>
                <a:lnTo>
                  <a:pt x="9296" y="13651"/>
                </a:lnTo>
                <a:lnTo>
                  <a:pt x="9612" y="13626"/>
                </a:lnTo>
                <a:lnTo>
                  <a:pt x="9928" y="13578"/>
                </a:lnTo>
                <a:lnTo>
                  <a:pt x="10220" y="13505"/>
                </a:lnTo>
                <a:lnTo>
                  <a:pt x="10512" y="13407"/>
                </a:lnTo>
                <a:lnTo>
                  <a:pt x="10804" y="13310"/>
                </a:lnTo>
                <a:lnTo>
                  <a:pt x="11072" y="13188"/>
                </a:lnTo>
                <a:lnTo>
                  <a:pt x="11340" y="13042"/>
                </a:lnTo>
                <a:lnTo>
                  <a:pt x="11607" y="12872"/>
                </a:lnTo>
                <a:lnTo>
                  <a:pt x="11851" y="12702"/>
                </a:lnTo>
                <a:lnTo>
                  <a:pt x="12094" y="12507"/>
                </a:lnTo>
                <a:lnTo>
                  <a:pt x="12313" y="12288"/>
                </a:lnTo>
                <a:lnTo>
                  <a:pt x="12508" y="12045"/>
                </a:lnTo>
                <a:lnTo>
                  <a:pt x="12702" y="11801"/>
                </a:lnTo>
                <a:lnTo>
                  <a:pt x="12897" y="11461"/>
                </a:lnTo>
                <a:lnTo>
                  <a:pt x="13092" y="11096"/>
                </a:lnTo>
                <a:lnTo>
                  <a:pt x="13213" y="10706"/>
                </a:lnTo>
                <a:lnTo>
                  <a:pt x="13335" y="10317"/>
                </a:lnTo>
                <a:lnTo>
                  <a:pt x="13384" y="9903"/>
                </a:lnTo>
                <a:lnTo>
                  <a:pt x="13432" y="9490"/>
                </a:lnTo>
                <a:lnTo>
                  <a:pt x="13432" y="9076"/>
                </a:lnTo>
                <a:lnTo>
                  <a:pt x="13384" y="8663"/>
                </a:lnTo>
                <a:lnTo>
                  <a:pt x="13311" y="8273"/>
                </a:lnTo>
                <a:lnTo>
                  <a:pt x="13189" y="7860"/>
                </a:lnTo>
                <a:lnTo>
                  <a:pt x="13043" y="7495"/>
                </a:lnTo>
                <a:lnTo>
                  <a:pt x="12873" y="7130"/>
                </a:lnTo>
                <a:lnTo>
                  <a:pt x="12654" y="6789"/>
                </a:lnTo>
                <a:lnTo>
                  <a:pt x="12386" y="6473"/>
                </a:lnTo>
                <a:lnTo>
                  <a:pt x="12094" y="6181"/>
                </a:lnTo>
                <a:lnTo>
                  <a:pt x="11778" y="5937"/>
                </a:lnTo>
                <a:lnTo>
                  <a:pt x="11461" y="5743"/>
                </a:lnTo>
                <a:lnTo>
                  <a:pt x="11096" y="5572"/>
                </a:lnTo>
                <a:lnTo>
                  <a:pt x="10731" y="5426"/>
                </a:lnTo>
                <a:lnTo>
                  <a:pt x="10342" y="5329"/>
                </a:lnTo>
                <a:lnTo>
                  <a:pt x="9953" y="5256"/>
                </a:lnTo>
                <a:lnTo>
                  <a:pt x="9539" y="5207"/>
                </a:lnTo>
                <a:close/>
                <a:moveTo>
                  <a:pt x="7714" y="511"/>
                </a:moveTo>
                <a:lnTo>
                  <a:pt x="8687" y="536"/>
                </a:lnTo>
                <a:lnTo>
                  <a:pt x="9685" y="560"/>
                </a:lnTo>
                <a:lnTo>
                  <a:pt x="10658" y="633"/>
                </a:lnTo>
                <a:lnTo>
                  <a:pt x="11340" y="633"/>
                </a:lnTo>
                <a:lnTo>
                  <a:pt x="11680" y="609"/>
                </a:lnTo>
                <a:lnTo>
                  <a:pt x="12021" y="609"/>
                </a:lnTo>
                <a:lnTo>
                  <a:pt x="12264" y="633"/>
                </a:lnTo>
                <a:lnTo>
                  <a:pt x="12483" y="706"/>
                </a:lnTo>
                <a:lnTo>
                  <a:pt x="12654" y="779"/>
                </a:lnTo>
                <a:lnTo>
                  <a:pt x="12800" y="876"/>
                </a:lnTo>
                <a:lnTo>
                  <a:pt x="12921" y="1022"/>
                </a:lnTo>
                <a:lnTo>
                  <a:pt x="13019" y="1168"/>
                </a:lnTo>
                <a:lnTo>
                  <a:pt x="13092" y="1314"/>
                </a:lnTo>
                <a:lnTo>
                  <a:pt x="13140" y="1484"/>
                </a:lnTo>
                <a:lnTo>
                  <a:pt x="13262" y="1874"/>
                </a:lnTo>
                <a:lnTo>
                  <a:pt x="13335" y="2263"/>
                </a:lnTo>
                <a:lnTo>
                  <a:pt x="13432" y="2652"/>
                </a:lnTo>
                <a:lnTo>
                  <a:pt x="13481" y="2847"/>
                </a:lnTo>
                <a:lnTo>
                  <a:pt x="13554" y="3017"/>
                </a:lnTo>
                <a:lnTo>
                  <a:pt x="13627" y="3115"/>
                </a:lnTo>
                <a:lnTo>
                  <a:pt x="13724" y="3139"/>
                </a:lnTo>
                <a:lnTo>
                  <a:pt x="13822" y="3139"/>
                </a:lnTo>
                <a:lnTo>
                  <a:pt x="13919" y="3090"/>
                </a:lnTo>
                <a:lnTo>
                  <a:pt x="14138" y="3066"/>
                </a:lnTo>
                <a:lnTo>
                  <a:pt x="14357" y="3066"/>
                </a:lnTo>
                <a:lnTo>
                  <a:pt x="14795" y="3090"/>
                </a:lnTo>
                <a:lnTo>
                  <a:pt x="15233" y="3139"/>
                </a:lnTo>
                <a:lnTo>
                  <a:pt x="15671" y="3163"/>
                </a:lnTo>
                <a:lnTo>
                  <a:pt x="16084" y="3188"/>
                </a:lnTo>
                <a:lnTo>
                  <a:pt x="16571" y="3212"/>
                </a:lnTo>
                <a:lnTo>
                  <a:pt x="16839" y="3212"/>
                </a:lnTo>
                <a:lnTo>
                  <a:pt x="17082" y="3188"/>
                </a:lnTo>
                <a:lnTo>
                  <a:pt x="17325" y="3163"/>
                </a:lnTo>
                <a:lnTo>
                  <a:pt x="17520" y="3066"/>
                </a:lnTo>
                <a:lnTo>
                  <a:pt x="17496" y="3261"/>
                </a:lnTo>
                <a:lnTo>
                  <a:pt x="17496" y="3480"/>
                </a:lnTo>
                <a:lnTo>
                  <a:pt x="17544" y="5086"/>
                </a:lnTo>
                <a:lnTo>
                  <a:pt x="17593" y="6789"/>
                </a:lnTo>
                <a:lnTo>
                  <a:pt x="17617" y="8517"/>
                </a:lnTo>
                <a:lnTo>
                  <a:pt x="17666" y="11753"/>
                </a:lnTo>
                <a:lnTo>
                  <a:pt x="17666" y="12483"/>
                </a:lnTo>
                <a:lnTo>
                  <a:pt x="17642" y="13213"/>
                </a:lnTo>
                <a:lnTo>
                  <a:pt x="17617" y="13943"/>
                </a:lnTo>
                <a:lnTo>
                  <a:pt x="17617" y="14673"/>
                </a:lnTo>
                <a:lnTo>
                  <a:pt x="17544" y="14673"/>
                </a:lnTo>
                <a:lnTo>
                  <a:pt x="16449" y="14746"/>
                </a:lnTo>
                <a:lnTo>
                  <a:pt x="15379" y="14794"/>
                </a:lnTo>
                <a:lnTo>
                  <a:pt x="14308" y="14794"/>
                </a:lnTo>
                <a:lnTo>
                  <a:pt x="13238" y="14770"/>
                </a:lnTo>
                <a:lnTo>
                  <a:pt x="11072" y="14721"/>
                </a:lnTo>
                <a:lnTo>
                  <a:pt x="10001" y="14697"/>
                </a:lnTo>
                <a:lnTo>
                  <a:pt x="8931" y="14673"/>
                </a:lnTo>
                <a:lnTo>
                  <a:pt x="7811" y="14673"/>
                </a:lnTo>
                <a:lnTo>
                  <a:pt x="6692" y="14721"/>
                </a:lnTo>
                <a:lnTo>
                  <a:pt x="4454" y="14819"/>
                </a:lnTo>
                <a:lnTo>
                  <a:pt x="2215" y="14892"/>
                </a:lnTo>
                <a:lnTo>
                  <a:pt x="1826" y="14892"/>
                </a:lnTo>
                <a:lnTo>
                  <a:pt x="1436" y="14867"/>
                </a:lnTo>
                <a:lnTo>
                  <a:pt x="828" y="14867"/>
                </a:lnTo>
                <a:lnTo>
                  <a:pt x="633" y="14916"/>
                </a:lnTo>
                <a:lnTo>
                  <a:pt x="658" y="14624"/>
                </a:lnTo>
                <a:lnTo>
                  <a:pt x="658" y="14308"/>
                </a:lnTo>
                <a:lnTo>
                  <a:pt x="658" y="13724"/>
                </a:lnTo>
                <a:lnTo>
                  <a:pt x="633" y="13115"/>
                </a:lnTo>
                <a:lnTo>
                  <a:pt x="633" y="12531"/>
                </a:lnTo>
                <a:lnTo>
                  <a:pt x="682" y="10804"/>
                </a:lnTo>
                <a:lnTo>
                  <a:pt x="706" y="9928"/>
                </a:lnTo>
                <a:lnTo>
                  <a:pt x="682" y="9076"/>
                </a:lnTo>
                <a:lnTo>
                  <a:pt x="585" y="7349"/>
                </a:lnTo>
                <a:lnTo>
                  <a:pt x="512" y="5597"/>
                </a:lnTo>
                <a:lnTo>
                  <a:pt x="463" y="4794"/>
                </a:lnTo>
                <a:lnTo>
                  <a:pt x="439" y="4380"/>
                </a:lnTo>
                <a:lnTo>
                  <a:pt x="439" y="3991"/>
                </a:lnTo>
                <a:lnTo>
                  <a:pt x="439" y="3601"/>
                </a:lnTo>
                <a:lnTo>
                  <a:pt x="390" y="3236"/>
                </a:lnTo>
                <a:lnTo>
                  <a:pt x="706" y="3285"/>
                </a:lnTo>
                <a:lnTo>
                  <a:pt x="1217" y="3285"/>
                </a:lnTo>
                <a:lnTo>
                  <a:pt x="1436" y="3261"/>
                </a:lnTo>
                <a:lnTo>
                  <a:pt x="1655" y="3212"/>
                </a:lnTo>
                <a:lnTo>
                  <a:pt x="1753" y="3163"/>
                </a:lnTo>
                <a:lnTo>
                  <a:pt x="1826" y="3115"/>
                </a:lnTo>
                <a:lnTo>
                  <a:pt x="1874" y="3042"/>
                </a:lnTo>
                <a:lnTo>
                  <a:pt x="1899" y="2969"/>
                </a:lnTo>
                <a:lnTo>
                  <a:pt x="1899" y="2896"/>
                </a:lnTo>
                <a:lnTo>
                  <a:pt x="1874" y="2823"/>
                </a:lnTo>
                <a:lnTo>
                  <a:pt x="1947" y="2725"/>
                </a:lnTo>
                <a:lnTo>
                  <a:pt x="2069" y="2652"/>
                </a:lnTo>
                <a:lnTo>
                  <a:pt x="2191" y="2579"/>
                </a:lnTo>
                <a:lnTo>
                  <a:pt x="2312" y="2555"/>
                </a:lnTo>
                <a:lnTo>
                  <a:pt x="2458" y="2531"/>
                </a:lnTo>
                <a:lnTo>
                  <a:pt x="2580" y="2531"/>
                </a:lnTo>
                <a:lnTo>
                  <a:pt x="2702" y="2555"/>
                </a:lnTo>
                <a:lnTo>
                  <a:pt x="2823" y="2579"/>
                </a:lnTo>
                <a:lnTo>
                  <a:pt x="2945" y="2628"/>
                </a:lnTo>
                <a:lnTo>
                  <a:pt x="3067" y="2677"/>
                </a:lnTo>
                <a:lnTo>
                  <a:pt x="3164" y="2774"/>
                </a:lnTo>
                <a:lnTo>
                  <a:pt x="3237" y="2847"/>
                </a:lnTo>
                <a:lnTo>
                  <a:pt x="3310" y="2944"/>
                </a:lnTo>
                <a:lnTo>
                  <a:pt x="3334" y="2993"/>
                </a:lnTo>
                <a:lnTo>
                  <a:pt x="3334" y="3017"/>
                </a:lnTo>
                <a:lnTo>
                  <a:pt x="3383" y="3115"/>
                </a:lnTo>
                <a:lnTo>
                  <a:pt x="3456" y="3163"/>
                </a:lnTo>
                <a:lnTo>
                  <a:pt x="3529" y="3188"/>
                </a:lnTo>
                <a:lnTo>
                  <a:pt x="3602" y="3163"/>
                </a:lnTo>
                <a:lnTo>
                  <a:pt x="3821" y="3188"/>
                </a:lnTo>
                <a:lnTo>
                  <a:pt x="4162" y="3212"/>
                </a:lnTo>
                <a:lnTo>
                  <a:pt x="4332" y="3188"/>
                </a:lnTo>
                <a:lnTo>
                  <a:pt x="4502" y="3139"/>
                </a:lnTo>
                <a:lnTo>
                  <a:pt x="4551" y="3090"/>
                </a:lnTo>
                <a:lnTo>
                  <a:pt x="4575" y="3042"/>
                </a:lnTo>
                <a:lnTo>
                  <a:pt x="4600" y="2993"/>
                </a:lnTo>
                <a:lnTo>
                  <a:pt x="4600" y="2920"/>
                </a:lnTo>
                <a:lnTo>
                  <a:pt x="4721" y="2725"/>
                </a:lnTo>
                <a:lnTo>
                  <a:pt x="4794" y="2506"/>
                </a:lnTo>
                <a:lnTo>
                  <a:pt x="4867" y="2263"/>
                </a:lnTo>
                <a:lnTo>
                  <a:pt x="4940" y="2020"/>
                </a:lnTo>
                <a:lnTo>
                  <a:pt x="5062" y="1533"/>
                </a:lnTo>
                <a:lnTo>
                  <a:pt x="5135" y="1290"/>
                </a:lnTo>
                <a:lnTo>
                  <a:pt x="5232" y="1095"/>
                </a:lnTo>
                <a:lnTo>
                  <a:pt x="5281" y="998"/>
                </a:lnTo>
                <a:lnTo>
                  <a:pt x="5354" y="925"/>
                </a:lnTo>
                <a:lnTo>
                  <a:pt x="5500" y="803"/>
                </a:lnTo>
                <a:lnTo>
                  <a:pt x="5695" y="706"/>
                </a:lnTo>
                <a:lnTo>
                  <a:pt x="5889" y="657"/>
                </a:lnTo>
                <a:lnTo>
                  <a:pt x="6108" y="609"/>
                </a:lnTo>
                <a:lnTo>
                  <a:pt x="6327" y="584"/>
                </a:lnTo>
                <a:lnTo>
                  <a:pt x="6717" y="560"/>
                </a:lnTo>
                <a:lnTo>
                  <a:pt x="7203" y="536"/>
                </a:lnTo>
                <a:lnTo>
                  <a:pt x="7714" y="511"/>
                </a:lnTo>
                <a:close/>
                <a:moveTo>
                  <a:pt x="7714" y="0"/>
                </a:moveTo>
                <a:lnTo>
                  <a:pt x="7130" y="25"/>
                </a:lnTo>
                <a:lnTo>
                  <a:pt x="6546" y="49"/>
                </a:lnTo>
                <a:lnTo>
                  <a:pt x="6157" y="98"/>
                </a:lnTo>
                <a:lnTo>
                  <a:pt x="5768" y="146"/>
                </a:lnTo>
                <a:lnTo>
                  <a:pt x="5573" y="195"/>
                </a:lnTo>
                <a:lnTo>
                  <a:pt x="5378" y="268"/>
                </a:lnTo>
                <a:lnTo>
                  <a:pt x="5208" y="365"/>
                </a:lnTo>
                <a:lnTo>
                  <a:pt x="5062" y="487"/>
                </a:lnTo>
                <a:lnTo>
                  <a:pt x="4940" y="584"/>
                </a:lnTo>
                <a:lnTo>
                  <a:pt x="4843" y="706"/>
                </a:lnTo>
                <a:lnTo>
                  <a:pt x="4697" y="949"/>
                </a:lnTo>
                <a:lnTo>
                  <a:pt x="4575" y="1241"/>
                </a:lnTo>
                <a:lnTo>
                  <a:pt x="4502" y="1533"/>
                </a:lnTo>
                <a:lnTo>
                  <a:pt x="4332" y="2141"/>
                </a:lnTo>
                <a:lnTo>
                  <a:pt x="4113" y="2750"/>
                </a:lnTo>
                <a:lnTo>
                  <a:pt x="3894" y="2774"/>
                </a:lnTo>
                <a:lnTo>
                  <a:pt x="3699" y="2774"/>
                </a:lnTo>
                <a:lnTo>
                  <a:pt x="3602" y="2628"/>
                </a:lnTo>
                <a:lnTo>
                  <a:pt x="3505" y="2482"/>
                </a:lnTo>
                <a:lnTo>
                  <a:pt x="3359" y="2385"/>
                </a:lnTo>
                <a:lnTo>
                  <a:pt x="3213" y="2287"/>
                </a:lnTo>
                <a:lnTo>
                  <a:pt x="3067" y="2214"/>
                </a:lnTo>
                <a:lnTo>
                  <a:pt x="2896" y="2166"/>
                </a:lnTo>
                <a:lnTo>
                  <a:pt x="2702" y="2117"/>
                </a:lnTo>
                <a:lnTo>
                  <a:pt x="2531" y="2093"/>
                </a:lnTo>
                <a:lnTo>
                  <a:pt x="2410" y="2117"/>
                </a:lnTo>
                <a:lnTo>
                  <a:pt x="2264" y="2141"/>
                </a:lnTo>
                <a:lnTo>
                  <a:pt x="2118" y="2166"/>
                </a:lnTo>
                <a:lnTo>
                  <a:pt x="1947" y="2239"/>
                </a:lnTo>
                <a:lnTo>
                  <a:pt x="1801" y="2312"/>
                </a:lnTo>
                <a:lnTo>
                  <a:pt x="1680" y="2409"/>
                </a:lnTo>
                <a:lnTo>
                  <a:pt x="1558" y="2506"/>
                </a:lnTo>
                <a:lnTo>
                  <a:pt x="1485" y="2628"/>
                </a:lnTo>
                <a:lnTo>
                  <a:pt x="1242" y="2652"/>
                </a:lnTo>
                <a:lnTo>
                  <a:pt x="1023" y="2677"/>
                </a:lnTo>
                <a:lnTo>
                  <a:pt x="220" y="2677"/>
                </a:lnTo>
                <a:lnTo>
                  <a:pt x="171" y="2701"/>
                </a:lnTo>
                <a:lnTo>
                  <a:pt x="122" y="2725"/>
                </a:lnTo>
                <a:lnTo>
                  <a:pt x="74" y="2774"/>
                </a:lnTo>
                <a:lnTo>
                  <a:pt x="25" y="2823"/>
                </a:lnTo>
                <a:lnTo>
                  <a:pt x="1" y="2896"/>
                </a:lnTo>
                <a:lnTo>
                  <a:pt x="25" y="4258"/>
                </a:lnTo>
                <a:lnTo>
                  <a:pt x="49" y="5597"/>
                </a:lnTo>
                <a:lnTo>
                  <a:pt x="98" y="7349"/>
                </a:lnTo>
                <a:lnTo>
                  <a:pt x="195" y="9076"/>
                </a:lnTo>
                <a:lnTo>
                  <a:pt x="195" y="9879"/>
                </a:lnTo>
                <a:lnTo>
                  <a:pt x="195" y="10706"/>
                </a:lnTo>
                <a:lnTo>
                  <a:pt x="171" y="11534"/>
                </a:lnTo>
                <a:lnTo>
                  <a:pt x="122" y="12337"/>
                </a:lnTo>
                <a:lnTo>
                  <a:pt x="98" y="12994"/>
                </a:lnTo>
                <a:lnTo>
                  <a:pt x="98" y="13626"/>
                </a:lnTo>
                <a:lnTo>
                  <a:pt x="122" y="14916"/>
                </a:lnTo>
                <a:lnTo>
                  <a:pt x="122" y="14965"/>
                </a:lnTo>
                <a:lnTo>
                  <a:pt x="147" y="15038"/>
                </a:lnTo>
                <a:lnTo>
                  <a:pt x="195" y="15086"/>
                </a:lnTo>
                <a:lnTo>
                  <a:pt x="244" y="15111"/>
                </a:lnTo>
                <a:lnTo>
                  <a:pt x="268" y="15184"/>
                </a:lnTo>
                <a:lnTo>
                  <a:pt x="317" y="15257"/>
                </a:lnTo>
                <a:lnTo>
                  <a:pt x="487" y="15354"/>
                </a:lnTo>
                <a:lnTo>
                  <a:pt x="706" y="15403"/>
                </a:lnTo>
                <a:lnTo>
                  <a:pt x="925" y="15427"/>
                </a:lnTo>
                <a:lnTo>
                  <a:pt x="1144" y="15451"/>
                </a:lnTo>
                <a:lnTo>
                  <a:pt x="1607" y="15451"/>
                </a:lnTo>
                <a:lnTo>
                  <a:pt x="2020" y="15427"/>
                </a:lnTo>
                <a:lnTo>
                  <a:pt x="3140" y="15403"/>
                </a:lnTo>
                <a:lnTo>
                  <a:pt x="4259" y="15378"/>
                </a:lnTo>
                <a:lnTo>
                  <a:pt x="5378" y="15330"/>
                </a:lnTo>
                <a:lnTo>
                  <a:pt x="6498" y="15281"/>
                </a:lnTo>
                <a:lnTo>
                  <a:pt x="7617" y="15232"/>
                </a:lnTo>
                <a:lnTo>
                  <a:pt x="8736" y="15208"/>
                </a:lnTo>
                <a:lnTo>
                  <a:pt x="9855" y="15232"/>
                </a:lnTo>
                <a:lnTo>
                  <a:pt x="10950" y="15257"/>
                </a:lnTo>
                <a:lnTo>
                  <a:pt x="13140" y="15305"/>
                </a:lnTo>
                <a:lnTo>
                  <a:pt x="14235" y="15330"/>
                </a:lnTo>
                <a:lnTo>
                  <a:pt x="15330" y="15330"/>
                </a:lnTo>
                <a:lnTo>
                  <a:pt x="16449" y="15305"/>
                </a:lnTo>
                <a:lnTo>
                  <a:pt x="17544" y="15208"/>
                </a:lnTo>
                <a:lnTo>
                  <a:pt x="17642" y="15184"/>
                </a:lnTo>
                <a:lnTo>
                  <a:pt x="17715" y="15135"/>
                </a:lnTo>
                <a:lnTo>
                  <a:pt x="17788" y="15184"/>
                </a:lnTo>
                <a:lnTo>
                  <a:pt x="17861" y="15208"/>
                </a:lnTo>
                <a:lnTo>
                  <a:pt x="17958" y="15232"/>
                </a:lnTo>
                <a:lnTo>
                  <a:pt x="18031" y="15208"/>
                </a:lnTo>
                <a:lnTo>
                  <a:pt x="18104" y="15184"/>
                </a:lnTo>
                <a:lnTo>
                  <a:pt x="18177" y="15111"/>
                </a:lnTo>
                <a:lnTo>
                  <a:pt x="18201" y="15038"/>
                </a:lnTo>
                <a:lnTo>
                  <a:pt x="18226" y="14940"/>
                </a:lnTo>
                <a:lnTo>
                  <a:pt x="18201" y="14186"/>
                </a:lnTo>
                <a:lnTo>
                  <a:pt x="18226" y="13432"/>
                </a:lnTo>
                <a:lnTo>
                  <a:pt x="18250" y="12677"/>
                </a:lnTo>
                <a:lnTo>
                  <a:pt x="18250" y="11923"/>
                </a:lnTo>
                <a:lnTo>
                  <a:pt x="18201" y="8711"/>
                </a:lnTo>
                <a:lnTo>
                  <a:pt x="18177" y="7081"/>
                </a:lnTo>
                <a:lnTo>
                  <a:pt x="18104" y="5475"/>
                </a:lnTo>
                <a:lnTo>
                  <a:pt x="18080" y="4794"/>
                </a:lnTo>
                <a:lnTo>
                  <a:pt x="18031" y="4137"/>
                </a:lnTo>
                <a:lnTo>
                  <a:pt x="17982" y="3480"/>
                </a:lnTo>
                <a:lnTo>
                  <a:pt x="17982" y="2798"/>
                </a:lnTo>
                <a:lnTo>
                  <a:pt x="17982" y="2750"/>
                </a:lnTo>
                <a:lnTo>
                  <a:pt x="17958" y="2701"/>
                </a:lnTo>
                <a:lnTo>
                  <a:pt x="17885" y="2652"/>
                </a:lnTo>
                <a:lnTo>
                  <a:pt x="17788" y="2628"/>
                </a:lnTo>
                <a:lnTo>
                  <a:pt x="17715" y="2628"/>
                </a:lnTo>
                <a:lnTo>
                  <a:pt x="17617" y="2579"/>
                </a:lnTo>
                <a:lnTo>
                  <a:pt x="17496" y="2555"/>
                </a:lnTo>
                <a:lnTo>
                  <a:pt x="17106" y="2555"/>
                </a:lnTo>
                <a:lnTo>
                  <a:pt x="16839" y="2604"/>
                </a:lnTo>
                <a:lnTo>
                  <a:pt x="16595" y="2628"/>
                </a:lnTo>
                <a:lnTo>
                  <a:pt x="15963" y="2652"/>
                </a:lnTo>
                <a:lnTo>
                  <a:pt x="15330" y="2628"/>
                </a:lnTo>
                <a:lnTo>
                  <a:pt x="14990" y="2604"/>
                </a:lnTo>
                <a:lnTo>
                  <a:pt x="14625" y="2555"/>
                </a:lnTo>
                <a:lnTo>
                  <a:pt x="14260" y="2555"/>
                </a:lnTo>
                <a:lnTo>
                  <a:pt x="14089" y="2579"/>
                </a:lnTo>
                <a:lnTo>
                  <a:pt x="13943" y="2628"/>
                </a:lnTo>
                <a:lnTo>
                  <a:pt x="13846" y="2263"/>
                </a:lnTo>
                <a:lnTo>
                  <a:pt x="13773" y="1874"/>
                </a:lnTo>
                <a:lnTo>
                  <a:pt x="13700" y="1509"/>
                </a:lnTo>
                <a:lnTo>
                  <a:pt x="13578" y="1168"/>
                </a:lnTo>
                <a:lnTo>
                  <a:pt x="13505" y="1022"/>
                </a:lnTo>
                <a:lnTo>
                  <a:pt x="13432" y="852"/>
                </a:lnTo>
                <a:lnTo>
                  <a:pt x="13335" y="706"/>
                </a:lnTo>
                <a:lnTo>
                  <a:pt x="13238" y="584"/>
                </a:lnTo>
                <a:lnTo>
                  <a:pt x="13092" y="463"/>
                </a:lnTo>
                <a:lnTo>
                  <a:pt x="12946" y="341"/>
                </a:lnTo>
                <a:lnTo>
                  <a:pt x="12775" y="268"/>
                </a:lnTo>
                <a:lnTo>
                  <a:pt x="12581" y="171"/>
                </a:lnTo>
                <a:lnTo>
                  <a:pt x="12386" y="146"/>
                </a:lnTo>
                <a:lnTo>
                  <a:pt x="12191" y="98"/>
                </a:lnTo>
                <a:lnTo>
                  <a:pt x="11802" y="98"/>
                </a:lnTo>
                <a:lnTo>
                  <a:pt x="11023" y="122"/>
                </a:lnTo>
                <a:lnTo>
                  <a:pt x="10488" y="122"/>
                </a:lnTo>
                <a:lnTo>
                  <a:pt x="9953" y="98"/>
                </a:lnTo>
                <a:lnTo>
                  <a:pt x="8882" y="25"/>
                </a:lnTo>
                <a:lnTo>
                  <a:pt x="8298" y="0"/>
                </a:lnTo>
                <a:close/>
              </a:path>
            </a:pathLst>
          </a:custGeom>
          <a:solidFill>
            <a:schemeClr val="dk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30721" name="Picture 1" descr="C:\Users\7272~1\AppData\Local\Temp\Rar$DRa2696.27178\спортивная семья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528570" y="1081526"/>
            <a:ext cx="2280920" cy="228092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30722" name="Picture 2" descr="C:\Users\7272~1\AppData\Local\Temp\Rar$DRa2696.31320\сохраним природу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5074519" y="3981404"/>
            <a:ext cx="2174800" cy="21748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30723" name="Picture 3" descr="C:\Users\7272~1\AppData\Local\Temp\Rar$DRa8436.41230\совместный поход к мемориалу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523480" y="3886200"/>
            <a:ext cx="2199640" cy="219964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30724" name="Picture 4" descr="C:\Users\7272~1\AppData\Local\Temp\Rar$DRa8436.42505\семейный конкус Песни опаленные войной.jp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47052" y="3708400"/>
            <a:ext cx="2255520" cy="225552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30725" name="Picture 5" descr="C:\Users\7272~1\AppData\Local\Temp\Rar$DRa8436.48745\лента памяти.jp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2574758" y="3921004"/>
            <a:ext cx="2235200" cy="22352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30726" name="Picture 6" descr="C:\Users\7272~1\AppData\Local\Temp\Rar$DRa8436.2366\зарницы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9789160" y="3261360"/>
            <a:ext cx="2062480" cy="206248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30727" name="Picture 7" descr="C:\Users\7272~1\AppData\Local\Temp\Rar$DRa8436.3451\23 февраля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208280" y="1117600"/>
            <a:ext cx="2286000" cy="22860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54" name="Прямоугольник 53"/>
          <p:cNvSpPr/>
          <p:nvPr/>
        </p:nvSpPr>
        <p:spPr>
          <a:xfrm>
            <a:off x="3667760" y="1757680"/>
            <a:ext cx="3456000" cy="405280"/>
          </a:xfrm>
          <a:prstGeom prst="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b="1" dirty="0" smtClean="0"/>
              <a:t>Семейная Зарница </a:t>
            </a:r>
          </a:p>
          <a:p>
            <a:pPr algn="ctr"/>
            <a:r>
              <a:rPr lang="ru-RU" sz="1400" dirty="0" smtClean="0"/>
              <a:t>«Военно- патриотическая игра»</a:t>
            </a:r>
            <a:r>
              <a:rPr lang="ru-RU" dirty="0" smtClean="0"/>
              <a:t> </a:t>
            </a:r>
            <a:endParaRPr lang="ru-RU" dirty="0"/>
          </a:p>
        </p:txBody>
      </p:sp>
      <p:sp>
        <p:nvSpPr>
          <p:cNvPr id="55" name="Прямоугольник 54"/>
          <p:cNvSpPr/>
          <p:nvPr/>
        </p:nvSpPr>
        <p:spPr>
          <a:xfrm>
            <a:off x="3307181" y="2204956"/>
            <a:ext cx="3534676" cy="389091"/>
          </a:xfrm>
          <a:prstGeom prst="rect">
            <a:avLst/>
          </a:prstGeom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b="1" dirty="0" smtClean="0"/>
              <a:t>Разговор о важном</a:t>
            </a:r>
          </a:p>
          <a:p>
            <a:pPr algn="ctr"/>
            <a:r>
              <a:rPr lang="ru-RU" sz="1400" dirty="0" smtClean="0"/>
              <a:t> «Семейный патруль»</a:t>
            </a:r>
            <a:endParaRPr lang="ru-RU" sz="1400" dirty="0"/>
          </a:p>
        </p:txBody>
      </p:sp>
      <p:sp>
        <p:nvSpPr>
          <p:cNvPr id="56" name="Прямоугольник 55"/>
          <p:cNvSpPr/>
          <p:nvPr/>
        </p:nvSpPr>
        <p:spPr>
          <a:xfrm>
            <a:off x="2956560" y="2633085"/>
            <a:ext cx="3456000" cy="416560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b="1" dirty="0" smtClean="0"/>
              <a:t>Семейный конкурс</a:t>
            </a:r>
          </a:p>
          <a:p>
            <a:pPr algn="ctr"/>
            <a:r>
              <a:rPr lang="ru-RU" sz="1400" b="1" dirty="0" smtClean="0"/>
              <a:t> </a:t>
            </a:r>
            <a:r>
              <a:rPr lang="ru-RU" sz="1400" dirty="0" smtClean="0"/>
              <a:t>«Песни, опаленные Войной»</a:t>
            </a:r>
            <a:endParaRPr lang="ru-RU" sz="1400" dirty="0"/>
          </a:p>
        </p:txBody>
      </p:sp>
      <p:sp>
        <p:nvSpPr>
          <p:cNvPr id="57" name="Прямоугольник 56"/>
          <p:cNvSpPr/>
          <p:nvPr/>
        </p:nvSpPr>
        <p:spPr>
          <a:xfrm>
            <a:off x="3556000" y="3099360"/>
            <a:ext cx="3456000" cy="324000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dirty="0" smtClean="0"/>
              <a:t>,</a:t>
            </a:r>
          </a:p>
          <a:p>
            <a:pPr algn="ctr"/>
            <a:r>
              <a:rPr lang="ru-RU" sz="1400" b="1" dirty="0" smtClean="0"/>
              <a:t>Лента памяти </a:t>
            </a:r>
            <a:r>
              <a:rPr lang="ru-RU" sz="1400" dirty="0" smtClean="0"/>
              <a:t>«Память бережно храним» </a:t>
            </a:r>
          </a:p>
          <a:p>
            <a:pPr algn="ctr"/>
            <a:endParaRPr lang="ru-RU" dirty="0"/>
          </a:p>
        </p:txBody>
      </p:sp>
      <p:sp>
        <p:nvSpPr>
          <p:cNvPr id="58" name="Прямоугольник 57"/>
          <p:cNvSpPr/>
          <p:nvPr/>
        </p:nvSpPr>
        <p:spPr>
          <a:xfrm>
            <a:off x="3037840" y="1341120"/>
            <a:ext cx="3464560" cy="335280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b="1" dirty="0" smtClean="0"/>
              <a:t>Эстафета</a:t>
            </a:r>
            <a:r>
              <a:rPr lang="ru-RU" sz="1400" dirty="0" smtClean="0"/>
              <a:t> «Папа, мама, я дружная  семья»</a:t>
            </a:r>
            <a:endParaRPr lang="ru-RU" sz="1400" dirty="0"/>
          </a:p>
        </p:txBody>
      </p:sp>
      <p:cxnSp>
        <p:nvCxnSpPr>
          <p:cNvPr id="63" name="Прямая со стрелкой 62"/>
          <p:cNvCxnSpPr/>
          <p:nvPr/>
        </p:nvCxnSpPr>
        <p:spPr>
          <a:xfrm>
            <a:off x="6543040" y="1498600"/>
            <a:ext cx="944880" cy="1524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Прямая со стрелкой 64"/>
          <p:cNvCxnSpPr/>
          <p:nvPr/>
        </p:nvCxnSpPr>
        <p:spPr>
          <a:xfrm>
            <a:off x="7010400" y="2184400"/>
            <a:ext cx="508000" cy="145288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Прямая со стрелкой 66"/>
          <p:cNvCxnSpPr/>
          <p:nvPr/>
        </p:nvCxnSpPr>
        <p:spPr>
          <a:xfrm>
            <a:off x="7538720" y="3637280"/>
            <a:ext cx="2011680" cy="1016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Прямая со стрелкой 68"/>
          <p:cNvCxnSpPr>
            <a:endCxn id="30727" idx="3"/>
          </p:cNvCxnSpPr>
          <p:nvPr/>
        </p:nvCxnSpPr>
        <p:spPr>
          <a:xfrm flipH="1" flipV="1">
            <a:off x="2494280" y="2260600"/>
            <a:ext cx="650240" cy="14726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Прямая со стрелкой 70"/>
          <p:cNvCxnSpPr/>
          <p:nvPr/>
        </p:nvCxnSpPr>
        <p:spPr>
          <a:xfrm flipH="1">
            <a:off x="3144520" y="3264187"/>
            <a:ext cx="365760" cy="56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Прямая со стрелкой 72"/>
          <p:cNvCxnSpPr/>
          <p:nvPr/>
        </p:nvCxnSpPr>
        <p:spPr>
          <a:xfrm flipH="1">
            <a:off x="1762750" y="2954087"/>
            <a:ext cx="1115070" cy="74339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Прямоугольник 73"/>
          <p:cNvSpPr/>
          <p:nvPr/>
        </p:nvSpPr>
        <p:spPr>
          <a:xfrm>
            <a:off x="3383280" y="3459299"/>
            <a:ext cx="3525520" cy="435368"/>
          </a:xfrm>
          <a:prstGeom prst="rect">
            <a:avLst/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</a:rPr>
              <a:t>Память вечно храним</a:t>
            </a:r>
          </a:p>
          <a:p>
            <a:pPr algn="ctr"/>
            <a:r>
              <a:rPr lang="ru-RU" sz="1400" b="1" dirty="0" smtClean="0">
                <a:solidFill>
                  <a:schemeClr val="tx1"/>
                </a:solidFill>
              </a:rPr>
              <a:t> (</a:t>
            </a:r>
            <a:r>
              <a:rPr lang="ru-RU" sz="1400" dirty="0" smtClean="0">
                <a:solidFill>
                  <a:schemeClr val="tx1"/>
                </a:solidFill>
              </a:rPr>
              <a:t>возложение цветов на Мемориал)</a:t>
            </a:r>
            <a:endParaRPr lang="ru-RU" sz="1400" dirty="0">
              <a:solidFill>
                <a:schemeClr val="tx1"/>
              </a:solidFill>
            </a:endParaRPr>
          </a:p>
        </p:txBody>
      </p:sp>
      <p:cxnSp>
        <p:nvCxnSpPr>
          <p:cNvPr id="82" name="Прямая со стрелкой 81"/>
          <p:cNvCxnSpPr/>
          <p:nvPr/>
        </p:nvCxnSpPr>
        <p:spPr>
          <a:xfrm>
            <a:off x="7030720" y="3769360"/>
            <a:ext cx="426720" cy="32512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Прямая со стрелкой 60"/>
          <p:cNvCxnSpPr/>
          <p:nvPr/>
        </p:nvCxnSpPr>
        <p:spPr>
          <a:xfrm>
            <a:off x="3139440" y="3261360"/>
            <a:ext cx="0" cy="41656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Прямоугольник 52"/>
          <p:cNvSpPr/>
          <p:nvPr/>
        </p:nvSpPr>
        <p:spPr>
          <a:xfrm>
            <a:off x="7518400" y="6128244"/>
            <a:ext cx="3464560" cy="335280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b="1" dirty="0" smtClean="0"/>
              <a:t>Участие в шествии </a:t>
            </a:r>
            <a:r>
              <a:rPr lang="ru-RU" sz="1400" dirty="0" smtClean="0"/>
              <a:t>«Бессмертный полк»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1019340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YtTqbzdNWEvagXRU7He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YtTqbzdNWEvagXRU7He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gZw2iL.2yQ.KwK62gA8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rGeVB2J0.11dNmX_wKE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RBZtSHR3OuSJzhCtKm3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30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652D74"/>
      </a:accent1>
      <a:accent2>
        <a:srgbClr val="A53975"/>
      </a:accent2>
      <a:accent3>
        <a:srgbClr val="1F8492"/>
      </a:accent3>
      <a:accent4>
        <a:srgbClr val="DBCBD8"/>
      </a:accent4>
      <a:accent5>
        <a:srgbClr val="564787"/>
      </a:accent5>
      <a:accent6>
        <a:srgbClr val="70AD47"/>
      </a:accent6>
      <a:hlink>
        <a:srgbClr val="0563C1"/>
      </a:hlink>
      <a:folHlink>
        <a:srgbClr val="954F72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727</TotalTime>
  <Words>1023</Words>
  <Application>Microsoft Office PowerPoint</Application>
  <PresentationFormat>Произвольный</PresentationFormat>
  <Paragraphs>176</Paragraphs>
  <Slides>15</Slides>
  <Notes>13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5</vt:i4>
      </vt:variant>
    </vt:vector>
  </HeadingPairs>
  <TitlesOfParts>
    <vt:vector size="17" baseType="lpstr">
      <vt:lpstr>Office Theme</vt:lpstr>
      <vt:lpstr>think-cell Slide</vt:lpstr>
      <vt:lpstr>Презентация PowerPoint</vt:lpstr>
      <vt:lpstr>               Режим и график работы ДОО: ежедневно с 7:30 до 18:00, выходные – суббота, воскресенье, праздничные дни. Режим работы филиалов: -длительность работы- 10,5 часов -ежедневный график работы – с 7.30 до 18.00,  исключая  выходные и праздничные дни. Телефон: 8(38568) 5- 60- 94 Адрес электронной почты:  slav-dou43@22edu.ru Учредитель: комитет администрации г.Славгорода Алтайского края по образованию, Юридический адрес Учредителя: 658820, Сибирский федеральный округ, Алтайский край, г. Славгород, ул. К. Либкнехта, 136. Фактический адрес Учредителя: 658820, Сибирский федеральный округ, Алтайский край, г. Славгород, ул. К. Либкнехта, 136. Наш сайт: ds43slavgorod.edu22 </vt:lpstr>
      <vt:lpstr>                 Реализация образовательных инициатив в пространстве МБДОУ «Детский сад №43»  г.Славгород, Алтайский край</vt:lpstr>
      <vt:lpstr> Цель и задачи: поддержка и реализация пространства родительских инициатив</vt:lpstr>
      <vt:lpstr>Презентация PowerPoint</vt:lpstr>
      <vt:lpstr>                 Пространство родительских инициатив: клубное движение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Реализация  представленной целостной системы организации  форм и методов работы по взаимодействию педагогического коллектива  МБДОУ «Детский сад №43» г.Славгорода Алтайского края  и его 4 филиалов с родителями (законными представителями) воспитанников позволяет продуктивно решать широкий спектр задач родительского просвещения, вовлекать их в образовательную деятельность и содействовать формированию ответственного и позитивного родительства.  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EINALD</dc:creator>
  <cp:lastModifiedBy>Админ</cp:lastModifiedBy>
  <cp:revision>366</cp:revision>
  <dcterms:created xsi:type="dcterms:W3CDTF">2019-05-28T07:34:16Z</dcterms:created>
  <dcterms:modified xsi:type="dcterms:W3CDTF">2024-11-19T09:17:41Z</dcterms:modified>
</cp:coreProperties>
</file>